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notesSlides/notesSlide5.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charts/chart27.xml" ContentType="application/vnd.openxmlformats-officedocument.drawingml.chart+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charts/chart28.xml" ContentType="application/vnd.openxmlformats-officedocument.drawingml.chart+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charts/chart29.xml" ContentType="application/vnd.openxmlformats-officedocument.drawingml.chart+xml"/>
  <Override PartName="/ppt/charts/chart30.xml" ContentType="application/vnd.openxmlformats-officedocument.drawingml.chart+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charts/chart31.xml" ContentType="application/vnd.openxmlformats-officedocument.drawingml.chart+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charts/chart32.xml" ContentType="application/vnd.openxmlformats-officedocument.drawingml.chart+xml"/>
  <Override PartName="/ppt/charts/chart33.xml" ContentType="application/vnd.openxmlformats-officedocument.drawingml.chart+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charts/chart34.xml" ContentType="application/vnd.openxmlformats-officedocument.drawingml.chart+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6"/>
  </p:notesMasterIdLst>
  <p:handoutMasterIdLst>
    <p:handoutMasterId r:id="rId77"/>
  </p:handoutMasterIdLst>
  <p:sldIdLst>
    <p:sldId id="568" r:id="rId2"/>
    <p:sldId id="2147470377" r:id="rId3"/>
    <p:sldId id="2147470440" r:id="rId4"/>
    <p:sldId id="381" r:id="rId5"/>
    <p:sldId id="639" r:id="rId6"/>
    <p:sldId id="469" r:id="rId7"/>
    <p:sldId id="2147470311" r:id="rId8"/>
    <p:sldId id="580" r:id="rId9"/>
    <p:sldId id="685" r:id="rId10"/>
    <p:sldId id="472" r:id="rId11"/>
    <p:sldId id="640" r:id="rId12"/>
    <p:sldId id="527" r:id="rId13"/>
    <p:sldId id="477" r:id="rId14"/>
    <p:sldId id="2147470431" r:id="rId15"/>
    <p:sldId id="382" r:id="rId16"/>
    <p:sldId id="627" r:id="rId17"/>
    <p:sldId id="649" r:id="rId18"/>
    <p:sldId id="641" r:id="rId19"/>
    <p:sldId id="2147470327" r:id="rId20"/>
    <p:sldId id="528" r:id="rId21"/>
    <p:sldId id="2147470439" r:id="rId22"/>
    <p:sldId id="2147470360" r:id="rId23"/>
    <p:sldId id="2147470432" r:id="rId24"/>
    <p:sldId id="2147470340" r:id="rId25"/>
    <p:sldId id="2147470357" r:id="rId26"/>
    <p:sldId id="2147470363" r:id="rId27"/>
    <p:sldId id="529" r:id="rId28"/>
    <p:sldId id="686" r:id="rId29"/>
    <p:sldId id="2147470355" r:id="rId30"/>
    <p:sldId id="2147470356" r:id="rId31"/>
    <p:sldId id="693" r:id="rId32"/>
    <p:sldId id="690" r:id="rId33"/>
    <p:sldId id="2147470339" r:id="rId34"/>
    <p:sldId id="535" r:id="rId35"/>
    <p:sldId id="2147470430" r:id="rId36"/>
    <p:sldId id="650" r:id="rId37"/>
    <p:sldId id="736" r:id="rId38"/>
    <p:sldId id="704" r:id="rId39"/>
    <p:sldId id="666" r:id="rId40"/>
    <p:sldId id="681" r:id="rId41"/>
    <p:sldId id="682" r:id="rId42"/>
    <p:sldId id="2147470366" r:id="rId43"/>
    <p:sldId id="2147470368" r:id="rId44"/>
    <p:sldId id="538" r:id="rId45"/>
    <p:sldId id="705" r:id="rId46"/>
    <p:sldId id="706" r:id="rId47"/>
    <p:sldId id="2147470435" r:id="rId48"/>
    <p:sldId id="2147470436" r:id="rId49"/>
    <p:sldId id="2147470437" r:id="rId50"/>
    <p:sldId id="2147470378" r:id="rId51"/>
    <p:sldId id="2147470312" r:id="rId52"/>
    <p:sldId id="677" r:id="rId53"/>
    <p:sldId id="654" r:id="rId54"/>
    <p:sldId id="2147470412" r:id="rId55"/>
    <p:sldId id="2147470305" r:id="rId56"/>
    <p:sldId id="691" r:id="rId57"/>
    <p:sldId id="552" r:id="rId58"/>
    <p:sldId id="581" r:id="rId59"/>
    <p:sldId id="451" r:id="rId60"/>
    <p:sldId id="652" r:id="rId61"/>
    <p:sldId id="2147470313" r:id="rId62"/>
    <p:sldId id="2147470314" r:id="rId63"/>
    <p:sldId id="2147470441" r:id="rId64"/>
    <p:sldId id="2147470315" r:id="rId65"/>
    <p:sldId id="683" r:id="rId66"/>
    <p:sldId id="2147470316" r:id="rId67"/>
    <p:sldId id="2147470317" r:id="rId68"/>
    <p:sldId id="2147470318" r:id="rId69"/>
    <p:sldId id="2147470319" r:id="rId70"/>
    <p:sldId id="2147470320" r:id="rId71"/>
    <p:sldId id="2147470442" r:id="rId72"/>
    <p:sldId id="2147470443" r:id="rId73"/>
    <p:sldId id="2147470322" r:id="rId74"/>
    <p:sldId id="2147470323" r:id="rId75"/>
  </p:sldIdLst>
  <p:sldSz cx="9906000" cy="6858000" type="A4"/>
  <p:notesSz cx="6807200" cy="9939338"/>
  <p:custDataLst>
    <p:tags r:id="rId7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CDE0"/>
    <a:srgbClr val="868686"/>
    <a:srgbClr val="CCDAEC"/>
    <a:srgbClr val="BAE4D9"/>
    <a:srgbClr val="FFFFFF"/>
    <a:srgbClr val="FFFF00"/>
    <a:srgbClr val="D2E0E6"/>
    <a:srgbClr val="ECE5F4"/>
    <a:srgbClr val="EBEFCF"/>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908F83-0AE6-4D31-896A-401DF9F010DC}" v="18" dt="2023-03-28T06:51:56.801"/>
    <p1510:client id="{4963E01A-6486-47BC-89DD-CA1EAA5CF1C8}" v="49" dt="2023-03-28T05:31:38.64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5" autoAdjust="0"/>
    <p:restoredTop sz="94464" autoAdjust="0"/>
  </p:normalViewPr>
  <p:slideViewPr>
    <p:cSldViewPr>
      <p:cViewPr varScale="1">
        <p:scale>
          <a:sx n="99" d="100"/>
          <a:sy n="99" d="100"/>
        </p:scale>
        <p:origin x="714" y="90"/>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microsoft.com/office/2015/10/relationships/revisionInfo" Target="revisionInfo.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commentAuthors" Target="commentAuthors.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85"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1593533487297925E-2"/>
          <c:w val="0.91196885051633658"/>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3660508083140877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1E-4E12-BFE8-F015ECFBE3D8}"/>
                </c:ext>
              </c:extLst>
            </c:dLbl>
            <c:dLbl>
              <c:idx val="1"/>
              <c:layout>
                <c:manualLayout>
                  <c:x val="0"/>
                  <c:y val="-0.3383371824480369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1E-4E12-BFE8-F015ECFBE3D8}"/>
                </c:ext>
              </c:extLst>
            </c:dLbl>
            <c:dLbl>
              <c:idx val="2"/>
              <c:layout>
                <c:manualLayout>
                  <c:x val="0"/>
                  <c:y val="-0.2782909930715935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1E-4E12-BFE8-F015ECFBE3D8}"/>
                </c:ext>
              </c:extLst>
            </c:dLbl>
            <c:dLbl>
              <c:idx val="3"/>
              <c:layout>
                <c:manualLayout>
                  <c:x val="0"/>
                  <c:y val="-0.2794457274826789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1E-4E12-BFE8-F015ECFBE3D8}"/>
                </c:ext>
              </c:extLst>
            </c:dLbl>
            <c:dLbl>
              <c:idx val="4"/>
              <c:layout>
                <c:manualLayout>
                  <c:x val="0"/>
                  <c:y val="-0.282909930715935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1E-4E12-BFE8-F015ECFBE3D8}"/>
                </c:ext>
              </c:extLst>
            </c:dLbl>
            <c:dLbl>
              <c:idx val="5"/>
              <c:layout>
                <c:manualLayout>
                  <c:x val="0"/>
                  <c:y val="-0.284064665127020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1E-4E12-BFE8-F015ECFBE3D8}"/>
                </c:ext>
              </c:extLst>
            </c:dLbl>
            <c:dLbl>
              <c:idx val="6"/>
              <c:layout>
                <c:manualLayout>
                  <c:x val="0"/>
                  <c:y val="-0.2852193995381062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1E-4E12-BFE8-F015ECFBE3D8}"/>
                </c:ext>
              </c:extLst>
            </c:dLbl>
            <c:dLbl>
              <c:idx val="7"/>
              <c:layout>
                <c:manualLayout>
                  <c:x val="0"/>
                  <c:y val="-0.2875288683602771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1E-4E12-BFE8-F015ECFBE3D8}"/>
                </c:ext>
              </c:extLst>
            </c:dLbl>
            <c:dLbl>
              <c:idx val="8"/>
              <c:layout>
                <c:manualLayout>
                  <c:x val="0"/>
                  <c:y val="-0.289838337182448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1E-4E12-BFE8-F015ECFBE3D8}"/>
                </c:ext>
              </c:extLst>
            </c:dLbl>
            <c:dLbl>
              <c:idx val="9"/>
              <c:layout>
                <c:manualLayout>
                  <c:x val="0"/>
                  <c:y val="-0.2933025404157043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A1E-4E12-BFE8-F015ECFBE3D8}"/>
                </c:ext>
              </c:extLst>
            </c:dLbl>
            <c:dLbl>
              <c:idx val="10"/>
              <c:layout>
                <c:manualLayout>
                  <c:x val="0"/>
                  <c:y val="-0.295612009237875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A1E-4E12-BFE8-F015ECFBE3D8}"/>
                </c:ext>
              </c:extLst>
            </c:dLbl>
            <c:dLbl>
              <c:idx val="11"/>
              <c:layout>
                <c:manualLayout>
                  <c:x val="0"/>
                  <c:y val="-0.2979214780600462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A1E-4E12-BFE8-F015ECFBE3D8}"/>
                </c:ext>
              </c:extLst>
            </c:dLbl>
            <c:dLbl>
              <c:idx val="12"/>
              <c:layout>
                <c:manualLayout>
                  <c:x val="0"/>
                  <c:y val="-0.317551963048498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A1E-4E12-BFE8-F015ECFBE3D8}"/>
                </c:ext>
              </c:extLst>
            </c:dLbl>
            <c:dLbl>
              <c:idx val="13"/>
              <c:layout>
                <c:manualLayout>
                  <c:x val="0"/>
                  <c:y val="-0.325635103926097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A1E-4E12-BFE8-F015ECFBE3D8}"/>
                </c:ext>
              </c:extLst>
            </c:dLbl>
            <c:dLbl>
              <c:idx val="15"/>
              <c:layout>
                <c:manualLayout>
                  <c:x val="-2.0145589977992213E-2"/>
                  <c:y val="-0.5023094688221708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A1E-4E12-BFE8-F015ECFBE3D8}"/>
                </c:ext>
              </c:extLst>
            </c:dLbl>
            <c:dLbl>
              <c:idx val="16"/>
              <c:layout>
                <c:manualLayout>
                  <c:x val="0"/>
                  <c:y val="-0.3152424942263279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A1E-4E12-BFE8-F015ECFBE3D8}"/>
                </c:ext>
              </c:extLst>
            </c:dLbl>
            <c:dLbl>
              <c:idx val="17"/>
              <c:layout>
                <c:manualLayout>
                  <c:x val="0"/>
                  <c:y val="-0.317551963048498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A1E-4E12-BFE8-F015ECFBE3D8}"/>
                </c:ext>
              </c:extLst>
            </c:dLbl>
            <c:dLbl>
              <c:idx val="18"/>
              <c:layout>
                <c:manualLayout>
                  <c:x val="0"/>
                  <c:y val="-0.3198614318706697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A1E-4E12-BFE8-F015ECFBE3D8}"/>
                </c:ext>
              </c:extLst>
            </c:dLbl>
            <c:dLbl>
              <c:idx val="19"/>
              <c:layout>
                <c:manualLayout>
                  <c:x val="0"/>
                  <c:y val="-0.3221709006928406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A1E-4E12-BFE8-F015ECFBE3D8}"/>
                </c:ext>
              </c:extLst>
            </c:dLbl>
            <c:dLbl>
              <c:idx val="20"/>
              <c:layout>
                <c:manualLayout>
                  <c:x val="0"/>
                  <c:y val="-0.326789838337182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A1E-4E12-BFE8-F015ECFBE3D8}"/>
                </c:ext>
              </c:extLst>
            </c:dLbl>
            <c:dLbl>
              <c:idx val="21"/>
              <c:layout>
                <c:manualLayout>
                  <c:x val="0"/>
                  <c:y val="-0.3279445727482678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A1E-4E12-BFE8-F015ECFBE3D8}"/>
                </c:ext>
              </c:extLst>
            </c:dLbl>
            <c:dLbl>
              <c:idx val="22"/>
              <c:layout>
                <c:manualLayout>
                  <c:x val="0"/>
                  <c:y val="-0.351039260969976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A1E-4E12-BFE8-F015ECFBE3D8}"/>
                </c:ext>
              </c:extLst>
            </c:dLbl>
            <c:dLbl>
              <c:idx val="23"/>
              <c:layout>
                <c:manualLayout>
                  <c:x val="0"/>
                  <c:y val="-0.3729792147806004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A1E-4E12-BFE8-F015ECFBE3D8}"/>
                </c:ext>
              </c:extLst>
            </c:dLbl>
            <c:dLbl>
              <c:idx val="24"/>
              <c:layout>
                <c:manualLayout>
                  <c:x val="0"/>
                  <c:y val="-0.389145496535796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A1E-4E12-BFE8-F015ECFBE3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6.81</c:v>
                </c:pt>
                <c:pt idx="1">
                  <c:v>47.23</c:v>
                </c:pt>
                <c:pt idx="2">
                  <c:v>47.66</c:v>
                </c:pt>
                <c:pt idx="3">
                  <c:v>48.1</c:v>
                </c:pt>
                <c:pt idx="4">
                  <c:v>48.56</c:v>
                </c:pt>
                <c:pt idx="5">
                  <c:v>49.02</c:v>
                </c:pt>
                <c:pt idx="6">
                  <c:v>49.49</c:v>
                </c:pt>
                <c:pt idx="7">
                  <c:v>50</c:v>
                </c:pt>
                <c:pt idx="8">
                  <c:v>50.57</c:v>
                </c:pt>
                <c:pt idx="9">
                  <c:v>51.17</c:v>
                </c:pt>
                <c:pt idx="10">
                  <c:v>51.78</c:v>
                </c:pt>
                <c:pt idx="11">
                  <c:v>52.44</c:v>
                </c:pt>
                <c:pt idx="12">
                  <c:v>53.15</c:v>
                </c:pt>
                <c:pt idx="13">
                  <c:v>53.87</c:v>
                </c:pt>
                <c:pt idx="14">
                  <c:v>54.73</c:v>
                </c:pt>
                <c:pt idx="15">
                  <c:v>55.88</c:v>
                </c:pt>
                <c:pt idx="16">
                  <c:v>56.42</c:v>
                </c:pt>
                <c:pt idx="17">
                  <c:v>56.64</c:v>
                </c:pt>
                <c:pt idx="18">
                  <c:v>57.34</c:v>
                </c:pt>
                <c:pt idx="19">
                  <c:v>58.09</c:v>
                </c:pt>
                <c:pt idx="20">
                  <c:v>58.8</c:v>
                </c:pt>
                <c:pt idx="21">
                  <c:v>59.39</c:v>
                </c:pt>
                <c:pt idx="22">
                  <c:v>64.659278</c:v>
                </c:pt>
                <c:pt idx="23">
                  <c:v>69.713937000000001</c:v>
                </c:pt>
                <c:pt idx="24">
                  <c:v>73.529752999999999</c:v>
                </c:pt>
              </c:numCache>
            </c:numRef>
          </c:val>
          <c:extLst>
            <c:ext xmlns:c16="http://schemas.microsoft.com/office/drawing/2014/chart" uri="{C3380CC4-5D6E-409C-BE32-E72D297353CC}">
              <c16:uniqueId val="{00000018-4A1E-4E12-BFE8-F015ECFBE3D8}"/>
            </c:ext>
          </c:extLst>
        </c:ser>
        <c:dLbls>
          <c:showLegendKey val="0"/>
          <c:showVal val="0"/>
          <c:showCatName val="0"/>
          <c:showSerName val="0"/>
          <c:showPercent val="0"/>
          <c:showBubbleSize val="0"/>
        </c:dLbls>
        <c:gapWidth val="60"/>
        <c:overlap val="100"/>
        <c:axId val="466301775"/>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9-4A1E-4E12-BFE8-F015ECFBE3D8}"/>
              </c:ext>
            </c:extLst>
          </c:dPt>
          <c:dPt>
            <c:idx val="23"/>
            <c:marker>
              <c:symbol val="none"/>
            </c:marker>
            <c:bubble3D val="0"/>
            <c:extLst>
              <c:ext xmlns:c16="http://schemas.microsoft.com/office/drawing/2014/chart" uri="{C3380CC4-5D6E-409C-BE32-E72D297353CC}">
                <c16:uniqueId val="{0000001A-4A1E-4E12-BFE8-F015ECFBE3D8}"/>
              </c:ext>
            </c:extLst>
          </c:dPt>
          <c:dPt>
            <c:idx val="24"/>
            <c:marker>
              <c:symbol val="none"/>
            </c:marker>
            <c:bubble3D val="0"/>
            <c:extLst>
              <c:ext xmlns:c16="http://schemas.microsoft.com/office/drawing/2014/chart" uri="{C3380CC4-5D6E-409C-BE32-E72D297353CC}">
                <c16:uniqueId val="{0000001B-4A1E-4E12-BFE8-F015ECFBE3D8}"/>
              </c:ext>
            </c:extLst>
          </c:dPt>
          <c:dLbls>
            <c:dLbl>
              <c:idx val="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A1E-4E12-BFE8-F015ECFBE3D8}"/>
                </c:ext>
              </c:extLst>
            </c:dLbl>
            <c:dLbl>
              <c:idx val="2"/>
              <c:layout>
                <c:manualLayout>
                  <c:x val="-1.3543253766717454E-3"/>
                  <c:y val="0.23325635103926096"/>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A1E-4E12-BFE8-F015ECFBE3D8}"/>
                </c:ext>
              </c:extLst>
            </c:dLbl>
            <c:dLbl>
              <c:idx val="3"/>
              <c:layout>
                <c:manualLayout>
                  <c:x val="1.3543253766717454E-3"/>
                  <c:y val="0.1836027713625866"/>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A1E-4E12-BFE8-F015ECFBE3D8}"/>
                </c:ext>
              </c:extLst>
            </c:dLbl>
            <c:dLbl>
              <c:idx val="5"/>
              <c:layout>
                <c:manualLayout>
                  <c:x val="-1.1850347045877772E-3"/>
                  <c:y val="-0.296766743648960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A1E-4E12-BFE8-F015ECFBE3D8}"/>
                </c:ext>
              </c:extLst>
            </c:dLbl>
            <c:dLbl>
              <c:idx val="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A1E-4E12-BFE8-F015ECFBE3D8}"/>
                </c:ext>
              </c:extLst>
            </c:dLbl>
            <c:dLbl>
              <c:idx val="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A1E-4E12-BFE8-F015ECFBE3D8}"/>
                </c:ext>
              </c:extLst>
            </c:dLbl>
            <c:dLbl>
              <c:idx val="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A1E-4E12-BFE8-F015ECFBE3D8}"/>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A1E-4E12-BFE8-F015ECFBE3D8}"/>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A1E-4E12-BFE8-F015ECFBE3D8}"/>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A1E-4E12-BFE8-F015ECFBE3D8}"/>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A1E-4E12-BFE8-F015ECFBE3D8}"/>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A1E-4E12-BFE8-F015ECFBE3D8}"/>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A1E-4E12-BFE8-F015ECFBE3D8}"/>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A1E-4E12-BFE8-F015ECFBE3D8}"/>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A1E-4E12-BFE8-F015ECFBE3D8}"/>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A1E-4E12-BFE8-F015ECFBE3D8}"/>
                </c:ext>
              </c:extLst>
            </c:dLbl>
            <c:dLbl>
              <c:idx val="2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A1E-4E12-BFE8-F015ECFBE3D8}"/>
                </c:ext>
              </c:extLst>
            </c:dLbl>
            <c:dLbl>
              <c:idx val="2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A1E-4E12-BFE8-F015ECFBE3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96751229739913125</c:v>
                </c:pt>
                <c:pt idx="1">
                  <c:v>0.88959398816566004</c:v>
                </c:pt>
                <c:pt idx="2">
                  <c:v>0.91425707130050604</c:v>
                </c:pt>
                <c:pt idx="3">
                  <c:v>0.92849335569800129</c:v>
                </c:pt>
                <c:pt idx="4">
                  <c:v>0.93967557699767834</c:v>
                </c:pt>
                <c:pt idx="5">
                  <c:v>0.94957641856976416</c:v>
                </c:pt>
                <c:pt idx="6">
                  <c:v>0.96824890750477621</c:v>
                </c:pt>
                <c:pt idx="7">
                  <c:v>1.0190363825441917</c:v>
                </c:pt>
                <c:pt idx="8">
                  <c:v>1.1395229967460452</c:v>
                </c:pt>
                <c:pt idx="9">
                  <c:v>1.1963953036094876</c:v>
                </c:pt>
                <c:pt idx="10">
                  <c:v>1.2001830185152995</c:v>
                </c:pt>
                <c:pt idx="11">
                  <c:v>1.2714202794396279</c:v>
                </c:pt>
                <c:pt idx="12">
                  <c:v>1.3380291707661751</c:v>
                </c:pt>
                <c:pt idx="13">
                  <c:v>1.3709333852516492</c:v>
                </c:pt>
                <c:pt idx="14">
                  <c:v>1.5887832738014085</c:v>
                </c:pt>
                <c:pt idx="15">
                  <c:v>2.0956740536753005</c:v>
                </c:pt>
                <c:pt idx="16">
                  <c:v>0.97674328372441277</c:v>
                </c:pt>
                <c:pt idx="17">
                  <c:v>0.38803115237786567</c:v>
                </c:pt>
                <c:pt idx="18">
                  <c:v>1.2330686438372318</c:v>
                </c:pt>
                <c:pt idx="19">
                  <c:v>1.3034962639716818</c:v>
                </c:pt>
                <c:pt idx="20">
                  <c:v>1.2306907279083124</c:v>
                </c:pt>
                <c:pt idx="21">
                  <c:v>1.0039262828920537</c:v>
                </c:pt>
              </c:numCache>
            </c:numRef>
          </c:val>
          <c:smooth val="0"/>
          <c:extLst>
            <c:ext xmlns:c16="http://schemas.microsoft.com/office/drawing/2014/chart" uri="{C3380CC4-5D6E-409C-BE32-E72D297353CC}">
              <c16:uniqueId val="{0000002E-4A1E-4E12-BFE8-F015ECFBE3D8}"/>
            </c:ext>
          </c:extLst>
        </c:ser>
        <c:dLbls>
          <c:showLegendKey val="0"/>
          <c:showVal val="0"/>
          <c:showCatName val="0"/>
          <c:showSerName val="0"/>
          <c:showPercent val="0"/>
          <c:showBubbleSize val="0"/>
        </c:dLbls>
        <c:marker val="1"/>
        <c:smooth val="0"/>
        <c:axId val="3"/>
        <c:axId val="2"/>
      </c:lineChart>
      <c:catAx>
        <c:axId val="4663017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466301775"/>
        <c:crosses val="min"/>
        <c:crossBetween val="between"/>
        <c:majorUnit val="100"/>
      </c:valAx>
      <c:valAx>
        <c:axId val="2"/>
        <c:scaling>
          <c:orientation val="minMax"/>
          <c:max val="2.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35483870967742"/>
          <c:y val="8.0510554737358866E-2"/>
          <c:w val="0.56129032258064515"/>
          <c:h val="0.89396170839469813"/>
        </c:manualLayout>
      </c:layout>
      <c:barChart>
        <c:barDir val="col"/>
        <c:grouping val="stacked"/>
        <c:varyColors val="0"/>
        <c:ser>
          <c:idx val="0"/>
          <c:order val="0"/>
          <c:spPr>
            <a:solidFill>
              <a:srgbClr val="3399CC"/>
            </a:solidFill>
            <a:ln>
              <a:noFill/>
            </a:ln>
          </c:spPr>
          <c:invertIfNegative val="0"/>
          <c:val>
            <c:numRef>
              <c:f>Sheet1!$A$1:$B$1</c:f>
              <c:numCache>
                <c:formatCode>General</c:formatCode>
                <c:ptCount val="2"/>
                <c:pt idx="0">
                  <c:v>81</c:v>
                </c:pt>
                <c:pt idx="1">
                  <c:v>84</c:v>
                </c:pt>
              </c:numCache>
            </c:numRef>
          </c:val>
          <c:extLst>
            <c:ext xmlns:c16="http://schemas.microsoft.com/office/drawing/2014/chart" uri="{C3380CC4-5D6E-409C-BE32-E72D297353CC}">
              <c16:uniqueId val="{00000000-ADCD-4EB3-8006-3CBE57451AF2}"/>
            </c:ext>
          </c:extLst>
        </c:ser>
        <c:ser>
          <c:idx val="1"/>
          <c:order val="1"/>
          <c:spPr>
            <a:solidFill>
              <a:srgbClr val="C0E6F4"/>
            </a:solidFill>
            <a:ln>
              <a:noFill/>
            </a:ln>
          </c:spPr>
          <c:invertIfNegative val="0"/>
          <c:val>
            <c:numRef>
              <c:f>Sheet1!$A$2:$B$2</c:f>
              <c:numCache>
                <c:formatCode>General</c:formatCode>
                <c:ptCount val="2"/>
                <c:pt idx="0">
                  <c:v>13</c:v>
                </c:pt>
                <c:pt idx="1">
                  <c:v>14</c:v>
                </c:pt>
              </c:numCache>
            </c:numRef>
          </c:val>
          <c:extLst>
            <c:ext xmlns:c16="http://schemas.microsoft.com/office/drawing/2014/chart" uri="{C3380CC4-5D6E-409C-BE32-E72D297353CC}">
              <c16:uniqueId val="{00000001-ADCD-4EB3-8006-3CBE57451AF2}"/>
            </c:ext>
          </c:extLst>
        </c:ser>
        <c:ser>
          <c:idx val="2"/>
          <c:order val="2"/>
          <c:spPr>
            <a:solidFill>
              <a:srgbClr val="F3F3F3"/>
            </a:solidFill>
            <a:ln>
              <a:noFill/>
            </a:ln>
          </c:spPr>
          <c:invertIfNegative val="0"/>
          <c:val>
            <c:numRef>
              <c:f>Sheet1!$A$3:$B$3</c:f>
              <c:numCache>
                <c:formatCode>General</c:formatCode>
                <c:ptCount val="2"/>
                <c:pt idx="0">
                  <c:v>4</c:v>
                </c:pt>
                <c:pt idx="1">
                  <c:v>2</c:v>
                </c:pt>
              </c:numCache>
            </c:numRef>
          </c:val>
          <c:extLst>
            <c:ext xmlns:c16="http://schemas.microsoft.com/office/drawing/2014/chart" uri="{C3380CC4-5D6E-409C-BE32-E72D297353CC}">
              <c16:uniqueId val="{00000002-ADCD-4EB3-8006-3CBE57451AF2}"/>
            </c:ext>
          </c:extLst>
        </c:ser>
        <c:ser>
          <c:idx val="3"/>
          <c:order val="3"/>
          <c:spPr>
            <a:solidFill>
              <a:srgbClr val="ECE5F4"/>
            </a:solidFill>
            <a:ln>
              <a:noFill/>
            </a:ln>
          </c:spPr>
          <c:invertIfNegative val="0"/>
          <c:dLbls>
            <c:dLbl>
              <c:idx val="0"/>
              <c:layout>
                <c:manualLayout>
                  <c:x val="7.7419354838709681E-2"/>
                  <c:y val="-4.9582719685812467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CD-4EB3-8006-3CBE57451A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c:v>
                </c:pt>
                <c:pt idx="1">
                  <c:v>0</c:v>
                </c:pt>
              </c:numCache>
            </c:numRef>
          </c:val>
          <c:extLst>
            <c:ext xmlns:c16="http://schemas.microsoft.com/office/drawing/2014/chart" uri="{C3380CC4-5D6E-409C-BE32-E72D297353CC}">
              <c16:uniqueId val="{00000004-ADCD-4EB3-8006-3CBE57451AF2}"/>
            </c:ext>
          </c:extLst>
        </c:ser>
        <c:dLbls>
          <c:showLegendKey val="0"/>
          <c:showVal val="0"/>
          <c:showCatName val="0"/>
          <c:showSerName val="0"/>
          <c:showPercent val="0"/>
          <c:showBubbleSize val="0"/>
        </c:dLbls>
        <c:gapWidth val="80"/>
        <c:overlap val="100"/>
        <c:axId val="255609600"/>
        <c:axId val="1"/>
      </c:barChart>
      <c:catAx>
        <c:axId val="255609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0960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755760368663597"/>
          <c:y val="2.7012987012987013E-2"/>
          <c:w val="0.42396313364055299"/>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EE-4193-B88A-36518BE488FA}"/>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EE-4193-B88A-36518BE488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2.000000000000007</c:v>
                </c:pt>
                <c:pt idx="1">
                  <c:v>51</c:v>
                </c:pt>
              </c:numCache>
            </c:numRef>
          </c:val>
          <c:extLst>
            <c:ext xmlns:c16="http://schemas.microsoft.com/office/drawing/2014/chart" uri="{C3380CC4-5D6E-409C-BE32-E72D297353CC}">
              <c16:uniqueId val="{00000002-A6EE-4193-B88A-36518BE488FA}"/>
            </c:ext>
          </c:extLst>
        </c:ser>
        <c:ser>
          <c:idx val="1"/>
          <c:order val="1"/>
          <c:spPr>
            <a:solidFill>
              <a:srgbClr val="C0E6F4"/>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EE-4193-B88A-36518BE488FA}"/>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EE-4193-B88A-36518BE488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6</c:v>
                </c:pt>
                <c:pt idx="1">
                  <c:v>14</c:v>
                </c:pt>
              </c:numCache>
            </c:numRef>
          </c:val>
          <c:extLst>
            <c:ext xmlns:c16="http://schemas.microsoft.com/office/drawing/2014/chart" uri="{C3380CC4-5D6E-409C-BE32-E72D297353CC}">
              <c16:uniqueId val="{00000005-A6EE-4193-B88A-36518BE488FA}"/>
            </c:ext>
          </c:extLst>
        </c:ser>
        <c:ser>
          <c:idx val="2"/>
          <c:order val="2"/>
          <c:spPr>
            <a:solidFill>
              <a:srgbClr val="F3F3F3"/>
            </a:solidFill>
            <a:ln>
              <a:noFill/>
            </a:ln>
          </c:spPr>
          <c:invertIfNegative val="0"/>
          <c:val>
            <c:numRef>
              <c:f>Sheet1!$A$3:$B$3</c:f>
              <c:numCache>
                <c:formatCode>General</c:formatCode>
                <c:ptCount val="2"/>
                <c:pt idx="0">
                  <c:v>5.9999999999999929</c:v>
                </c:pt>
                <c:pt idx="1">
                  <c:v>7</c:v>
                </c:pt>
              </c:numCache>
            </c:numRef>
          </c:val>
          <c:extLst>
            <c:ext xmlns:c16="http://schemas.microsoft.com/office/drawing/2014/chart" uri="{C3380CC4-5D6E-409C-BE32-E72D297353CC}">
              <c16:uniqueId val="{00000006-A6EE-4193-B88A-36518BE488FA}"/>
            </c:ext>
          </c:extLst>
        </c:ser>
        <c:ser>
          <c:idx val="3"/>
          <c:order val="3"/>
          <c:spPr>
            <a:solidFill>
              <a:srgbClr val="ECE5F4"/>
            </a:solidFill>
            <a:ln>
              <a:noFill/>
            </a:ln>
          </c:spPr>
          <c:invertIfNegative val="0"/>
          <c:val>
            <c:numRef>
              <c:f>Sheet1!$A$4:$B$4</c:f>
              <c:numCache>
                <c:formatCode>General</c:formatCode>
                <c:ptCount val="2"/>
                <c:pt idx="0">
                  <c:v>36</c:v>
                </c:pt>
                <c:pt idx="1">
                  <c:v>28</c:v>
                </c:pt>
              </c:numCache>
            </c:numRef>
          </c:val>
          <c:extLst>
            <c:ext xmlns:c16="http://schemas.microsoft.com/office/drawing/2014/chart" uri="{C3380CC4-5D6E-409C-BE32-E72D297353CC}">
              <c16:uniqueId val="{00000007-A6EE-4193-B88A-36518BE488FA}"/>
            </c:ext>
          </c:extLst>
        </c:ser>
        <c:dLbls>
          <c:showLegendKey val="0"/>
          <c:showVal val="0"/>
          <c:showCatName val="0"/>
          <c:showSerName val="0"/>
          <c:showPercent val="0"/>
          <c:showBubbleSize val="0"/>
        </c:dLbls>
        <c:gapWidth val="80"/>
        <c:overlap val="100"/>
        <c:axId val="1625826895"/>
        <c:axId val="1"/>
      </c:barChart>
      <c:catAx>
        <c:axId val="162582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62582689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847926267281104"/>
          <c:y val="2.7012987012987013E-2"/>
          <c:w val="0.42304147465437786"/>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70-4746-A12F-DAFC205B4781}"/>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70-4746-A12F-DAFC205B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0</c:v>
                </c:pt>
                <c:pt idx="1">
                  <c:v>91</c:v>
                </c:pt>
              </c:numCache>
            </c:numRef>
          </c:val>
          <c:extLst>
            <c:ext xmlns:c16="http://schemas.microsoft.com/office/drawing/2014/chart" uri="{C3380CC4-5D6E-409C-BE32-E72D297353CC}">
              <c16:uniqueId val="{00000002-E470-4746-A12F-DAFC205B4781}"/>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70-4746-A12F-DAFC205B4781}"/>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70-4746-A12F-DAFC205B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0</c:v>
                </c:pt>
                <c:pt idx="1">
                  <c:v>9</c:v>
                </c:pt>
              </c:numCache>
            </c:numRef>
          </c:val>
          <c:extLst>
            <c:ext xmlns:c16="http://schemas.microsoft.com/office/drawing/2014/chart" uri="{C3380CC4-5D6E-409C-BE32-E72D297353CC}">
              <c16:uniqueId val="{00000005-E470-4746-A12F-DAFC205B4781}"/>
            </c:ext>
          </c:extLst>
        </c:ser>
        <c:ser>
          <c:idx val="2"/>
          <c:order val="2"/>
          <c:spPr>
            <a:solidFill>
              <a:srgbClr val="F3F3F3"/>
            </a:solidFill>
            <a:ln>
              <a:noFill/>
            </a:ln>
          </c:spPr>
          <c:invertIfNegative val="0"/>
          <c:val>
            <c:numRef>
              <c:f>Sheet1!$A$3:$B$3</c:f>
              <c:numCache>
                <c:formatCode>General</c:formatCode>
                <c:ptCount val="2"/>
                <c:pt idx="0">
                  <c:v>0</c:v>
                </c:pt>
                <c:pt idx="1">
                  <c:v>0</c:v>
                </c:pt>
              </c:numCache>
            </c:numRef>
          </c:val>
          <c:extLst>
            <c:ext xmlns:c16="http://schemas.microsoft.com/office/drawing/2014/chart" uri="{C3380CC4-5D6E-409C-BE32-E72D297353CC}">
              <c16:uniqueId val="{00000006-E470-4746-A12F-DAFC205B4781}"/>
            </c:ext>
          </c:extLst>
        </c:ser>
        <c:ser>
          <c:idx val="3"/>
          <c:order val="3"/>
          <c:spPr>
            <a:solidFill>
              <a:srgbClr val="ECE5F4"/>
            </a:solidFill>
            <a:ln>
              <a:noFill/>
            </a:ln>
          </c:spPr>
          <c:invertIfNegative val="0"/>
          <c:val>
            <c:numRef>
              <c:f>Sheet1!$A$4:$B$4</c:f>
              <c:numCache>
                <c:formatCode>General</c:formatCode>
                <c:ptCount val="2"/>
                <c:pt idx="0">
                  <c:v>0</c:v>
                </c:pt>
                <c:pt idx="1">
                  <c:v>0</c:v>
                </c:pt>
              </c:numCache>
            </c:numRef>
          </c:val>
          <c:extLst>
            <c:ext xmlns:c16="http://schemas.microsoft.com/office/drawing/2014/chart" uri="{C3380CC4-5D6E-409C-BE32-E72D297353CC}">
              <c16:uniqueId val="{00000007-E470-4746-A12F-DAFC205B4781}"/>
            </c:ext>
          </c:extLst>
        </c:ser>
        <c:dLbls>
          <c:showLegendKey val="0"/>
          <c:showVal val="0"/>
          <c:showCatName val="0"/>
          <c:showSerName val="0"/>
          <c:showPercent val="0"/>
          <c:showBubbleSize val="0"/>
        </c:dLbls>
        <c:gapWidth val="80"/>
        <c:overlap val="100"/>
        <c:axId val="255615008"/>
        <c:axId val="1"/>
      </c:barChart>
      <c:catAx>
        <c:axId val="255615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5561500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76-4555-8802-309C049AD380}"/>
                </c:ext>
              </c:extLst>
            </c:dLbl>
            <c:dLbl>
              <c:idx val="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76-4555-8802-309C049AD380}"/>
                </c:ext>
              </c:extLst>
            </c:dLbl>
            <c:dLbl>
              <c:idx val="11"/>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76-4555-8802-309C049AD380}"/>
                </c:ext>
              </c:extLst>
            </c:dLbl>
            <c:dLbl>
              <c:idx val="1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76-4555-8802-309C049AD380}"/>
                </c:ext>
              </c:extLst>
            </c:dLbl>
            <c:dLbl>
              <c:idx val="13"/>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76-4555-8802-309C049AD380}"/>
                </c:ext>
              </c:extLst>
            </c:dLbl>
            <c:dLbl>
              <c:idx val="1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76-4555-8802-309C049AD380}"/>
                </c:ext>
              </c:extLst>
            </c:dLbl>
            <c:dLbl>
              <c:idx val="16"/>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76-4555-8802-309C049AD380}"/>
                </c:ext>
              </c:extLst>
            </c:dLbl>
            <c:dLbl>
              <c:idx val="18"/>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76-4555-8802-309C049AD380}"/>
                </c:ext>
              </c:extLst>
            </c:dLbl>
            <c:dLbl>
              <c:idx val="19"/>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76-4555-8802-309C049AD380}"/>
                </c:ext>
              </c:extLst>
            </c:dLbl>
            <c:dLbl>
              <c:idx val="22"/>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76-4555-8802-309C049AD380}"/>
                </c:ext>
              </c:extLst>
            </c:dLbl>
            <c:dLbl>
              <c:idx val="24"/>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76-4555-8802-309C049AD380}"/>
                </c:ext>
              </c:extLst>
            </c:dLbl>
            <c:dLbl>
              <c:idx val="25"/>
              <c:layout>
                <c:manualLayout>
                  <c:x val="0"/>
                  <c:y val="-4.574332909783989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C76-4555-8802-309C049AD380}"/>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5.3220000000000001</c:v>
                </c:pt>
                <c:pt idx="1">
                  <c:v>5.7050000000000001</c:v>
                </c:pt>
                <c:pt idx="2">
                  <c:v>9.0440000000000005</c:v>
                </c:pt>
                <c:pt idx="3">
                  <c:v>5.9210000000000003</c:v>
                </c:pt>
                <c:pt idx="4">
                  <c:v>1.387</c:v>
                </c:pt>
                <c:pt idx="5">
                  <c:v>3.367</c:v>
                </c:pt>
                <c:pt idx="6">
                  <c:v>4.6619999999999999</c:v>
                </c:pt>
                <c:pt idx="7">
                  <c:v>7.1390000000000002</c:v>
                </c:pt>
                <c:pt idx="8" formatCode="#,##0.0;&quot;-&quot;#,##0.0">
                  <c:v>11.02</c:v>
                </c:pt>
                <c:pt idx="9">
                  <c:v>7.1790000000000003</c:v>
                </c:pt>
                <c:pt idx="10">
                  <c:v>4.2110000000000003</c:v>
                </c:pt>
                <c:pt idx="11" formatCode="#,##0.0;&quot;-&quot;#,##0.0">
                  <c:v>4.9930000000000003</c:v>
                </c:pt>
                <c:pt idx="12" formatCode="#,##0.0;&quot;-&quot;#,##0.0">
                  <c:v>5.6479999999999997</c:v>
                </c:pt>
                <c:pt idx="13" formatCode="#,##0.0;&quot;-&quot;#,##0.0">
                  <c:v>5.742</c:v>
                </c:pt>
                <c:pt idx="14" formatCode="#,##0.0;&quot;-&quot;#,##0.0">
                  <c:v>6.1040000000000001</c:v>
                </c:pt>
                <c:pt idx="15">
                  <c:v>4.5880000000000001</c:v>
                </c:pt>
                <c:pt idx="16" formatCode="#,##0.0;&quot;-&quot;#,##0.0">
                  <c:v>6.3330000000000002</c:v>
                </c:pt>
                <c:pt idx="17">
                  <c:v>5.2789999999999999</c:v>
                </c:pt>
                <c:pt idx="18" formatCode="#,##0.0;&quot;-&quot;#,##0.0">
                  <c:v>4.6120000000000001</c:v>
                </c:pt>
                <c:pt idx="19" formatCode="#,##0.0;&quot;-&quot;#,##0.0">
                  <c:v>4.1210000000000004</c:v>
                </c:pt>
                <c:pt idx="20">
                  <c:v>3.2749999999999999</c:v>
                </c:pt>
                <c:pt idx="21">
                  <c:v>4.556</c:v>
                </c:pt>
                <c:pt idx="22" formatCode="#,##0.0;&quot;-&quot;#,##0.0">
                  <c:v>6.8689999999999998</c:v>
                </c:pt>
                <c:pt idx="23">
                  <c:v>5.7530000000000001</c:v>
                </c:pt>
                <c:pt idx="24" formatCode="#,##0.0;&quot;-&quot;#,##0.0">
                  <c:v>4.8040000000000003</c:v>
                </c:pt>
                <c:pt idx="25" formatCode="#,##0.0;&quot;-&quot;#,##0.0">
                  <c:v>4.5</c:v>
                </c:pt>
              </c:numCache>
            </c:numRef>
          </c:val>
          <c:smooth val="0"/>
          <c:extLst>
            <c:ext xmlns:c16="http://schemas.microsoft.com/office/drawing/2014/chart" uri="{C3380CC4-5D6E-409C-BE32-E72D297353CC}">
              <c16:uniqueId val="{0000000C-CC76-4555-8802-309C049AD380}"/>
            </c:ext>
          </c:extLst>
        </c:ser>
        <c:dLbls>
          <c:showLegendKey val="0"/>
          <c:showVal val="0"/>
          <c:showCatName val="0"/>
          <c:showSerName val="0"/>
          <c:showPercent val="0"/>
          <c:showBubbleSize val="0"/>
        </c:dLbls>
        <c:marker val="1"/>
        <c:smooth val="0"/>
        <c:axId val="101639967"/>
        <c:axId val="1"/>
      </c:lineChart>
      <c:catAx>
        <c:axId val="1016399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2"/>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01639967"/>
        <c:crosses val="min"/>
        <c:crossBetween val="midCat"/>
        <c:majorUnit val="1"/>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91201027617213E-2"/>
          <c:y val="2.6260059296908091E-2"/>
          <c:w val="0.87893384714193967"/>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6E-43C9-B740-87FEF404D478}"/>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6E-43C9-B740-87FEF404D478}"/>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6E-43C9-B740-87FEF404D478}"/>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6E-43C9-B740-87FEF404D478}"/>
                </c:ext>
              </c:extLst>
            </c:dLbl>
            <c:dLbl>
              <c:idx val="1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6E-43C9-B740-87FEF404D478}"/>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6E-43C9-B740-87FEF404D478}"/>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E6E-43C9-B740-87FEF404D478}"/>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E6E-43C9-B740-87FEF404D478}"/>
                </c:ext>
              </c:extLst>
            </c:dLbl>
            <c:dLbl>
              <c:idx val="17"/>
              <c:layout>
                <c:manualLayout>
                  <c:x val="1.7019910083493899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E6E-43C9-B740-87FEF404D478}"/>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E6E-43C9-B740-87FEF404D478}"/>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E6E-43C9-B740-87FEF404D478}"/>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E6E-43C9-B740-87FEF404D478}"/>
                </c:ext>
              </c:extLst>
            </c:dLbl>
            <c:dLbl>
              <c:idx val="2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E6E-43C9-B740-87FEF404D478}"/>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E6E-43C9-B740-87FEF404D47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5.592700000000001</c:v>
                </c:pt>
                <c:pt idx="1">
                  <c:v>14.278700000000001</c:v>
                </c:pt>
                <c:pt idx="2">
                  <c:v>11.931699999999999</c:v>
                </c:pt>
                <c:pt idx="3">
                  <c:v>15.386900000000001</c:v>
                </c:pt>
                <c:pt idx="4">
                  <c:v>16.787400000000002</c:v>
                </c:pt>
                <c:pt idx="5">
                  <c:v>17.3428</c:v>
                </c:pt>
                <c:pt idx="6">
                  <c:v>17.284700000000001</c:v>
                </c:pt>
                <c:pt idx="7">
                  <c:v>16.718399999999999</c:v>
                </c:pt>
                <c:pt idx="8">
                  <c:v>12.7377</c:v>
                </c:pt>
                <c:pt idx="9">
                  <c:v>11.180099999999999</c:v>
                </c:pt>
                <c:pt idx="10">
                  <c:v>11.9902</c:v>
                </c:pt>
                <c:pt idx="11">
                  <c:v>11.0625</c:v>
                </c:pt>
                <c:pt idx="12">
                  <c:v>9.7375000000000007</c:v>
                </c:pt>
                <c:pt idx="13">
                  <c:v>10.1226</c:v>
                </c:pt>
                <c:pt idx="14">
                  <c:v>9.7574000000000005</c:v>
                </c:pt>
                <c:pt idx="15">
                  <c:v>9.5419999999999998</c:v>
                </c:pt>
                <c:pt idx="16">
                  <c:v>7.4058999999999999</c:v>
                </c:pt>
                <c:pt idx="17">
                  <c:v>8.4223999999999997</c:v>
                </c:pt>
                <c:pt idx="18">
                  <c:v>8.3854000000000006</c:v>
                </c:pt>
                <c:pt idx="19">
                  <c:v>7.5526</c:v>
                </c:pt>
                <c:pt idx="20">
                  <c:v>6.5243000000000002</c:v>
                </c:pt>
                <c:pt idx="21">
                  <c:v>7.4340999999999999</c:v>
                </c:pt>
                <c:pt idx="22">
                  <c:v>8.0351999999999997</c:v>
                </c:pt>
              </c:numCache>
            </c:numRef>
          </c:val>
          <c:smooth val="0"/>
          <c:extLst>
            <c:ext xmlns:c16="http://schemas.microsoft.com/office/drawing/2014/chart" uri="{C3380CC4-5D6E-409C-BE32-E72D297353CC}">
              <c16:uniqueId val="{0000000E-AE6E-43C9-B740-87FEF404D478}"/>
            </c:ext>
          </c:extLst>
        </c:ser>
        <c:dLbls>
          <c:showLegendKey val="0"/>
          <c:showVal val="0"/>
          <c:showCatName val="0"/>
          <c:showSerName val="0"/>
          <c:showPercent val="0"/>
          <c:showBubbleSize val="0"/>
        </c:dLbls>
        <c:marker val="1"/>
        <c:smooth val="0"/>
        <c:axId val="229292416"/>
        <c:axId val="1"/>
      </c:lineChart>
      <c:catAx>
        <c:axId val="2292924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229292416"/>
        <c:crosses val="min"/>
        <c:crossBetween val="midCat"/>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40149393090568E-2"/>
          <c:y val="0.14744145706851691"/>
          <c:w val="0.96591970121381887"/>
          <c:h val="0.80745880312228968"/>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1:$U$1</c:f>
              <c:numCache>
                <c:formatCode>General</c:formatCode>
                <c:ptCount val="21"/>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numCache>
            </c:numRef>
          </c:cat>
          <c:val>
            <c:numRef>
              <c:f>Sheet1!$A$2:$U$2</c:f>
              <c:numCache>
                <c:formatCode>0%</c:formatCode>
                <c:ptCount val="21"/>
                <c:pt idx="0">
                  <c:v>0.36645962732919252</c:v>
                </c:pt>
                <c:pt idx="1">
                  <c:v>0.34161490683229812</c:v>
                </c:pt>
                <c:pt idx="2">
                  <c:v>0.3461538461538462</c:v>
                </c:pt>
                <c:pt idx="3">
                  <c:v>0.42236024844720493</c:v>
                </c:pt>
                <c:pt idx="4">
                  <c:v>0.41566265060240964</c:v>
                </c:pt>
                <c:pt idx="5">
                  <c:v>0.45341614906832295</c:v>
                </c:pt>
                <c:pt idx="6">
                  <c:v>0.50276243093922646</c:v>
                </c:pt>
                <c:pt idx="7">
                  <c:v>0.51578947368421058</c:v>
                </c:pt>
                <c:pt idx="8">
                  <c:v>0.51485148514851486</c:v>
                </c:pt>
                <c:pt idx="9">
                  <c:v>0.54245283018867929</c:v>
                </c:pt>
                <c:pt idx="10">
                  <c:v>0.55555555555555558</c:v>
                </c:pt>
                <c:pt idx="11">
                  <c:v>0.55696202531645567</c:v>
                </c:pt>
                <c:pt idx="12">
                  <c:v>0.57627118644067787</c:v>
                </c:pt>
                <c:pt idx="13">
                  <c:v>0.5490196078431373</c:v>
                </c:pt>
                <c:pt idx="14">
                  <c:v>0.56603773584905659</c:v>
                </c:pt>
                <c:pt idx="15">
                  <c:v>0.57761732851985559</c:v>
                </c:pt>
                <c:pt idx="16">
                  <c:v>0.57761732851985559</c:v>
                </c:pt>
                <c:pt idx="17">
                  <c:v>0.56140350877192979</c:v>
                </c:pt>
                <c:pt idx="18">
                  <c:v>0.59566787003610111</c:v>
                </c:pt>
                <c:pt idx="19">
                  <c:v>0.59106529209621983</c:v>
                </c:pt>
                <c:pt idx="20">
                  <c:v>0.62897526501766787</c:v>
                </c:pt>
              </c:numCache>
            </c:numRef>
          </c:val>
          <c:smooth val="0"/>
          <c:extLst>
            <c:ext xmlns:c16="http://schemas.microsoft.com/office/drawing/2014/chart" uri="{C3380CC4-5D6E-409C-BE32-E72D297353CC}">
              <c16:uniqueId val="{00000000-BD71-41AA-B40B-65C3779F56F6}"/>
            </c:ext>
          </c:extLst>
        </c:ser>
        <c:dLbls>
          <c:dLblPos val="t"/>
          <c:showLegendKey val="0"/>
          <c:showVal val="1"/>
          <c:showCatName val="0"/>
          <c:showSerName val="0"/>
          <c:showPercent val="0"/>
          <c:showBubbleSize val="0"/>
        </c:dLbls>
        <c:marker val="1"/>
        <c:smooth val="0"/>
        <c:axId val="535208719"/>
        <c:axId val="1"/>
      </c:lineChart>
      <c:catAx>
        <c:axId val="535208719"/>
        <c:scaling>
          <c:orientation val="minMax"/>
        </c:scaling>
        <c:delete val="0"/>
        <c:axPos val="b"/>
        <c:majorGridlines>
          <c:spPr>
            <a:ln>
              <a:noFill/>
            </a:ln>
          </c:spPr>
        </c:majorGridlines>
        <c:numFmt formatCode="General" sourceLinked="1"/>
        <c:majorTickMark val="none"/>
        <c:minorTickMark val="none"/>
        <c:tickLblPos val="none"/>
        <c:spPr>
          <a:ln w="9525" algn="ctr">
            <a:solidFill>
              <a:schemeClr val="bg1"/>
            </a:solidFill>
            <a:prstDash val="solid"/>
          </a:ln>
        </c:spPr>
        <c:txPr>
          <a:bodyPr/>
          <a:lstStyle/>
          <a:p>
            <a:pPr>
              <a:defRPr lang="ja-JP"/>
            </a:pPr>
            <a:endParaRPr lang="ja-JP"/>
          </a:p>
        </c:txPr>
        <c:crossAx val="1"/>
        <c:crosses val="min"/>
        <c:auto val="1"/>
        <c:lblAlgn val="ctr"/>
        <c:lblOffset val="100"/>
        <c:noMultiLvlLbl val="1"/>
      </c:catAx>
      <c:valAx>
        <c:axId val="1"/>
        <c:scaling>
          <c:orientation val="minMax"/>
        </c:scaling>
        <c:delete val="0"/>
        <c:axPos val="r"/>
        <c:numFmt formatCode="0%" sourceLinked="1"/>
        <c:majorTickMark val="out"/>
        <c:minorTickMark val="none"/>
        <c:tickLblPos val="none"/>
        <c:crossAx val="535208719"/>
        <c:crosses val="max"/>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V$1</c:f>
              <c:numCache>
                <c:formatCode>General</c:formatCode>
                <c:ptCount val="22"/>
                <c:pt idx="0">
                  <c:v>87.03</c:v>
                </c:pt>
                <c:pt idx="1">
                  <c:v>68.900000000000006</c:v>
                </c:pt>
                <c:pt idx="2">
                  <c:v>62.45</c:v>
                </c:pt>
                <c:pt idx="3">
                  <c:v>114.3</c:v>
                </c:pt>
                <c:pt idx="4">
                  <c:v>143.9</c:v>
                </c:pt>
                <c:pt idx="5">
                  <c:v>161.80000000000001</c:v>
                </c:pt>
                <c:pt idx="6">
                  <c:v>198.3</c:v>
                </c:pt>
                <c:pt idx="7">
                  <c:v>219.9</c:v>
                </c:pt>
                <c:pt idx="8">
                  <c:v>211.6</c:v>
                </c:pt>
                <c:pt idx="9">
                  <c:v>245.2</c:v>
                </c:pt>
                <c:pt idx="10">
                  <c:v>322.39999999999998</c:v>
                </c:pt>
                <c:pt idx="11">
                  <c:v>360</c:v>
                </c:pt>
                <c:pt idx="12">
                  <c:v>338.4</c:v>
                </c:pt>
                <c:pt idx="13">
                  <c:v>308.3</c:v>
                </c:pt>
                <c:pt idx="14">
                  <c:v>304.39999999999998</c:v>
                </c:pt>
                <c:pt idx="15">
                  <c:v>285</c:v>
                </c:pt>
                <c:pt idx="16">
                  <c:v>262.3</c:v>
                </c:pt>
                <c:pt idx="17">
                  <c:v>307.2</c:v>
                </c:pt>
                <c:pt idx="18">
                  <c:v>325.8</c:v>
                </c:pt>
                <c:pt idx="19">
                  <c:v>321.7</c:v>
                </c:pt>
                <c:pt idx="20">
                  <c:v>304.10000000000002</c:v>
                </c:pt>
                <c:pt idx="21">
                  <c:v>352.5</c:v>
                </c:pt>
              </c:numCache>
            </c:numRef>
          </c:val>
          <c:extLst>
            <c:ext xmlns:c16="http://schemas.microsoft.com/office/drawing/2014/chart" uri="{C3380CC4-5D6E-409C-BE32-E72D297353CC}">
              <c16:uniqueId val="{00000000-FE3F-4E39-80CB-272245A12370}"/>
            </c:ext>
          </c:extLst>
        </c:ser>
        <c:ser>
          <c:idx val="1"/>
          <c:order val="1"/>
          <c:spPr>
            <a:solidFill>
              <a:srgbClr val="80CCE8"/>
            </a:solidFill>
            <a:ln w="9525" algn="ctr">
              <a:solidFill>
                <a:srgbClr val="808080"/>
              </a:solidFill>
              <a:prstDash val="solid"/>
            </a:ln>
          </c:spPr>
          <c:invertIfNegative val="0"/>
          <c:val>
            <c:numRef>
              <c:f>Sheet1!$A$2:$V$2</c:f>
              <c:numCache>
                <c:formatCode>General</c:formatCode>
                <c:ptCount val="22"/>
                <c:pt idx="0">
                  <c:v>150.77000000000001</c:v>
                </c:pt>
                <c:pt idx="1">
                  <c:v>135.4</c:v>
                </c:pt>
                <c:pt idx="2">
                  <c:v>118.45</c:v>
                </c:pt>
                <c:pt idx="3">
                  <c:v>174.09999999999997</c:v>
                </c:pt>
                <c:pt idx="4">
                  <c:v>221.6</c:v>
                </c:pt>
                <c:pt idx="5">
                  <c:v>242.59999999999997</c:v>
                </c:pt>
                <c:pt idx="6">
                  <c:v>223.89999999999998</c:v>
                </c:pt>
                <c:pt idx="7">
                  <c:v>240.1</c:v>
                </c:pt>
                <c:pt idx="8">
                  <c:v>235.29999999999998</c:v>
                </c:pt>
                <c:pt idx="9">
                  <c:v>247.7</c:v>
                </c:pt>
                <c:pt idx="10">
                  <c:v>305.70000000000005</c:v>
                </c:pt>
                <c:pt idx="11">
                  <c:v>334.1</c:v>
                </c:pt>
                <c:pt idx="12">
                  <c:v>315.89999999999998</c:v>
                </c:pt>
                <c:pt idx="13">
                  <c:v>294.40000000000003</c:v>
                </c:pt>
                <c:pt idx="14">
                  <c:v>243.39999999999998</c:v>
                </c:pt>
                <c:pt idx="15">
                  <c:v>214.39999999999998</c:v>
                </c:pt>
                <c:pt idx="16">
                  <c:v>201</c:v>
                </c:pt>
                <c:pt idx="17">
                  <c:v>229.59999999999997</c:v>
                </c:pt>
                <c:pt idx="18">
                  <c:v>244.3</c:v>
                </c:pt>
                <c:pt idx="19">
                  <c:v>229.7</c:v>
                </c:pt>
                <c:pt idx="20">
                  <c:v>188.09999999999997</c:v>
                </c:pt>
                <c:pt idx="21">
                  <c:v>230.70000000000005</c:v>
                </c:pt>
              </c:numCache>
            </c:numRef>
          </c:val>
          <c:extLst>
            <c:ext xmlns:c16="http://schemas.microsoft.com/office/drawing/2014/chart" uri="{C3380CC4-5D6E-409C-BE32-E72D297353CC}">
              <c16:uniqueId val="{00000001-FE3F-4E39-80CB-272245A12370}"/>
            </c:ext>
          </c:extLst>
        </c:ser>
        <c:dLbls>
          <c:showLegendKey val="0"/>
          <c:showVal val="0"/>
          <c:showCatName val="0"/>
          <c:showSerName val="0"/>
          <c:showPercent val="0"/>
          <c:showBubbleSize val="0"/>
        </c:dLbls>
        <c:gapWidth val="60"/>
        <c:overlap val="100"/>
        <c:axId val="1721112447"/>
        <c:axId val="1"/>
      </c:barChart>
      <c:catAx>
        <c:axId val="17211124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7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721112447"/>
        <c:crosses val="min"/>
        <c:crossBetween val="between"/>
        <c:majorUnit val="1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73558869352326E-2"/>
          <c:y val="5.8361391694725026E-2"/>
          <c:w val="0.9768528822612953"/>
          <c:h val="0.88327721661054992"/>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U$1</c:f>
              <c:numCache>
                <c:formatCode>#,##0</c:formatCode>
                <c:ptCount val="21"/>
                <c:pt idx="0">
                  <c:v>5949</c:v>
                </c:pt>
                <c:pt idx="1">
                  <c:v>5468</c:v>
                </c:pt>
                <c:pt idx="2">
                  <c:v>5441</c:v>
                </c:pt>
                <c:pt idx="3">
                  <c:v>6779</c:v>
                </c:pt>
                <c:pt idx="4">
                  <c:v>6938</c:v>
                </c:pt>
                <c:pt idx="5">
                  <c:v>7340</c:v>
                </c:pt>
                <c:pt idx="6">
                  <c:v>9121</c:v>
                </c:pt>
                <c:pt idx="7">
                  <c:v>9818</c:v>
                </c:pt>
                <c:pt idx="8">
                  <c:v>10392</c:v>
                </c:pt>
                <c:pt idx="9">
                  <c:v>11501</c:v>
                </c:pt>
                <c:pt idx="10">
                  <c:v>12460</c:v>
                </c:pt>
                <c:pt idx="11">
                  <c:v>13241</c:v>
                </c:pt>
                <c:pt idx="12">
                  <c:v>13623</c:v>
                </c:pt>
                <c:pt idx="13">
                  <c:v>13978</c:v>
                </c:pt>
                <c:pt idx="14">
                  <c:v>14957</c:v>
                </c:pt>
                <c:pt idx="15">
                  <c:v>15927</c:v>
                </c:pt>
                <c:pt idx="16">
                  <c:v>15951</c:v>
                </c:pt>
                <c:pt idx="17">
                  <c:v>16109</c:v>
                </c:pt>
                <c:pt idx="18">
                  <c:v>16526</c:v>
                </c:pt>
                <c:pt idx="19">
                  <c:v>17270</c:v>
                </c:pt>
                <c:pt idx="20">
                  <c:v>17881</c:v>
                </c:pt>
              </c:numCache>
            </c:numRef>
          </c:val>
          <c:extLst>
            <c:ext xmlns:c16="http://schemas.microsoft.com/office/drawing/2014/chart" uri="{C3380CC4-5D6E-409C-BE32-E72D297353CC}">
              <c16:uniqueId val="{00000000-1BF1-4C7A-BD31-2E6015F05A9B}"/>
            </c:ext>
          </c:extLst>
        </c:ser>
        <c:ser>
          <c:idx val="1"/>
          <c:order val="1"/>
          <c:spPr>
            <a:solidFill>
              <a:srgbClr val="80CCE8"/>
            </a:solidFill>
            <a:ln w="9525" algn="ctr">
              <a:solidFill>
                <a:srgbClr val="808080"/>
              </a:solidFill>
              <a:prstDash val="solid"/>
            </a:ln>
          </c:spPr>
          <c:invertIfNegative val="0"/>
          <c:val>
            <c:numRef>
              <c:f>Sheet1!$A$2:$U$2</c:f>
              <c:numCache>
                <c:formatCode>#,##0</c:formatCode>
                <c:ptCount val="21"/>
                <c:pt idx="0">
                  <c:v>10202</c:v>
                </c:pt>
                <c:pt idx="1">
                  <c:v>10637</c:v>
                </c:pt>
                <c:pt idx="2">
                  <c:v>10215</c:v>
                </c:pt>
                <c:pt idx="3">
                  <c:v>9376</c:v>
                </c:pt>
                <c:pt idx="4">
                  <c:v>9724</c:v>
                </c:pt>
                <c:pt idx="5">
                  <c:v>8846</c:v>
                </c:pt>
                <c:pt idx="6">
                  <c:v>9048</c:v>
                </c:pt>
                <c:pt idx="7">
                  <c:v>9226</c:v>
                </c:pt>
                <c:pt idx="8">
                  <c:v>9784</c:v>
                </c:pt>
                <c:pt idx="9">
                  <c:v>9750</c:v>
                </c:pt>
                <c:pt idx="10">
                  <c:v>9960</c:v>
                </c:pt>
                <c:pt idx="11">
                  <c:v>10476</c:v>
                </c:pt>
                <c:pt idx="12">
                  <c:v>10967</c:v>
                </c:pt>
                <c:pt idx="13">
                  <c:v>11506</c:v>
                </c:pt>
                <c:pt idx="14">
                  <c:v>11496</c:v>
                </c:pt>
                <c:pt idx="15">
                  <c:v>11511</c:v>
                </c:pt>
                <c:pt idx="16">
                  <c:v>11655</c:v>
                </c:pt>
                <c:pt idx="17">
                  <c:v>11732</c:v>
                </c:pt>
                <c:pt idx="18">
                  <c:v>12018</c:v>
                </c:pt>
                <c:pt idx="19">
                  <c:v>11947</c:v>
                </c:pt>
                <c:pt idx="20">
                  <c:v>10525</c:v>
                </c:pt>
              </c:numCache>
            </c:numRef>
          </c:val>
          <c:extLst>
            <c:ext xmlns:c16="http://schemas.microsoft.com/office/drawing/2014/chart" uri="{C3380CC4-5D6E-409C-BE32-E72D297353CC}">
              <c16:uniqueId val="{00000001-1BF1-4C7A-BD31-2E6015F05A9B}"/>
            </c:ext>
          </c:extLst>
        </c:ser>
        <c:dLbls>
          <c:showLegendKey val="0"/>
          <c:showVal val="0"/>
          <c:showCatName val="0"/>
          <c:showSerName val="0"/>
          <c:showPercent val="0"/>
          <c:showBubbleSize val="0"/>
        </c:dLbls>
        <c:gapWidth val="60"/>
        <c:overlap val="100"/>
        <c:axId val="849305727"/>
        <c:axId val="1"/>
      </c:barChart>
      <c:catAx>
        <c:axId val="84930572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0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849305727"/>
        <c:crosses val="min"/>
        <c:crossBetween val="between"/>
        <c:majorUnit val="1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9FC-459D-9CF6-72D59689C62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9FC-459D-9CF6-72D59689C62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9FC-459D-9CF6-72D59689C62C}"/>
              </c:ext>
            </c:extLst>
          </c:dPt>
          <c:dLbls>
            <c:dLbl>
              <c:idx val="0"/>
              <c:layout>
                <c:manualLayout>
                  <c:x val="5.2852348993288591E-2"/>
                  <c:y val="-2.9351535836177476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FC-459D-9CF6-72D59689C62C}"/>
                </c:ext>
              </c:extLst>
            </c:dLbl>
            <c:dLbl>
              <c:idx val="1"/>
              <c:layout>
                <c:manualLayout>
                  <c:x val="-3.7332214765100673E-2"/>
                  <c:y val="8.7372013651877134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FC-459D-9CF6-72D59689C62C}"/>
                </c:ext>
              </c:extLst>
            </c:dLbl>
            <c:dLbl>
              <c:idx val="2"/>
              <c:layout>
                <c:manualLayout>
                  <c:x val="-3.8171140939597316E-2"/>
                  <c:y val="-8.3276450511945391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FC-459D-9CF6-72D59689C6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9.67947622057109</c:v>
                </c:pt>
                <c:pt idx="1">
                  <c:v>39.963857854540514</c:v>
                </c:pt>
                <c:pt idx="2">
                  <c:v>20.356665924888411</c:v>
                </c:pt>
              </c:numCache>
            </c:numRef>
          </c:val>
          <c:extLst>
            <c:ext xmlns:c16="http://schemas.microsoft.com/office/drawing/2014/chart" uri="{C3380CC4-5D6E-409C-BE32-E72D297353CC}">
              <c16:uniqueId val="{00000003-F9FC-459D-9CF6-72D59689C62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430826369545034"/>
          <c:y val="3.5519125683060107E-2"/>
          <c:w val="0.63138347260909933"/>
          <c:h val="0.92896174863387981"/>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9F34-4858-9D5D-BF13C03DD07B}"/>
              </c:ext>
            </c:extLst>
          </c:dPt>
          <c:dPt>
            <c:idx val="1"/>
            <c:bubble3D val="0"/>
            <c:spPr>
              <a:solidFill>
                <a:schemeClr val="accent1">
                  <a:lumMod val="40000"/>
                  <a:lumOff val="60000"/>
                </a:schemeClr>
              </a:solidFill>
              <a:ln>
                <a:noFill/>
              </a:ln>
            </c:spPr>
            <c:extLst>
              <c:ext xmlns:c16="http://schemas.microsoft.com/office/drawing/2014/chart" uri="{C3380CC4-5D6E-409C-BE32-E72D297353CC}">
                <c16:uniqueId val="{00000001-9F34-4858-9D5D-BF13C03DD07B}"/>
              </c:ext>
            </c:extLst>
          </c:dPt>
          <c:dPt>
            <c:idx val="2"/>
            <c:bubble3D val="0"/>
            <c:spPr>
              <a:solidFill>
                <a:srgbClr val="80CCE8"/>
              </a:solidFill>
              <a:ln>
                <a:noFill/>
              </a:ln>
            </c:spPr>
            <c:extLst>
              <c:ext xmlns:c16="http://schemas.microsoft.com/office/drawing/2014/chart" uri="{C3380CC4-5D6E-409C-BE32-E72D297353CC}">
                <c16:uniqueId val="{00000002-9F34-4858-9D5D-BF13C03DD07B}"/>
              </c:ext>
            </c:extLst>
          </c:dPt>
          <c:dPt>
            <c:idx val="3"/>
            <c:bubble3D val="0"/>
            <c:spPr>
              <a:solidFill>
                <a:srgbClr val="C0E6F4"/>
              </a:solidFill>
              <a:ln>
                <a:noFill/>
              </a:ln>
            </c:spPr>
            <c:extLst>
              <c:ext xmlns:c16="http://schemas.microsoft.com/office/drawing/2014/chart" uri="{C3380CC4-5D6E-409C-BE32-E72D297353CC}">
                <c16:uniqueId val="{00000003-9F34-4858-9D5D-BF13C03DD07B}"/>
              </c:ext>
            </c:extLst>
          </c:dPt>
          <c:dLbls>
            <c:dLbl>
              <c:idx val="0"/>
              <c:layout>
                <c:manualLayout>
                  <c:x val="5.8495821727019497E-2"/>
                  <c:y val="-7.3087431693989069E-2"/>
                </c:manualLayout>
              </c:layout>
              <c:numFmt formatCode="#,##0.0&quot;%&quot;;&quot;-&quot;#,##0.0&quot;%&quot;"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34-4858-9D5D-BF13C03DD07B}"/>
                </c:ext>
              </c:extLst>
            </c:dLbl>
            <c:dLbl>
              <c:idx val="1"/>
              <c:layout>
                <c:manualLayout>
                  <c:x val="5.8031569173630455E-2"/>
                  <c:y val="7.5136612021857924E-2"/>
                </c:manualLayout>
              </c:layout>
              <c:numFmt formatCode="#,##0.0&quot;%&quot;;&quot;-&quot;#,##0.0&quot;%&quot;"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34-4858-9D5D-BF13C03DD07B}"/>
                </c:ext>
              </c:extLst>
            </c:dLbl>
            <c:dLbl>
              <c:idx val="2"/>
              <c:layout>
                <c:manualLayout>
                  <c:x val="-6.6388115134633247E-2"/>
                  <c:y val="5.1912568306010931E-2"/>
                </c:manualLayout>
              </c:layout>
              <c:numFmt formatCode="#,##0.0&quot;%&quot;;&quot;-&quot;#,##0.0&quot;%&quot;"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34-4858-9D5D-BF13C03DD07B}"/>
                </c:ext>
              </c:extLst>
            </c:dLbl>
            <c:dLbl>
              <c:idx val="3"/>
              <c:layout>
                <c:manualLayout>
                  <c:x val="-3.1569173630454965E-2"/>
                  <c:y val="-0.13114754098360656"/>
                </c:manualLayout>
              </c:layout>
              <c:numFmt formatCode="#,##0.0&quot;%&quot;;&quot;-&quot;#,##0.0&quot;%&quot;"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34-4858-9D5D-BF13C03DD07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7.6</c:v>
                </c:pt>
                <c:pt idx="1">
                  <c:v>17.703350231962595</c:v>
                </c:pt>
                <c:pt idx="2">
                  <c:v>43.879803098848619</c:v>
                </c:pt>
                <c:pt idx="3">
                  <c:v>10.816846669188806</c:v>
                </c:pt>
              </c:numCache>
            </c:numRef>
          </c:val>
          <c:extLst>
            <c:ext xmlns:c16="http://schemas.microsoft.com/office/drawing/2014/chart" uri="{C3380CC4-5D6E-409C-BE32-E72D297353CC}">
              <c16:uniqueId val="{00000004-9F34-4858-9D5D-BF13C03DD07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143547273982056E-2"/>
          <c:y val="0.11753731343283583"/>
          <c:w val="0.93288474810213939"/>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5.24</c:v>
                </c:pt>
                <c:pt idx="1">
                  <c:v>34.24</c:v>
                </c:pt>
                <c:pt idx="2">
                  <c:v>33.229999999999997</c:v>
                </c:pt>
                <c:pt idx="3">
                  <c:v>32.28</c:v>
                </c:pt>
                <c:pt idx="4">
                  <c:v>31.430000000000003</c:v>
                </c:pt>
                <c:pt idx="5">
                  <c:v>30.726927307269271</c:v>
                </c:pt>
                <c:pt idx="6">
                  <c:v>30.14</c:v>
                </c:pt>
                <c:pt idx="7">
                  <c:v>29.660000000000004</c:v>
                </c:pt>
                <c:pt idx="8">
                  <c:v>29.302930293029306</c:v>
                </c:pt>
                <c:pt idx="9">
                  <c:v>29.020000000000003</c:v>
                </c:pt>
                <c:pt idx="10">
                  <c:v>28.74</c:v>
                </c:pt>
                <c:pt idx="11">
                  <c:v>28.522852285228524</c:v>
                </c:pt>
                <c:pt idx="12">
                  <c:v>28.427157284271576</c:v>
                </c:pt>
                <c:pt idx="13">
                  <c:v>28.422842284228423</c:v>
                </c:pt>
                <c:pt idx="14">
                  <c:v>28.389999999999997</c:v>
                </c:pt>
                <c:pt idx="15">
                  <c:v>28.28</c:v>
                </c:pt>
                <c:pt idx="16">
                  <c:v>28.37</c:v>
                </c:pt>
                <c:pt idx="17">
                  <c:v>28.587141285871411</c:v>
                </c:pt>
                <c:pt idx="18">
                  <c:v>28.68286828682869</c:v>
                </c:pt>
                <c:pt idx="19">
                  <c:v>28.750000000000004</c:v>
                </c:pt>
                <c:pt idx="20">
                  <c:v>28.74</c:v>
                </c:pt>
                <c:pt idx="21">
                  <c:v>28.672867286728675</c:v>
                </c:pt>
                <c:pt idx="22">
                  <c:v>25.802580258025802</c:v>
                </c:pt>
                <c:pt idx="23">
                  <c:v>22.887711228877112</c:v>
                </c:pt>
                <c:pt idx="24">
                  <c:v>21.56</c:v>
                </c:pt>
              </c:numCache>
            </c:numRef>
          </c:val>
          <c:extLst>
            <c:ext xmlns:c16="http://schemas.microsoft.com/office/drawing/2014/chart" uri="{C3380CC4-5D6E-409C-BE32-E72D297353CC}">
              <c16:uniqueId val="{00000000-A38C-4900-8521-4C56C1FEF009}"/>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0.6</c:v>
                </c:pt>
                <c:pt idx="1">
                  <c:v>61.57</c:v>
                </c:pt>
                <c:pt idx="2">
                  <c:v>62.529999999999994</c:v>
                </c:pt>
                <c:pt idx="3">
                  <c:v>63.430000000000007</c:v>
                </c:pt>
                <c:pt idx="4">
                  <c:v>64.209999999999994</c:v>
                </c:pt>
                <c:pt idx="5">
                  <c:v>64.823517648235168</c:v>
                </c:pt>
                <c:pt idx="6">
                  <c:v>65.33</c:v>
                </c:pt>
                <c:pt idx="7">
                  <c:v>65.730000000000018</c:v>
                </c:pt>
                <c:pt idx="8">
                  <c:v>65.996599659965995</c:v>
                </c:pt>
                <c:pt idx="9">
                  <c:v>66.19</c:v>
                </c:pt>
                <c:pt idx="10">
                  <c:v>66.37</c:v>
                </c:pt>
                <c:pt idx="11">
                  <c:v>66.486648664866493</c:v>
                </c:pt>
                <c:pt idx="12">
                  <c:v>66.463353664633544</c:v>
                </c:pt>
                <c:pt idx="13">
                  <c:v>66.346634663466347</c:v>
                </c:pt>
                <c:pt idx="14">
                  <c:v>66.260000000000005</c:v>
                </c:pt>
                <c:pt idx="15">
                  <c:v>66.290000000000006</c:v>
                </c:pt>
                <c:pt idx="16">
                  <c:v>66.06</c:v>
                </c:pt>
                <c:pt idx="17">
                  <c:v>65.67343265673432</c:v>
                </c:pt>
                <c:pt idx="18">
                  <c:v>65.466546654665464</c:v>
                </c:pt>
                <c:pt idx="19">
                  <c:v>65.3</c:v>
                </c:pt>
                <c:pt idx="20">
                  <c:v>65.260000000000005</c:v>
                </c:pt>
                <c:pt idx="21">
                  <c:v>65.356535653565345</c:v>
                </c:pt>
                <c:pt idx="22">
                  <c:v>67.21672167216721</c:v>
                </c:pt>
                <c:pt idx="23">
                  <c:v>68.24317568243174</c:v>
                </c:pt>
                <c:pt idx="24">
                  <c:v>67.45</c:v>
                </c:pt>
              </c:numCache>
            </c:numRef>
          </c:val>
          <c:extLst>
            <c:ext xmlns:c16="http://schemas.microsoft.com/office/drawing/2014/chart" uri="{C3380CC4-5D6E-409C-BE32-E72D297353CC}">
              <c16:uniqueId val="{00000001-A38C-4900-8521-4C56C1FEF009}"/>
            </c:ext>
          </c:extLst>
        </c:ser>
        <c:ser>
          <c:idx val="2"/>
          <c:order val="2"/>
          <c:spPr>
            <a:solidFill>
              <a:srgbClr val="C0E6F4"/>
            </a:solidFill>
            <a:ln w="9525" algn="ctr">
              <a:solidFill>
                <a:srgbClr val="808080"/>
              </a:solidFill>
              <a:prstDash val="solid"/>
            </a:ln>
          </c:spPr>
          <c:invertIfNegative val="0"/>
          <c:dLbls>
            <c:dLbl>
              <c:idx val="0"/>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8C-4900-8521-4C56C1FEF009}"/>
                </c:ext>
              </c:extLst>
            </c:dLbl>
            <c:dLbl>
              <c:idx val="1"/>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8C-4900-8521-4C56C1FEF009}"/>
                </c:ext>
              </c:extLst>
            </c:dLbl>
            <c:dLbl>
              <c:idx val="2"/>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38C-4900-8521-4C56C1FEF009}"/>
                </c:ext>
              </c:extLst>
            </c:dLbl>
            <c:dLbl>
              <c:idx val="3"/>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8C-4900-8521-4C56C1FEF009}"/>
                </c:ext>
              </c:extLst>
            </c:dLbl>
            <c:dLbl>
              <c:idx val="4"/>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8C-4900-8521-4C56C1FEF009}"/>
                </c:ext>
              </c:extLst>
            </c:dLbl>
            <c:dLbl>
              <c:idx val="5"/>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8C-4900-8521-4C56C1FEF009}"/>
                </c:ext>
              </c:extLst>
            </c:dLbl>
            <c:dLbl>
              <c:idx val="6"/>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38C-4900-8521-4C56C1FEF009}"/>
                </c:ext>
              </c:extLst>
            </c:dLbl>
            <c:dLbl>
              <c:idx val="7"/>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8C-4900-8521-4C56C1FEF009}"/>
                </c:ext>
              </c:extLst>
            </c:dLbl>
            <c:dLbl>
              <c:idx val="8"/>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8C-4900-8521-4C56C1FEF009}"/>
                </c:ext>
              </c:extLst>
            </c:dLbl>
            <c:dLbl>
              <c:idx val="9"/>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8C-4900-8521-4C56C1FEF009}"/>
                </c:ext>
              </c:extLst>
            </c:dLbl>
            <c:dLbl>
              <c:idx val="10"/>
              <c:layout>
                <c:manualLayout>
                  <c:x val="0"/>
                  <c:y val="-7.92910447761194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8C-4900-8521-4C56C1FEF009}"/>
                </c:ext>
              </c:extLst>
            </c:dLbl>
            <c:dLbl>
              <c:idx val="11"/>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38C-4900-8521-4C56C1FEF009}"/>
                </c:ext>
              </c:extLst>
            </c:dLbl>
            <c:dLbl>
              <c:idx val="12"/>
              <c:layout>
                <c:manualLayout>
                  <c:x val="0"/>
                  <c:y val="-8.022388059701492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8C-4900-8521-4C56C1FEF009}"/>
                </c:ext>
              </c:extLst>
            </c:dLbl>
            <c:dLbl>
              <c:idx val="13"/>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8C-4900-8521-4C56C1FEF009}"/>
                </c:ext>
              </c:extLst>
            </c:dLbl>
            <c:dLbl>
              <c:idx val="14"/>
              <c:layout>
                <c:manualLayout>
                  <c:x val="0"/>
                  <c:y val="-8.115671641791044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8C-4900-8521-4C56C1FEF009}"/>
                </c:ext>
              </c:extLst>
            </c:dLbl>
            <c:dLbl>
              <c:idx val="15"/>
              <c:layout>
                <c:manualLayout>
                  <c:x val="0"/>
                  <c:y val="-8.208955223880597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8C-4900-8521-4C56C1FEF009}"/>
                </c:ext>
              </c:extLst>
            </c:dLbl>
            <c:dLbl>
              <c:idx val="16"/>
              <c:layout>
                <c:manualLayout>
                  <c:x val="0"/>
                  <c:y val="-8.208955223880597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38C-4900-8521-4C56C1FEF009}"/>
                </c:ext>
              </c:extLst>
            </c:dLbl>
            <c:dLbl>
              <c:idx val="17"/>
              <c:layout>
                <c:manualLayout>
                  <c:x val="0"/>
                  <c:y val="-8.302238805970149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8C-4900-8521-4C56C1FEF009}"/>
                </c:ext>
              </c:extLst>
            </c:dLbl>
            <c:dLbl>
              <c:idx val="18"/>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8C-4900-8521-4C56C1FEF009}"/>
                </c:ext>
              </c:extLst>
            </c:dLbl>
            <c:dLbl>
              <c:idx val="19"/>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8C-4900-8521-4C56C1FEF009}"/>
                </c:ext>
              </c:extLst>
            </c:dLbl>
            <c:dLbl>
              <c:idx val="20"/>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38C-4900-8521-4C56C1FEF009}"/>
                </c:ext>
              </c:extLst>
            </c:dLbl>
            <c:dLbl>
              <c:idx val="21"/>
              <c:layout>
                <c:manualLayout>
                  <c:x val="0"/>
                  <c:y val="-8.39552238805970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38C-4900-8521-4C56C1FEF009}"/>
                </c:ext>
              </c:extLst>
            </c:dLbl>
            <c:dLbl>
              <c:idx val="22"/>
              <c:layout>
                <c:manualLayout>
                  <c:x val="0"/>
                  <c:y val="-8.861940298507463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38C-4900-8521-4C56C1FEF009}"/>
                </c:ext>
              </c:extLst>
            </c:dLbl>
            <c:dLbl>
              <c:idx val="23"/>
              <c:layout>
                <c:manualLayout>
                  <c:x val="0"/>
                  <c:y val="-9.608208955223880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38C-4900-8521-4C56C1FEF009}"/>
                </c:ext>
              </c:extLst>
            </c:dLbl>
            <c:dLbl>
              <c:idx val="24"/>
              <c:layout>
                <c:manualLayout>
                  <c:x val="0"/>
                  <c:y val="-0.104477611940298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38C-4900-8521-4C56C1FEF0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4.1599999999999966</c:v>
                </c:pt>
                <c:pt idx="1">
                  <c:v>4.1899999999999942</c:v>
                </c:pt>
                <c:pt idx="2">
                  <c:v>4.2399999999999993</c:v>
                </c:pt>
                <c:pt idx="3">
                  <c:v>4.2899999999999938</c:v>
                </c:pt>
                <c:pt idx="4">
                  <c:v>4.3599999999999977</c:v>
                </c:pt>
                <c:pt idx="5">
                  <c:v>4.4495550444955452</c:v>
                </c:pt>
                <c:pt idx="6">
                  <c:v>4.5300000000000011</c:v>
                </c:pt>
                <c:pt idx="7">
                  <c:v>4.610000000000003</c:v>
                </c:pt>
                <c:pt idx="8">
                  <c:v>4.7004700470047016</c:v>
                </c:pt>
                <c:pt idx="9">
                  <c:v>4.7899999999999938</c:v>
                </c:pt>
                <c:pt idx="10">
                  <c:v>4.8899999999999944</c:v>
                </c:pt>
                <c:pt idx="11">
                  <c:v>4.9904990499049839</c:v>
                </c:pt>
                <c:pt idx="12">
                  <c:v>5.1094890510948847</c:v>
                </c:pt>
                <c:pt idx="13">
                  <c:v>5.2305230523052355</c:v>
                </c:pt>
                <c:pt idx="14">
                  <c:v>5.3500000000000103</c:v>
                </c:pt>
                <c:pt idx="15">
                  <c:v>5.4300000000000015</c:v>
                </c:pt>
                <c:pt idx="16">
                  <c:v>5.5700000000000083</c:v>
                </c:pt>
                <c:pt idx="17">
                  <c:v>5.739426057394259</c:v>
                </c:pt>
                <c:pt idx="18">
                  <c:v>5.8505850585058417</c:v>
                </c:pt>
                <c:pt idx="19">
                  <c:v>5.9500000000000108</c:v>
                </c:pt>
                <c:pt idx="20">
                  <c:v>5.9999999999999947</c:v>
                </c:pt>
                <c:pt idx="21">
                  <c:v>5.9705970597059732</c:v>
                </c:pt>
                <c:pt idx="22">
                  <c:v>6.9806980698069783</c:v>
                </c:pt>
                <c:pt idx="23">
                  <c:v>8.8691130886911278</c:v>
                </c:pt>
                <c:pt idx="24">
                  <c:v>10.99</c:v>
                </c:pt>
              </c:numCache>
            </c:numRef>
          </c:val>
          <c:extLst>
            <c:ext xmlns:c16="http://schemas.microsoft.com/office/drawing/2014/chart" uri="{C3380CC4-5D6E-409C-BE32-E72D297353CC}">
              <c16:uniqueId val="{0000001B-A38C-4900-8521-4C56C1FEF009}"/>
            </c:ext>
          </c:extLst>
        </c:ser>
        <c:dLbls>
          <c:showLegendKey val="0"/>
          <c:showVal val="0"/>
          <c:showCatName val="0"/>
          <c:showSerName val="0"/>
          <c:showPercent val="0"/>
          <c:showBubbleSize val="0"/>
        </c:dLbls>
        <c:gapWidth val="60"/>
        <c:overlap val="100"/>
        <c:axId val="220498784"/>
        <c:axId val="1"/>
      </c:barChart>
      <c:catAx>
        <c:axId val="2204987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220498784"/>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2.5024061597690085E-2"/>
          <c:w val="0.90747330960854089"/>
          <c:h val="0.9499518768046197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6551.7125877551562</c:v>
                </c:pt>
                <c:pt idx="1">
                  <c:v>146197.53830607361</c:v>
                </c:pt>
              </c:numCache>
            </c:numRef>
          </c:val>
          <c:extLst>
            <c:ext xmlns:c16="http://schemas.microsoft.com/office/drawing/2014/chart" uri="{C3380CC4-5D6E-409C-BE32-E72D297353CC}">
              <c16:uniqueId val="{00000000-6F0A-42CE-9A70-A7F10E461287}"/>
            </c:ext>
          </c:extLst>
        </c:ser>
        <c:ser>
          <c:idx val="1"/>
          <c:order val="1"/>
          <c:spPr>
            <a:solidFill>
              <a:schemeClr val="accent6"/>
            </a:solidFill>
            <a:ln>
              <a:noFill/>
            </a:ln>
          </c:spPr>
          <c:invertIfNegative val="0"/>
          <c:val>
            <c:numRef>
              <c:f>Sheet1!$A$2:$B$2</c:f>
              <c:numCache>
                <c:formatCode>General</c:formatCode>
                <c:ptCount val="2"/>
                <c:pt idx="0">
                  <c:v>47933.778859155012</c:v>
                </c:pt>
                <c:pt idx="1">
                  <c:v>48879.295024576219</c:v>
                </c:pt>
              </c:numCache>
            </c:numRef>
          </c:val>
          <c:extLst>
            <c:ext xmlns:c16="http://schemas.microsoft.com/office/drawing/2014/chart" uri="{C3380CC4-5D6E-409C-BE32-E72D297353CC}">
              <c16:uniqueId val="{00000001-6F0A-42CE-9A70-A7F10E461287}"/>
            </c:ext>
          </c:extLst>
        </c:ser>
        <c:ser>
          <c:idx val="2"/>
          <c:order val="2"/>
          <c:spPr>
            <a:solidFill>
              <a:schemeClr val="accent5"/>
            </a:solidFill>
            <a:ln>
              <a:noFill/>
            </a:ln>
          </c:spPr>
          <c:invertIfNegative val="0"/>
          <c:val>
            <c:numRef>
              <c:f>Sheet1!$A$3:$B$3</c:f>
              <c:numCache>
                <c:formatCode>General</c:formatCode>
                <c:ptCount val="2"/>
                <c:pt idx="0">
                  <c:v>22657.551998413161</c:v>
                </c:pt>
                <c:pt idx="1">
                  <c:v>18517.19666905998</c:v>
                </c:pt>
              </c:numCache>
            </c:numRef>
          </c:val>
          <c:extLst>
            <c:ext xmlns:c16="http://schemas.microsoft.com/office/drawing/2014/chart" uri="{C3380CC4-5D6E-409C-BE32-E72D297353CC}">
              <c16:uniqueId val="{00000002-6F0A-42CE-9A70-A7F10E461287}"/>
            </c:ext>
          </c:extLst>
        </c:ser>
        <c:ser>
          <c:idx val="3"/>
          <c:order val="3"/>
          <c:spPr>
            <a:solidFill>
              <a:schemeClr val="accent4"/>
            </a:solidFill>
            <a:ln>
              <a:noFill/>
            </a:ln>
          </c:spPr>
          <c:invertIfNegative val="0"/>
          <c:val>
            <c:numRef>
              <c:f>Sheet1!$A$4:$B$4</c:f>
              <c:numCache>
                <c:formatCode>General</c:formatCode>
                <c:ptCount val="2"/>
                <c:pt idx="0">
                  <c:v>23420.068461936011</c:v>
                </c:pt>
                <c:pt idx="1">
                  <c:v>13760.671115779056</c:v>
                </c:pt>
              </c:numCache>
            </c:numRef>
          </c:val>
          <c:extLst>
            <c:ext xmlns:c16="http://schemas.microsoft.com/office/drawing/2014/chart" uri="{C3380CC4-5D6E-409C-BE32-E72D297353CC}">
              <c16:uniqueId val="{00000003-6F0A-42CE-9A70-A7F10E461287}"/>
            </c:ext>
          </c:extLst>
        </c:ser>
        <c:ser>
          <c:idx val="4"/>
          <c:order val="4"/>
          <c:spPr>
            <a:solidFill>
              <a:schemeClr val="accent3"/>
            </a:solidFill>
            <a:ln>
              <a:noFill/>
            </a:ln>
          </c:spPr>
          <c:invertIfNegative val="0"/>
          <c:val>
            <c:numRef>
              <c:f>Sheet1!$A$5:$B$5</c:f>
              <c:numCache>
                <c:formatCode>General</c:formatCode>
                <c:ptCount val="2"/>
                <c:pt idx="0">
                  <c:v>10087.22800204657</c:v>
                </c:pt>
                <c:pt idx="1">
                  <c:v>6394.0650515520829</c:v>
                </c:pt>
              </c:numCache>
            </c:numRef>
          </c:val>
          <c:extLst>
            <c:ext xmlns:c16="http://schemas.microsoft.com/office/drawing/2014/chart" uri="{C3380CC4-5D6E-409C-BE32-E72D297353CC}">
              <c16:uniqueId val="{00000004-6F0A-42CE-9A70-A7F10E461287}"/>
            </c:ext>
          </c:extLst>
        </c:ser>
        <c:ser>
          <c:idx val="5"/>
          <c:order val="5"/>
          <c:spPr>
            <a:solidFill>
              <a:schemeClr val="accent2"/>
            </a:solidFill>
            <a:ln>
              <a:noFill/>
            </a:ln>
          </c:spPr>
          <c:invertIfNegative val="0"/>
          <c:val>
            <c:numRef>
              <c:f>Sheet1!$A$6:$B$6</c:f>
              <c:numCache>
                <c:formatCode>General</c:formatCode>
                <c:ptCount val="2"/>
                <c:pt idx="0">
                  <c:v>5424.6283387735311</c:v>
                </c:pt>
                <c:pt idx="1">
                  <c:v>2101.0132262590923</c:v>
                </c:pt>
              </c:numCache>
            </c:numRef>
          </c:val>
          <c:extLst>
            <c:ext xmlns:c16="http://schemas.microsoft.com/office/drawing/2014/chart" uri="{C3380CC4-5D6E-409C-BE32-E72D297353CC}">
              <c16:uniqueId val="{00000005-6F0A-42CE-9A70-A7F10E461287}"/>
            </c:ext>
          </c:extLst>
        </c:ser>
        <c:ser>
          <c:idx val="6"/>
          <c:order val="6"/>
          <c:spPr>
            <a:solidFill>
              <a:schemeClr val="accent1"/>
            </a:solidFill>
            <a:ln>
              <a:noFill/>
            </a:ln>
          </c:spPr>
          <c:invertIfNegative val="0"/>
          <c:val>
            <c:numRef>
              <c:f>Sheet1!$A$7:$B$7</c:f>
              <c:numCache>
                <c:formatCode>General</c:formatCode>
                <c:ptCount val="2"/>
                <c:pt idx="0">
                  <c:v>544.4576362267253</c:v>
                </c:pt>
                <c:pt idx="1">
                  <c:v>544.16740208023111</c:v>
                </c:pt>
              </c:numCache>
            </c:numRef>
          </c:val>
          <c:extLst>
            <c:ext xmlns:c16="http://schemas.microsoft.com/office/drawing/2014/chart" uri="{C3380CC4-5D6E-409C-BE32-E72D297353CC}">
              <c16:uniqueId val="{00000006-6F0A-42CE-9A70-A7F10E461287}"/>
            </c:ext>
          </c:extLst>
        </c:ser>
        <c:dLbls>
          <c:showLegendKey val="0"/>
          <c:showVal val="0"/>
          <c:showCatName val="0"/>
          <c:showSerName val="0"/>
          <c:showPercent val="0"/>
          <c:showBubbleSize val="0"/>
        </c:dLbls>
        <c:gapWidth val="80"/>
        <c:overlap val="100"/>
        <c:axId val="474693088"/>
        <c:axId val="1"/>
      </c:barChart>
      <c:catAx>
        <c:axId val="4746930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6393.94679538027"/>
          <c:min val="0"/>
        </c:scaling>
        <c:delete val="1"/>
        <c:axPos val="l"/>
        <c:numFmt formatCode="General" sourceLinked="1"/>
        <c:majorTickMark val="out"/>
        <c:minorTickMark val="none"/>
        <c:tickLblPos val="nextTo"/>
        <c:crossAx val="47469308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2.5316455696202531E-2"/>
          <c:w val="0.90747330960854089"/>
          <c:h val="0.9493670886075948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42682.569392255296</c:v>
                </c:pt>
                <c:pt idx="1">
                  <c:v>82660.704609505265</c:v>
                </c:pt>
              </c:numCache>
            </c:numRef>
          </c:val>
          <c:extLst>
            <c:ext xmlns:c16="http://schemas.microsoft.com/office/drawing/2014/chart" uri="{C3380CC4-5D6E-409C-BE32-E72D297353CC}">
              <c16:uniqueId val="{00000000-DA37-4BE6-8C67-561501BDD71B}"/>
            </c:ext>
          </c:extLst>
        </c:ser>
        <c:ser>
          <c:idx val="1"/>
          <c:order val="1"/>
          <c:spPr>
            <a:solidFill>
              <a:schemeClr val="accent6"/>
            </a:solidFill>
            <a:ln>
              <a:noFill/>
            </a:ln>
          </c:spPr>
          <c:invertIfNegative val="0"/>
          <c:val>
            <c:numRef>
              <c:f>Sheet1!$A$2:$B$2</c:f>
              <c:numCache>
                <c:formatCode>General</c:formatCode>
                <c:ptCount val="2"/>
                <c:pt idx="0">
                  <c:v>27723.916793428893</c:v>
                </c:pt>
                <c:pt idx="1">
                  <c:v>54803.132404380231</c:v>
                </c:pt>
              </c:numCache>
            </c:numRef>
          </c:val>
          <c:extLst>
            <c:ext xmlns:c16="http://schemas.microsoft.com/office/drawing/2014/chart" uri="{C3380CC4-5D6E-409C-BE32-E72D297353CC}">
              <c16:uniqueId val="{00000001-DA37-4BE6-8C67-561501BDD71B}"/>
            </c:ext>
          </c:extLst>
        </c:ser>
        <c:ser>
          <c:idx val="2"/>
          <c:order val="2"/>
          <c:spPr>
            <a:solidFill>
              <a:schemeClr val="accent5"/>
            </a:solidFill>
            <a:ln>
              <a:noFill/>
            </a:ln>
          </c:spPr>
          <c:invertIfNegative val="0"/>
          <c:val>
            <c:numRef>
              <c:f>Sheet1!$A$3:$B$3</c:f>
              <c:numCache>
                <c:formatCode>General</c:formatCode>
                <c:ptCount val="2"/>
                <c:pt idx="0">
                  <c:v>13090.167271274724</c:v>
                </c:pt>
                <c:pt idx="1">
                  <c:v>39853.343362622429</c:v>
                </c:pt>
              </c:numCache>
            </c:numRef>
          </c:val>
          <c:extLst>
            <c:ext xmlns:c16="http://schemas.microsoft.com/office/drawing/2014/chart" uri="{C3380CC4-5D6E-409C-BE32-E72D297353CC}">
              <c16:uniqueId val="{00000002-DA37-4BE6-8C67-561501BDD71B}"/>
            </c:ext>
          </c:extLst>
        </c:ser>
        <c:ser>
          <c:idx val="3"/>
          <c:order val="3"/>
          <c:spPr>
            <a:solidFill>
              <a:schemeClr val="accent4"/>
            </a:solidFill>
            <a:ln>
              <a:noFill/>
            </a:ln>
          </c:spPr>
          <c:invertIfNegative val="0"/>
          <c:val>
            <c:numRef>
              <c:f>Sheet1!$A$4:$B$4</c:f>
              <c:numCache>
                <c:formatCode>General</c:formatCode>
                <c:ptCount val="2"/>
                <c:pt idx="0">
                  <c:v>12236.048949759483</c:v>
                </c:pt>
                <c:pt idx="1">
                  <c:v>17826.874207759625</c:v>
                </c:pt>
              </c:numCache>
            </c:numRef>
          </c:val>
          <c:extLst>
            <c:ext xmlns:c16="http://schemas.microsoft.com/office/drawing/2014/chart" uri="{C3380CC4-5D6E-409C-BE32-E72D297353CC}">
              <c16:uniqueId val="{00000003-DA37-4BE6-8C67-561501BDD71B}"/>
            </c:ext>
          </c:extLst>
        </c:ser>
        <c:ser>
          <c:idx val="4"/>
          <c:order val="4"/>
          <c:spPr>
            <a:solidFill>
              <a:schemeClr val="accent3"/>
            </a:solidFill>
            <a:ln>
              <a:noFill/>
            </a:ln>
          </c:spPr>
          <c:invertIfNegative val="0"/>
          <c:val>
            <c:numRef>
              <c:f>Sheet1!$A$5:$B$5</c:f>
              <c:numCache>
                <c:formatCode>General</c:formatCode>
                <c:ptCount val="2"/>
                <c:pt idx="0">
                  <c:v>9048.1757380624767</c:v>
                </c:pt>
                <c:pt idx="1">
                  <c:v>13356.223257950624</c:v>
                </c:pt>
              </c:numCache>
            </c:numRef>
          </c:val>
          <c:extLst>
            <c:ext xmlns:c16="http://schemas.microsoft.com/office/drawing/2014/chart" uri="{C3380CC4-5D6E-409C-BE32-E72D297353CC}">
              <c16:uniqueId val="{00000004-DA37-4BE6-8C67-561501BDD71B}"/>
            </c:ext>
          </c:extLst>
        </c:ser>
        <c:ser>
          <c:idx val="5"/>
          <c:order val="5"/>
          <c:spPr>
            <a:solidFill>
              <a:schemeClr val="accent2"/>
            </a:solidFill>
            <a:ln>
              <a:noFill/>
            </a:ln>
          </c:spPr>
          <c:invertIfNegative val="0"/>
          <c:val>
            <c:numRef>
              <c:f>Sheet1!$A$6:$B$6</c:f>
              <c:numCache>
                <c:formatCode>General</c:formatCode>
                <c:ptCount val="2"/>
                <c:pt idx="0">
                  <c:v>4840.2071609503037</c:v>
                </c:pt>
                <c:pt idx="1">
                  <c:v>9586.7729771175655</c:v>
                </c:pt>
              </c:numCache>
            </c:numRef>
          </c:val>
          <c:extLst>
            <c:ext xmlns:c16="http://schemas.microsoft.com/office/drawing/2014/chart" uri="{C3380CC4-5D6E-409C-BE32-E72D297353CC}">
              <c16:uniqueId val="{00000005-DA37-4BE6-8C67-561501BDD71B}"/>
            </c:ext>
          </c:extLst>
        </c:ser>
        <c:ser>
          <c:idx val="6"/>
          <c:order val="6"/>
          <c:spPr>
            <a:solidFill>
              <a:schemeClr val="accent1"/>
            </a:solidFill>
            <a:ln>
              <a:noFill/>
            </a:ln>
          </c:spPr>
          <c:invertIfNegative val="0"/>
          <c:val>
            <c:numRef>
              <c:f>Sheet1!$A$7:$B$7</c:f>
              <c:numCache>
                <c:formatCode>General</c:formatCode>
                <c:ptCount val="2"/>
                <c:pt idx="0">
                  <c:v>7834.1485590331285</c:v>
                </c:pt>
                <c:pt idx="1">
                  <c:v>10878.793561476574</c:v>
                </c:pt>
              </c:numCache>
            </c:numRef>
          </c:val>
          <c:extLst>
            <c:ext xmlns:c16="http://schemas.microsoft.com/office/drawing/2014/chart" uri="{C3380CC4-5D6E-409C-BE32-E72D297353CC}">
              <c16:uniqueId val="{00000006-DA37-4BE6-8C67-561501BDD71B}"/>
            </c:ext>
          </c:extLst>
        </c:ser>
        <c:dLbls>
          <c:showLegendKey val="0"/>
          <c:showVal val="0"/>
          <c:showCatName val="0"/>
          <c:showSerName val="0"/>
          <c:showPercent val="0"/>
          <c:showBubbleSize val="0"/>
        </c:dLbls>
        <c:gapWidth val="80"/>
        <c:overlap val="100"/>
        <c:axId val="356869664"/>
        <c:axId val="1"/>
      </c:barChart>
      <c:catAx>
        <c:axId val="3568696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8965.84438081231"/>
          <c:min val="0"/>
        </c:scaling>
        <c:delete val="1"/>
        <c:axPos val="l"/>
        <c:numFmt formatCode="General" sourceLinked="1"/>
        <c:majorTickMark val="out"/>
        <c:minorTickMark val="none"/>
        <c:tickLblPos val="nextTo"/>
        <c:crossAx val="356869664"/>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84745762711863E-2"/>
          <c:y val="8.4828711256117462E-2"/>
          <c:w val="0.88983050847457623"/>
          <c:h val="0.83034257748776508"/>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29260.509632359772</c:v>
                </c:pt>
                <c:pt idx="1">
                  <c:v>27049.353714044799</c:v>
                </c:pt>
              </c:numCache>
            </c:numRef>
          </c:val>
          <c:extLst>
            <c:ext xmlns:c16="http://schemas.microsoft.com/office/drawing/2014/chart" uri="{C3380CC4-5D6E-409C-BE32-E72D297353CC}">
              <c16:uniqueId val="{00000000-3174-4811-AF77-D7A8304B1D0D}"/>
            </c:ext>
          </c:extLst>
        </c:ser>
        <c:ser>
          <c:idx val="1"/>
          <c:order val="1"/>
          <c:spPr>
            <a:solidFill>
              <a:schemeClr val="accent2"/>
            </a:solidFill>
            <a:ln>
              <a:noFill/>
            </a:ln>
          </c:spPr>
          <c:invertIfNegative val="0"/>
          <c:val>
            <c:numRef>
              <c:f>Sheet1!$A$2:$B$2</c:f>
              <c:numCache>
                <c:formatCode>General</c:formatCode>
                <c:ptCount val="2"/>
                <c:pt idx="0">
                  <c:v>19701.922732487536</c:v>
                </c:pt>
                <c:pt idx="1">
                  <c:v>19821.104113644597</c:v>
                </c:pt>
              </c:numCache>
            </c:numRef>
          </c:val>
          <c:extLst>
            <c:ext xmlns:c16="http://schemas.microsoft.com/office/drawing/2014/chart" uri="{C3380CC4-5D6E-409C-BE32-E72D297353CC}">
              <c16:uniqueId val="{00000001-3174-4811-AF77-D7A8304B1D0D}"/>
            </c:ext>
          </c:extLst>
        </c:ser>
        <c:ser>
          <c:idx val="2"/>
          <c:order val="2"/>
          <c:spPr>
            <a:solidFill>
              <a:schemeClr val="accent1"/>
            </a:solidFill>
            <a:ln>
              <a:noFill/>
            </a:ln>
          </c:spPr>
          <c:invertIfNegative val="0"/>
          <c:val>
            <c:numRef>
              <c:f>Sheet1!$A$3:$B$3</c:f>
              <c:numCache>
                <c:formatCode>General</c:formatCode>
                <c:ptCount val="2"/>
                <c:pt idx="0">
                  <c:v>10866.550252830501</c:v>
                </c:pt>
                <c:pt idx="1">
                  <c:v>9572.1024447285599</c:v>
                </c:pt>
              </c:numCache>
            </c:numRef>
          </c:val>
          <c:extLst>
            <c:ext xmlns:c16="http://schemas.microsoft.com/office/drawing/2014/chart" uri="{C3380CC4-5D6E-409C-BE32-E72D297353CC}">
              <c16:uniqueId val="{00000002-3174-4811-AF77-D7A8304B1D0D}"/>
            </c:ext>
          </c:extLst>
        </c:ser>
        <c:dLbls>
          <c:showLegendKey val="0"/>
          <c:showVal val="0"/>
          <c:showCatName val="0"/>
          <c:showSerName val="0"/>
          <c:showPercent val="0"/>
          <c:showBubbleSize val="0"/>
        </c:dLbls>
        <c:gapWidth val="80"/>
        <c:overlap val="100"/>
        <c:axId val="2039197120"/>
        <c:axId val="1"/>
      </c:barChart>
      <c:catAx>
        <c:axId val="2039197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828.982617677808"/>
          <c:min val="0"/>
        </c:scaling>
        <c:delete val="1"/>
        <c:axPos val="l"/>
        <c:numFmt formatCode="General" sourceLinked="1"/>
        <c:majorTickMark val="out"/>
        <c:minorTickMark val="none"/>
        <c:tickLblPos val="nextTo"/>
        <c:crossAx val="2039197120"/>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060522696011006E-2"/>
          <c:y val="3.3304867634500426E-2"/>
          <c:w val="0.89683631361760663"/>
          <c:h val="0.94022203245089664"/>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579092159559835E-2"/>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127-49F2-98E1-21713105095F}"/>
                </c:ext>
              </c:extLst>
            </c:dLbl>
            <c:dLbl>
              <c:idx val="1"/>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127-49F2-98E1-21713105095F}"/>
                </c:ext>
              </c:extLst>
            </c:dLbl>
            <c:dLbl>
              <c:idx val="2"/>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127-49F2-98E1-21713105095F}"/>
                </c:ext>
              </c:extLst>
            </c:dLbl>
            <c:dLbl>
              <c:idx val="3"/>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127-49F2-98E1-21713105095F}"/>
                </c:ext>
              </c:extLst>
            </c:dLbl>
            <c:dLbl>
              <c:idx val="4"/>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127-49F2-98E1-21713105095F}"/>
                </c:ext>
              </c:extLst>
            </c:dLbl>
            <c:dLbl>
              <c:idx val="5"/>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127-49F2-98E1-21713105095F}"/>
                </c:ext>
              </c:extLst>
            </c:dLbl>
            <c:dLbl>
              <c:idx val="6"/>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127-49F2-98E1-21713105095F}"/>
                </c:ext>
              </c:extLst>
            </c:dLbl>
            <c:dLbl>
              <c:idx val="7"/>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127-49F2-98E1-21713105095F}"/>
                </c:ext>
              </c:extLst>
            </c:dLbl>
            <c:dLbl>
              <c:idx val="8"/>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127-49F2-98E1-21713105095F}"/>
                </c:ext>
              </c:extLst>
            </c:dLbl>
            <c:dLbl>
              <c:idx val="9"/>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127-49F2-98E1-21713105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3.108599999999999</c:v>
                </c:pt>
                <c:pt idx="1">
                  <c:v>23.819600000000001</c:v>
                </c:pt>
                <c:pt idx="2">
                  <c:v>24.8736</c:v>
                </c:pt>
                <c:pt idx="3">
                  <c:v>26.069800000000001</c:v>
                </c:pt>
                <c:pt idx="4">
                  <c:v>27.043700000000001</c:v>
                </c:pt>
                <c:pt idx="5">
                  <c:v>27.861699999999999</c:v>
                </c:pt>
                <c:pt idx="6">
                  <c:v>28.745799999999999</c:v>
                </c:pt>
                <c:pt idx="7">
                  <c:v>28.707899999999999</c:v>
                </c:pt>
                <c:pt idx="8">
                  <c:v>28.570399999999999</c:v>
                </c:pt>
                <c:pt idx="9">
                  <c:v>28.483699999999999</c:v>
                </c:pt>
              </c:numCache>
            </c:numRef>
          </c:val>
          <c:smooth val="0"/>
          <c:extLst>
            <c:ext xmlns:c16="http://schemas.microsoft.com/office/drawing/2014/chart" uri="{C3380CC4-5D6E-409C-BE32-E72D297353CC}">
              <c16:uniqueId val="{0000000A-4127-49F2-98E1-21713105095F}"/>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8225584594222834E-2"/>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127-49F2-98E1-21713105095F}"/>
                </c:ext>
              </c:extLst>
            </c:dLbl>
            <c:dLbl>
              <c:idx val="1"/>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127-49F2-98E1-21713105095F}"/>
                </c:ext>
              </c:extLst>
            </c:dLbl>
            <c:dLbl>
              <c:idx val="2"/>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127-49F2-98E1-21713105095F}"/>
                </c:ext>
              </c:extLst>
            </c:dLbl>
            <c:dLbl>
              <c:idx val="3"/>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127-49F2-98E1-21713105095F}"/>
                </c:ext>
              </c:extLst>
            </c:dLbl>
            <c:dLbl>
              <c:idx val="4"/>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127-49F2-98E1-21713105095F}"/>
                </c:ext>
              </c:extLst>
            </c:dLbl>
            <c:dLbl>
              <c:idx val="5"/>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127-49F2-98E1-21713105095F}"/>
                </c:ext>
              </c:extLst>
            </c:dLbl>
            <c:dLbl>
              <c:idx val="6"/>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127-49F2-98E1-21713105095F}"/>
                </c:ext>
              </c:extLst>
            </c:dLbl>
            <c:dLbl>
              <c:idx val="7"/>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127-49F2-98E1-21713105095F}"/>
                </c:ext>
              </c:extLst>
            </c:dLbl>
            <c:dLbl>
              <c:idx val="8"/>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127-49F2-98E1-21713105095F}"/>
                </c:ext>
              </c:extLst>
            </c:dLbl>
            <c:dLbl>
              <c:idx val="9"/>
              <c:layout>
                <c:manualLayout>
                  <c:x val="0"/>
                  <c:y val="-4.611443210930828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127-49F2-98E1-21713105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6911999999999998</c:v>
                </c:pt>
                <c:pt idx="1">
                  <c:v>3.7583000000000002</c:v>
                </c:pt>
                <c:pt idx="2">
                  <c:v>3.8443999999999998</c:v>
                </c:pt>
                <c:pt idx="3">
                  <c:v>3.9847000000000001</c:v>
                </c:pt>
                <c:pt idx="4">
                  <c:v>4.1132</c:v>
                </c:pt>
                <c:pt idx="5">
                  <c:v>4.3277000000000001</c:v>
                </c:pt>
                <c:pt idx="6">
                  <c:v>4.3140999999999998</c:v>
                </c:pt>
                <c:pt idx="7">
                  <c:v>4.4653</c:v>
                </c:pt>
                <c:pt idx="8">
                  <c:v>4.3502999999999998</c:v>
                </c:pt>
                <c:pt idx="9">
                  <c:v>4.6393000000000004</c:v>
                </c:pt>
              </c:numCache>
            </c:numRef>
          </c:val>
          <c:smooth val="0"/>
          <c:extLst>
            <c:ext xmlns:c16="http://schemas.microsoft.com/office/drawing/2014/chart" uri="{C3380CC4-5D6E-409C-BE32-E72D297353CC}">
              <c16:uniqueId val="{00000015-4127-49F2-98E1-21713105095F}"/>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0"/>
            <c:marker>
              <c:symbol val="none"/>
            </c:marker>
            <c:bubble3D val="0"/>
            <c:extLst>
              <c:ext xmlns:c16="http://schemas.microsoft.com/office/drawing/2014/chart" uri="{C3380CC4-5D6E-409C-BE32-E72D297353CC}">
                <c16:uniqueId val="{00000016-4127-49F2-98E1-21713105095F}"/>
              </c:ext>
            </c:extLst>
          </c:dPt>
          <c:dPt>
            <c:idx val="3"/>
            <c:marker>
              <c:symbol val="none"/>
            </c:marker>
            <c:bubble3D val="0"/>
            <c:extLst>
              <c:ext xmlns:c16="http://schemas.microsoft.com/office/drawing/2014/chart" uri="{C3380CC4-5D6E-409C-BE32-E72D297353CC}">
                <c16:uniqueId val="{00000017-4127-49F2-98E1-21713105095F}"/>
              </c:ext>
            </c:extLst>
          </c:dPt>
          <c:dPt>
            <c:idx val="7"/>
            <c:marker>
              <c:symbol val="none"/>
            </c:marker>
            <c:bubble3D val="0"/>
            <c:extLst>
              <c:ext xmlns:c16="http://schemas.microsoft.com/office/drawing/2014/chart" uri="{C3380CC4-5D6E-409C-BE32-E72D297353CC}">
                <c16:uniqueId val="{00000018-4127-49F2-98E1-21713105095F}"/>
              </c:ext>
            </c:extLst>
          </c:dPt>
          <c:dPt>
            <c:idx val="8"/>
            <c:marker>
              <c:symbol val="none"/>
            </c:marker>
            <c:bubble3D val="0"/>
            <c:extLst>
              <c:ext xmlns:c16="http://schemas.microsoft.com/office/drawing/2014/chart" uri="{C3380CC4-5D6E-409C-BE32-E72D297353CC}">
                <c16:uniqueId val="{00000019-4127-49F2-98E1-21713105095F}"/>
              </c:ext>
            </c:extLst>
          </c:dPt>
          <c:dPt>
            <c:idx val="9"/>
            <c:marker>
              <c:symbol val="none"/>
            </c:marker>
            <c:bubble3D val="0"/>
            <c:extLst>
              <c:ext xmlns:c16="http://schemas.microsoft.com/office/drawing/2014/chart" uri="{C3380CC4-5D6E-409C-BE32-E72D297353CC}">
                <c16:uniqueId val="{0000001A-4127-49F2-98E1-21713105095F}"/>
              </c:ext>
            </c:extLst>
          </c:dPt>
          <c:val>
            <c:numRef>
              <c:f>Sheet1!$A$3:$J$3</c:f>
              <c:numCache>
                <c:formatCode>General</c:formatCode>
                <c:ptCount val="10"/>
                <c:pt idx="1">
                  <c:v>1.2813000000000001</c:v>
                </c:pt>
                <c:pt idx="2">
                  <c:v>1.3642000000000001</c:v>
                </c:pt>
                <c:pt idx="3">
                  <c:v>1.4318</c:v>
                </c:pt>
                <c:pt idx="4">
                  <c:v>1.4994000000000001</c:v>
                </c:pt>
                <c:pt idx="5">
                  <c:v>1.5784</c:v>
                </c:pt>
                <c:pt idx="6">
                  <c:v>1.5266999999999999</c:v>
                </c:pt>
              </c:numCache>
            </c:numRef>
          </c:val>
          <c:smooth val="0"/>
          <c:extLst>
            <c:ext xmlns:c16="http://schemas.microsoft.com/office/drawing/2014/chart" uri="{C3380CC4-5D6E-409C-BE32-E72D297353CC}">
              <c16:uniqueId val="{0000001B-4127-49F2-98E1-21713105095F}"/>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3.1980742778541953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127-49F2-98E1-21713105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0.52959999999999996</c:v>
                </c:pt>
                <c:pt idx="1">
                  <c:v>0.53869999999999996</c:v>
                </c:pt>
                <c:pt idx="2">
                  <c:v>0.5554</c:v>
                </c:pt>
                <c:pt idx="3">
                  <c:v>0.57699999999999996</c:v>
                </c:pt>
                <c:pt idx="4">
                  <c:v>0.58169999999999999</c:v>
                </c:pt>
                <c:pt idx="5">
                  <c:v>0.59850000000000003</c:v>
                </c:pt>
                <c:pt idx="6">
                  <c:v>0.61580000000000001</c:v>
                </c:pt>
                <c:pt idx="7">
                  <c:v>0.63139999999999996</c:v>
                </c:pt>
                <c:pt idx="8">
                  <c:v>0.64329999999999998</c:v>
                </c:pt>
                <c:pt idx="9">
                  <c:v>0.63649999999999995</c:v>
                </c:pt>
              </c:numCache>
            </c:numRef>
          </c:val>
          <c:smooth val="0"/>
          <c:extLst>
            <c:ext xmlns:c16="http://schemas.microsoft.com/office/drawing/2014/chart" uri="{C3380CC4-5D6E-409C-BE32-E72D297353CC}">
              <c16:uniqueId val="{0000001D-4127-49F2-98E1-21713105095F}"/>
            </c:ext>
          </c:extLst>
        </c:ser>
        <c:dLbls>
          <c:showLegendKey val="0"/>
          <c:showVal val="0"/>
          <c:showCatName val="0"/>
          <c:showSerName val="0"/>
          <c:showPercent val="0"/>
          <c:showBubbleSize val="0"/>
        </c:dLbls>
        <c:marker val="1"/>
        <c:smooth val="0"/>
        <c:axId val="1895109520"/>
        <c:axId val="1"/>
      </c:lineChart>
      <c:catAx>
        <c:axId val="18951095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895109520"/>
        <c:crosses val="min"/>
        <c:crossBetween val="midCat"/>
        <c:majorUnit val="5"/>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55578655578651E-2"/>
          <c:y val="2.6655202063628546E-2"/>
          <c:w val="0.89604989604989604"/>
          <c:h val="0.94668959587274293"/>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5987525987525989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ED-4B8E-AADE-C8032ECF50EA}"/>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ED-4B8E-AADE-C8032ECF50EA}"/>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ED-4B8E-AADE-C8032ECF50EA}"/>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ED-4B8E-AADE-C8032ECF50EA}"/>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ED-4B8E-AADE-C8032ECF50EA}"/>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ED-4B8E-AADE-C8032ECF50EA}"/>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ED-4B8E-AADE-C8032ECF50EA}"/>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ED-4B8E-AADE-C8032ECF50EA}"/>
                </c:ext>
              </c:extLst>
            </c:dLbl>
            <c:dLbl>
              <c:idx val="8"/>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ED-4B8E-AADE-C8032ECF50EA}"/>
                </c:ext>
              </c:extLst>
            </c:dLbl>
            <c:dLbl>
              <c:idx val="9"/>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4.628427964465047</c:v>
                </c:pt>
                <c:pt idx="1">
                  <c:v>45.422578184591913</c:v>
                </c:pt>
                <c:pt idx="2">
                  <c:v>46.798871119473191</c:v>
                </c:pt>
                <c:pt idx="3">
                  <c:v>48.39391126786709</c:v>
                </c:pt>
                <c:pt idx="4">
                  <c:v>49.412936232413664</c:v>
                </c:pt>
                <c:pt idx="5">
                  <c:v>49.859878310665714</c:v>
                </c:pt>
                <c:pt idx="6">
                  <c:v>50.949663239985817</c:v>
                </c:pt>
                <c:pt idx="7">
                  <c:v>50.684851694915253</c:v>
                </c:pt>
                <c:pt idx="8">
                  <c:v>49.826299267527034</c:v>
                </c:pt>
                <c:pt idx="9">
                  <c:v>49.033740747116546</c:v>
                </c:pt>
              </c:numCache>
            </c:numRef>
          </c:val>
          <c:smooth val="0"/>
          <c:extLst>
            <c:ext xmlns:c16="http://schemas.microsoft.com/office/drawing/2014/chart" uri="{C3380CC4-5D6E-409C-BE32-E72D297353CC}">
              <c16:uniqueId val="{0000000A-78ED-4B8E-AADE-C8032ECF50EA}"/>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8364518364518363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ED-4B8E-AADE-C8032ECF50EA}"/>
                </c:ext>
              </c:extLst>
            </c:dLbl>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ED-4B8E-AADE-C8032ECF50EA}"/>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8ED-4B8E-AADE-C8032ECF50EA}"/>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8ED-4B8E-AADE-C8032ECF50EA}"/>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8ED-4B8E-AADE-C8032ECF50EA}"/>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8ED-4B8E-AADE-C8032ECF50EA}"/>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8ED-4B8E-AADE-C8032ECF50EA}"/>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8ED-4B8E-AADE-C8032ECF50EA}"/>
                </c:ext>
              </c:extLst>
            </c:dLbl>
            <c:dLbl>
              <c:idx val="8"/>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8ED-4B8E-AADE-C8032ECF50EA}"/>
                </c:ext>
              </c:extLst>
            </c:dLbl>
            <c:dLbl>
              <c:idx val="9"/>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7.1286210892236381</c:v>
                </c:pt>
                <c:pt idx="1">
                  <c:v>7.1668573607932879</c:v>
                </c:pt>
                <c:pt idx="2">
                  <c:v>7.2331138287864531</c:v>
                </c:pt>
                <c:pt idx="3">
                  <c:v>7.3968813811026548</c:v>
                </c:pt>
                <c:pt idx="4">
                  <c:v>7.5154394299287413</c:v>
                </c:pt>
                <c:pt idx="5">
                  <c:v>7.7446313528990691</c:v>
                </c:pt>
                <c:pt idx="6">
                  <c:v>7.68</c:v>
                </c:pt>
                <c:pt idx="7">
                  <c:v>7.83</c:v>
                </c:pt>
                <c:pt idx="8">
                  <c:v>7.53</c:v>
                </c:pt>
                <c:pt idx="9">
                  <c:v>7.92</c:v>
                </c:pt>
              </c:numCache>
            </c:numRef>
          </c:val>
          <c:smooth val="0"/>
          <c:extLst>
            <c:ext xmlns:c16="http://schemas.microsoft.com/office/drawing/2014/chart" uri="{C3380CC4-5D6E-409C-BE32-E72D297353CC}">
              <c16:uniqueId val="{00000015-78ED-4B8E-AADE-C8032ECF50EA}"/>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0"/>
            <c:marker>
              <c:symbol val="none"/>
            </c:marker>
            <c:bubble3D val="0"/>
            <c:extLst>
              <c:ext xmlns:c16="http://schemas.microsoft.com/office/drawing/2014/chart" uri="{C3380CC4-5D6E-409C-BE32-E72D297353CC}">
                <c16:uniqueId val="{00000016-78ED-4B8E-AADE-C8032ECF50EA}"/>
              </c:ext>
            </c:extLst>
          </c:dPt>
          <c:dPt>
            <c:idx val="3"/>
            <c:marker>
              <c:symbol val="none"/>
            </c:marker>
            <c:bubble3D val="0"/>
            <c:extLst>
              <c:ext xmlns:c16="http://schemas.microsoft.com/office/drawing/2014/chart" uri="{C3380CC4-5D6E-409C-BE32-E72D297353CC}">
                <c16:uniqueId val="{00000017-78ED-4B8E-AADE-C8032ECF50EA}"/>
              </c:ext>
            </c:extLst>
          </c:dPt>
          <c:dPt>
            <c:idx val="7"/>
            <c:marker>
              <c:symbol val="none"/>
            </c:marker>
            <c:bubble3D val="0"/>
            <c:extLst>
              <c:ext xmlns:c16="http://schemas.microsoft.com/office/drawing/2014/chart" uri="{C3380CC4-5D6E-409C-BE32-E72D297353CC}">
                <c16:uniqueId val="{00000018-78ED-4B8E-AADE-C8032ECF50EA}"/>
              </c:ext>
            </c:extLst>
          </c:dPt>
          <c:dPt>
            <c:idx val="8"/>
            <c:marker>
              <c:symbol val="none"/>
            </c:marker>
            <c:bubble3D val="0"/>
            <c:extLst>
              <c:ext xmlns:c16="http://schemas.microsoft.com/office/drawing/2014/chart" uri="{C3380CC4-5D6E-409C-BE32-E72D297353CC}">
                <c16:uniqueId val="{00000019-78ED-4B8E-AADE-C8032ECF50EA}"/>
              </c:ext>
            </c:extLst>
          </c:dPt>
          <c:dPt>
            <c:idx val="9"/>
            <c:marker>
              <c:symbol val="none"/>
            </c:marker>
            <c:bubble3D val="0"/>
            <c:extLst>
              <c:ext xmlns:c16="http://schemas.microsoft.com/office/drawing/2014/chart" uri="{C3380CC4-5D6E-409C-BE32-E72D297353CC}">
                <c16:uniqueId val="{0000001A-78ED-4B8E-AADE-C8032ECF50EA}"/>
              </c:ext>
            </c:extLst>
          </c:dPt>
          <c:dLbls>
            <c:dLbl>
              <c:idx val="1"/>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8ED-4B8E-AADE-C8032ECF50EA}"/>
                </c:ext>
              </c:extLst>
            </c:dLbl>
            <c:dLbl>
              <c:idx val="2"/>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8ED-4B8E-AADE-C8032ECF50EA}"/>
                </c:ext>
              </c:extLst>
            </c:dLbl>
            <c:dLbl>
              <c:idx val="4"/>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8ED-4B8E-AADE-C8032ECF50EA}"/>
                </c:ext>
              </c:extLst>
            </c:dLbl>
            <c:dLbl>
              <c:idx val="5"/>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8ED-4B8E-AADE-C8032ECF50EA}"/>
                </c:ext>
              </c:extLst>
            </c:dLbl>
            <c:dLbl>
              <c:idx val="6"/>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1">
                  <c:v>2.46</c:v>
                </c:pt>
                <c:pt idx="2">
                  <c:v>2.58</c:v>
                </c:pt>
                <c:pt idx="3">
                  <c:v>2.665</c:v>
                </c:pt>
                <c:pt idx="4">
                  <c:v>2.75</c:v>
                </c:pt>
                <c:pt idx="5">
                  <c:v>2.85</c:v>
                </c:pt>
                <c:pt idx="6">
                  <c:v>2.72</c:v>
                </c:pt>
              </c:numCache>
            </c:numRef>
          </c:val>
          <c:smooth val="0"/>
          <c:extLst>
            <c:ext xmlns:c16="http://schemas.microsoft.com/office/drawing/2014/chart" uri="{C3380CC4-5D6E-409C-BE32-E72D297353CC}">
              <c16:uniqueId val="{00000020-78ED-4B8E-AADE-C8032ECF50EA}"/>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1.8364518364518363E-2"/>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8ED-4B8E-AADE-C8032ECF50EA}"/>
                </c:ext>
              </c:extLst>
            </c:dLbl>
            <c:dLbl>
              <c:idx val="3"/>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8ED-4B8E-AADE-C8032ECF50EA}"/>
                </c:ext>
              </c:extLst>
            </c:dLbl>
            <c:dLbl>
              <c:idx val="7"/>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8ED-4B8E-AADE-C8032ECF50EA}"/>
                </c:ext>
              </c:extLst>
            </c:dLbl>
            <c:dLbl>
              <c:idx val="8"/>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8ED-4B8E-AADE-C8032ECF50EA}"/>
                </c:ext>
              </c:extLst>
            </c:dLbl>
            <c:dLbl>
              <c:idx val="9"/>
              <c:layout>
                <c:manualLayout>
                  <c:x val="0"/>
                  <c:y val="-4.643164230438521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8ED-4B8E-AADE-C8032ECF50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03</c:v>
                </c:pt>
                <c:pt idx="1">
                  <c:v>1.04</c:v>
                </c:pt>
                <c:pt idx="2">
                  <c:v>1.05</c:v>
                </c:pt>
                <c:pt idx="3">
                  <c:v>1.08</c:v>
                </c:pt>
                <c:pt idx="4">
                  <c:v>1.07</c:v>
                </c:pt>
                <c:pt idx="5">
                  <c:v>1.08</c:v>
                </c:pt>
                <c:pt idx="6">
                  <c:v>1.1000000000000001</c:v>
                </c:pt>
                <c:pt idx="7">
                  <c:v>1.1100000000000001</c:v>
                </c:pt>
                <c:pt idx="8">
                  <c:v>1.1100000000000001</c:v>
                </c:pt>
                <c:pt idx="9">
                  <c:v>1.0900000000000001</c:v>
                </c:pt>
              </c:numCache>
            </c:numRef>
          </c:val>
          <c:smooth val="0"/>
          <c:extLst>
            <c:ext xmlns:c16="http://schemas.microsoft.com/office/drawing/2014/chart" uri="{C3380CC4-5D6E-409C-BE32-E72D297353CC}">
              <c16:uniqueId val="{00000026-78ED-4B8E-AADE-C8032ECF50EA}"/>
            </c:ext>
          </c:extLst>
        </c:ser>
        <c:dLbls>
          <c:showLegendKey val="0"/>
          <c:showVal val="0"/>
          <c:showCatName val="0"/>
          <c:showSerName val="0"/>
          <c:showPercent val="0"/>
          <c:showBubbleSize val="0"/>
        </c:dLbls>
        <c:marker val="1"/>
        <c:smooth val="0"/>
        <c:axId val="844008448"/>
        <c:axId val="1"/>
      </c:lineChart>
      <c:catAx>
        <c:axId val="8440084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844008448"/>
        <c:crosses val="min"/>
        <c:crossBetween val="midCat"/>
        <c:majorUnit val="5"/>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008849557522124E-2"/>
          <c:y val="6.8299576071596799E-2"/>
          <c:w val="0.95398230088495573"/>
          <c:h val="0.90720678285445122"/>
        </c:manualLayout>
      </c:layout>
      <c:barChart>
        <c:barDir val="col"/>
        <c:grouping val="stacked"/>
        <c:varyColors val="0"/>
        <c:ser>
          <c:idx val="0"/>
          <c:order val="0"/>
          <c:spPr>
            <a:solidFill>
              <a:schemeClr val="accent1"/>
            </a:solidFill>
            <a:ln>
              <a:noFill/>
            </a:ln>
          </c:spPr>
          <c:invertIfNegative val="0"/>
          <c:dLbls>
            <c:dLbl>
              <c:idx val="0"/>
              <c:layout>
                <c:manualLayout>
                  <c:x val="0"/>
                  <c:y val="-0.350918511540273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99D-4A37-80D0-526226480253}"/>
                </c:ext>
              </c:extLst>
            </c:dLbl>
            <c:dLbl>
              <c:idx val="1"/>
              <c:layout>
                <c:manualLayout>
                  <c:x val="0"/>
                  <c:y val="-0.3612812058407913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99D-4A37-80D0-526226480253}"/>
                </c:ext>
              </c:extLst>
            </c:dLbl>
            <c:dLbl>
              <c:idx val="2"/>
              <c:layout>
                <c:manualLayout>
                  <c:x val="0"/>
                  <c:y val="-0.3909561940650023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99D-4A37-80D0-526226480253}"/>
                </c:ext>
              </c:extLst>
            </c:dLbl>
            <c:dLbl>
              <c:idx val="3"/>
              <c:layout>
                <c:manualLayout>
                  <c:x val="0"/>
                  <c:y val="-0.4196891191709844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99D-4A37-80D0-526226480253}"/>
                </c:ext>
              </c:extLst>
            </c:dLbl>
            <c:dLbl>
              <c:idx val="4"/>
              <c:layout>
                <c:manualLayout>
                  <c:x val="0"/>
                  <c:y val="-0.4672633066415449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99D-4A37-80D0-526226480253}"/>
                </c:ext>
              </c:extLst>
            </c:dLbl>
            <c:dLbl>
              <c:idx val="5"/>
              <c:layout>
                <c:manualLayout>
                  <c:x val="0"/>
                  <c:y val="-0.4884597268016956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99D-4A37-80D0-5262264802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167.8</c:v>
                </c:pt>
                <c:pt idx="1">
                  <c:v>5341.8</c:v>
                </c:pt>
                <c:pt idx="2">
                  <c:v>5823.2000000000007</c:v>
                </c:pt>
                <c:pt idx="3">
                  <c:v>6298.8</c:v>
                </c:pt>
                <c:pt idx="4">
                  <c:v>7076</c:v>
                </c:pt>
                <c:pt idx="5">
                  <c:v>7424</c:v>
                </c:pt>
              </c:numCache>
            </c:numRef>
          </c:val>
          <c:extLst>
            <c:ext xmlns:c16="http://schemas.microsoft.com/office/drawing/2014/chart" uri="{C3380CC4-5D6E-409C-BE32-E72D297353CC}">
              <c16:uniqueId val="{00000006-799D-4A37-80D0-526226480253}"/>
            </c:ext>
          </c:extLst>
        </c:ser>
        <c:dLbls>
          <c:showLegendKey val="0"/>
          <c:showVal val="0"/>
          <c:showCatName val="0"/>
          <c:showSerName val="0"/>
          <c:showPercent val="0"/>
          <c:showBubbleSize val="0"/>
        </c:dLbls>
        <c:gapWidth val="80"/>
        <c:overlap val="100"/>
        <c:axId val="62909120"/>
        <c:axId val="1"/>
      </c:barChart>
      <c:catAx>
        <c:axId val="62909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424"/>
          <c:min val="0"/>
        </c:scaling>
        <c:delete val="1"/>
        <c:axPos val="l"/>
        <c:numFmt formatCode="General" sourceLinked="1"/>
        <c:majorTickMark val="out"/>
        <c:minorTickMark val="none"/>
        <c:tickLblPos val="nextTo"/>
        <c:crossAx val="62909120"/>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340871483728626E-2"/>
          <c:y val="6.4789991063449515E-2"/>
          <c:w val="0.97131825703254271"/>
          <c:h val="0.91197497765862379"/>
        </c:manualLayout>
      </c:layout>
      <c:barChart>
        <c:barDir val="col"/>
        <c:grouping val="stacked"/>
        <c:varyColors val="0"/>
        <c:ser>
          <c:idx val="0"/>
          <c:order val="0"/>
          <c:spPr>
            <a:solidFill>
              <a:schemeClr val="accent1"/>
            </a:solidFill>
            <a:ln>
              <a:noFill/>
            </a:ln>
          </c:spPr>
          <c:invertIfNegative val="0"/>
          <c:dLbls>
            <c:dLbl>
              <c:idx val="0"/>
              <c:layout>
                <c:manualLayout>
                  <c:x val="0"/>
                  <c:y val="-0.44235924932975873"/>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D8-4C3E-BDC7-E3E91BC73E24}"/>
                </c:ext>
              </c:extLst>
            </c:dLbl>
            <c:dLbl>
              <c:idx val="1"/>
              <c:layout>
                <c:manualLayout>
                  <c:x val="0"/>
                  <c:y val="-0.4325290437890974"/>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D8-4C3E-BDC7-E3E91BC73E24}"/>
                </c:ext>
              </c:extLst>
            </c:dLbl>
            <c:dLbl>
              <c:idx val="2"/>
              <c:layout>
                <c:manualLayout>
                  <c:x val="0"/>
                  <c:y val="-0.45263628239499554"/>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D8-4C3E-BDC7-E3E91BC73E24}"/>
                </c:ext>
              </c:extLst>
            </c:dLbl>
            <c:dLbl>
              <c:idx val="3"/>
              <c:layout>
                <c:manualLayout>
                  <c:x val="0"/>
                  <c:y val="-0.48927613941018766"/>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0D8-4C3E-BDC7-E3E91BC73E24}"/>
                </c:ext>
              </c:extLst>
            </c:dLbl>
            <c:dLbl>
              <c:idx val="4"/>
              <c:layout>
                <c:manualLayout>
                  <c:x val="0"/>
                  <c:y val="-0.48614834673815904"/>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0D8-4C3E-BDC7-E3E91BC73E24}"/>
                </c:ext>
              </c:extLst>
            </c:dLbl>
            <c:dLbl>
              <c:idx val="5"/>
              <c:layout>
                <c:manualLayout>
                  <c:x val="0"/>
                  <c:y val="-0.48927613941018766"/>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0D8-4C3E-BDC7-E3E91BC73E24}"/>
                </c:ext>
              </c:extLst>
            </c:dLbl>
            <c:dLbl>
              <c:idx val="6"/>
              <c:layout>
                <c:manualLayout>
                  <c:x val="0"/>
                  <c:y val="-0.4736371760500446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0D8-4C3E-BDC7-E3E91BC73E24}"/>
                </c:ext>
              </c:extLst>
            </c:dLbl>
            <c:dLbl>
              <c:idx val="7"/>
              <c:layout>
                <c:manualLayout>
                  <c:x val="0"/>
                  <c:y val="-0.45576407506702415"/>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0D8-4C3E-BDC7-E3E91BC73E24}"/>
                </c:ext>
              </c:extLst>
            </c:dLbl>
            <c:dLbl>
              <c:idx val="8"/>
              <c:layout>
                <c:manualLayout>
                  <c:x val="0"/>
                  <c:y val="-0.47631814119749777"/>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0D8-4C3E-BDC7-E3E91BC73E24}"/>
                </c:ext>
              </c:extLst>
            </c:dLbl>
            <c:dLbl>
              <c:idx val="9"/>
              <c:layout>
                <c:manualLayout>
                  <c:x val="0"/>
                  <c:y val="-0.42493297587131368"/>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0D8-4C3E-BDC7-E3E91BC73E24}"/>
                </c:ext>
              </c:extLst>
            </c:dLbl>
            <c:dLbl>
              <c:idx val="10"/>
              <c:layout>
                <c:manualLayout>
                  <c:x val="0"/>
                  <c:y val="-0.4477211796246649"/>
                </c:manualLayout>
              </c:layout>
              <c:numFmt formatCode="#,##0.0;&quot;-&quot;#,##0.0" sourceLinked="0"/>
              <c:spPr>
                <a:noFill/>
                <a:ln>
                  <a:noFill/>
                </a:ln>
              </c:spPr>
              <c:txPr>
                <a:bodyPr wrap="none"/>
                <a:lstStyle/>
                <a:p>
                  <a:pPr>
                    <a:defRPr kumimoji="1"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0D8-4C3E-BDC7-E3E91BC73E2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0.0;"-"#,##0.0</c:formatCode>
                <c:ptCount val="12"/>
                <c:pt idx="0">
                  <c:v>15.9</c:v>
                </c:pt>
                <c:pt idx="1">
                  <c:v>15.5</c:v>
                </c:pt>
                <c:pt idx="2">
                  <c:v>16.3</c:v>
                </c:pt>
                <c:pt idx="3">
                  <c:v>17.7</c:v>
                </c:pt>
                <c:pt idx="4">
                  <c:v>17.600000000000001</c:v>
                </c:pt>
                <c:pt idx="5">
                  <c:v>17.7</c:v>
                </c:pt>
                <c:pt idx="6">
                  <c:v>17.100000000000001</c:v>
                </c:pt>
                <c:pt idx="7">
                  <c:v>16.399999999999999</c:v>
                </c:pt>
                <c:pt idx="8">
                  <c:v>17.2</c:v>
                </c:pt>
                <c:pt idx="9">
                  <c:v>15.2</c:v>
                </c:pt>
                <c:pt idx="10">
                  <c:v>16.100000000000001</c:v>
                </c:pt>
                <c:pt idx="11">
                  <c:v>15.8</c:v>
                </c:pt>
              </c:numCache>
            </c:numRef>
          </c:val>
          <c:extLst>
            <c:ext xmlns:c16="http://schemas.microsoft.com/office/drawing/2014/chart" uri="{C3380CC4-5D6E-409C-BE32-E72D297353CC}">
              <c16:uniqueId val="{0000000B-A0D8-4C3E-BDC7-E3E91BC73E24}"/>
            </c:ext>
          </c:extLst>
        </c:ser>
        <c:dLbls>
          <c:showLegendKey val="0"/>
          <c:showVal val="0"/>
          <c:showCatName val="0"/>
          <c:showSerName val="0"/>
          <c:showPercent val="0"/>
          <c:showBubbleSize val="0"/>
        </c:dLbls>
        <c:gapWidth val="80"/>
        <c:overlap val="100"/>
        <c:axId val="1465312896"/>
        <c:axId val="1"/>
      </c:barChart>
      <c:catAx>
        <c:axId val="14653128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7.7"/>
          <c:min val="0"/>
        </c:scaling>
        <c:delete val="1"/>
        <c:axPos val="l"/>
        <c:numFmt formatCode="#,##0.0;&quot;-&quot;#,##0.0" sourceLinked="1"/>
        <c:majorTickMark val="out"/>
        <c:minorTickMark val="none"/>
        <c:tickLblPos val="nextTo"/>
        <c:crossAx val="1465312896"/>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154993783671778E-2"/>
          <c:w val="0.980072810883311"/>
          <c:h val="0.9569001243265644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U$1</c:f>
              <c:numCache>
                <c:formatCode>#,##0</c:formatCode>
                <c:ptCount val="21"/>
                <c:pt idx="0">
                  <c:v>16255</c:v>
                </c:pt>
                <c:pt idx="1">
                  <c:v>16208</c:v>
                </c:pt>
                <c:pt idx="2">
                  <c:v>15757</c:v>
                </c:pt>
                <c:pt idx="3">
                  <c:v>17104</c:v>
                </c:pt>
                <c:pt idx="4">
                  <c:v>17622</c:v>
                </c:pt>
                <c:pt idx="5">
                  <c:v>18349</c:v>
                </c:pt>
                <c:pt idx="6">
                  <c:v>19418</c:v>
                </c:pt>
                <c:pt idx="7">
                  <c:v>20543</c:v>
                </c:pt>
                <c:pt idx="8">
                  <c:v>21946</c:v>
                </c:pt>
                <c:pt idx="9">
                  <c:v>23123</c:v>
                </c:pt>
                <c:pt idx="10">
                  <c:v>24275</c:v>
                </c:pt>
                <c:pt idx="11">
                  <c:v>25528</c:v>
                </c:pt>
                <c:pt idx="12">
                  <c:v>26337</c:v>
                </c:pt>
                <c:pt idx="13">
                  <c:v>27326</c:v>
                </c:pt>
                <c:pt idx="14">
                  <c:v>26919</c:v>
                </c:pt>
                <c:pt idx="15">
                  <c:v>27904</c:v>
                </c:pt>
                <c:pt idx="16">
                  <c:v>28182</c:v>
                </c:pt>
                <c:pt idx="17">
                  <c:v>28147</c:v>
                </c:pt>
                <c:pt idx="18">
                  <c:v>28873</c:v>
                </c:pt>
                <c:pt idx="19">
                  <c:v>29550</c:v>
                </c:pt>
                <c:pt idx="20">
                  <c:v>28792</c:v>
                </c:pt>
              </c:numCache>
            </c:numRef>
          </c:val>
          <c:extLst>
            <c:ext xmlns:c16="http://schemas.microsoft.com/office/drawing/2014/chart" uri="{C3380CC4-5D6E-409C-BE32-E72D297353CC}">
              <c16:uniqueId val="{00000000-9FF9-43AE-94B1-59506C0FBB0C}"/>
            </c:ext>
          </c:extLst>
        </c:ser>
        <c:dLbls>
          <c:showLegendKey val="0"/>
          <c:showVal val="0"/>
          <c:showCatName val="0"/>
          <c:showSerName val="0"/>
          <c:showPercent val="0"/>
          <c:showBubbleSize val="0"/>
        </c:dLbls>
        <c:gapWidth val="60"/>
        <c:overlap val="100"/>
        <c:axId val="459221679"/>
        <c:axId val="1"/>
      </c:barChart>
      <c:catAx>
        <c:axId val="4592216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4000"/>
          <c:min val="0"/>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459221679"/>
        <c:crosses val="min"/>
        <c:crossBetween val="between"/>
        <c:majorUnit val="200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950721576909536E-2"/>
          <c:y val="3.3480176211453744E-2"/>
          <c:w val="0.95089757127771912"/>
          <c:h val="0.93920704845814973"/>
        </c:manualLayout>
      </c:layout>
      <c:barChart>
        <c:barDir val="col"/>
        <c:grouping val="stacked"/>
        <c:varyColors val="0"/>
        <c:ser>
          <c:idx val="0"/>
          <c:order val="0"/>
          <c:spPr>
            <a:solidFill>
              <a:srgbClr val="80CCE8"/>
            </a:solidFill>
            <a:ln w="9525" algn="ctr">
              <a:solidFill>
                <a:srgbClr val="808080"/>
              </a:solidFill>
              <a:prstDash val="solid"/>
            </a:ln>
          </c:spPr>
          <c:invertIfNegative val="0"/>
          <c:dPt>
            <c:idx val="0"/>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D69B-498A-9E1F-2380A7744E53}"/>
              </c:ext>
            </c:extLst>
          </c:dPt>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1-D69B-498A-9E1F-2380A7744E53}"/>
              </c:ext>
            </c:extLst>
          </c:dPt>
          <c:dLbls>
            <c:dLbl>
              <c:idx val="0"/>
              <c:layout>
                <c:manualLayout>
                  <c:x val="0"/>
                  <c:y val="-0.42334787887196917"/>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69B-498A-9E1F-2380A7744E53}"/>
                </c:ext>
              </c:extLst>
            </c:dLbl>
            <c:dLbl>
              <c:idx val="1"/>
              <c:layout>
                <c:manualLayout>
                  <c:x val="0"/>
                  <c:y val="-0.41453730618474455"/>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69B-498A-9E1F-2380A7744E53}"/>
                </c:ext>
              </c:extLst>
            </c:dLbl>
            <c:dLbl>
              <c:idx val="2"/>
              <c:layout>
                <c:manualLayout>
                  <c:x val="0"/>
                  <c:y val="-0.42510999340941413"/>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69B-498A-9E1F-2380A7744E53}"/>
                </c:ext>
              </c:extLst>
            </c:dLbl>
            <c:dLbl>
              <c:idx val="3"/>
              <c:layout>
                <c:manualLayout>
                  <c:x val="0"/>
                  <c:y val="-0.4422907488986784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69B-498A-9E1F-2380A7744E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0;"-"#,##0.00</c:formatCode>
                <c:ptCount val="4"/>
                <c:pt idx="0">
                  <c:v>10.7</c:v>
                </c:pt>
                <c:pt idx="1">
                  <c:v>10.210000000000001</c:v>
                </c:pt>
                <c:pt idx="2">
                  <c:v>10.68</c:v>
                </c:pt>
                <c:pt idx="3">
                  <c:v>11.18</c:v>
                </c:pt>
              </c:numCache>
            </c:numRef>
          </c:val>
          <c:extLst>
            <c:ext xmlns:c16="http://schemas.microsoft.com/office/drawing/2014/chart" uri="{C3380CC4-5D6E-409C-BE32-E72D297353CC}">
              <c16:uniqueId val="{00000004-D69B-498A-9E1F-2380A7744E53}"/>
            </c:ext>
          </c:extLst>
        </c:ser>
        <c:dLbls>
          <c:showLegendKey val="0"/>
          <c:showVal val="0"/>
          <c:showCatName val="0"/>
          <c:showSerName val="0"/>
          <c:showPercent val="0"/>
          <c:showBubbleSize val="0"/>
        </c:dLbls>
        <c:gapWidth val="60"/>
        <c:overlap val="100"/>
        <c:axId val="179114575"/>
        <c:axId val="1"/>
      </c:barChart>
      <c:catAx>
        <c:axId val="1791145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3"/>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79114575"/>
        <c:crosses val="min"/>
        <c:crossBetween val="between"/>
        <c:majorUnit val="1"/>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20306398317813E-2"/>
          <c:y val="2.5316455696202531E-2"/>
          <c:w val="0.9687593872033644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B$1:$F$1</c:f>
              <c:numCache>
                <c:formatCode>General</c:formatCode>
                <c:ptCount val="5"/>
                <c:pt idx="0">
                  <c:v>173034750</c:v>
                </c:pt>
                <c:pt idx="1">
                  <c:v>180524909</c:v>
                </c:pt>
                <c:pt idx="2">
                  <c:v>213959197</c:v>
                </c:pt>
                <c:pt idx="3">
                  <c:v>183562616</c:v>
                </c:pt>
                <c:pt idx="4">
                  <c:v>180292111</c:v>
                </c:pt>
              </c:numCache>
            </c:numRef>
          </c:val>
          <c:extLst>
            <c:ext xmlns:c16="http://schemas.microsoft.com/office/drawing/2014/chart" uri="{C3380CC4-5D6E-409C-BE32-E72D297353CC}">
              <c16:uniqueId val="{00000000-599D-49D5-AE97-DDA243CFBAD9}"/>
            </c:ext>
          </c:extLst>
        </c:ser>
        <c:ser>
          <c:idx val="1"/>
          <c:order val="1"/>
          <c:spPr>
            <a:solidFill>
              <a:srgbClr val="C0E6F4"/>
            </a:solidFill>
            <a:ln w="9525" algn="ctr">
              <a:solidFill>
                <a:srgbClr val="808080"/>
              </a:solidFill>
              <a:prstDash val="solid"/>
            </a:ln>
          </c:spPr>
          <c:invertIfNegative val="0"/>
          <c:val>
            <c:numRef>
              <c:f>Sheet1!$B$2:$F$2</c:f>
              <c:numCache>
                <c:formatCode>General</c:formatCode>
                <c:ptCount val="5"/>
                <c:pt idx="0">
                  <c:v>1067744479</c:v>
                </c:pt>
                <c:pt idx="1">
                  <c:v>1093300033</c:v>
                </c:pt>
                <c:pt idx="2">
                  <c:v>943640357</c:v>
                </c:pt>
                <c:pt idx="3">
                  <c:v>1053549466</c:v>
                </c:pt>
                <c:pt idx="4">
                  <c:v>1082529211</c:v>
                </c:pt>
              </c:numCache>
            </c:numRef>
          </c:val>
          <c:extLst>
            <c:ext xmlns:c16="http://schemas.microsoft.com/office/drawing/2014/chart" uri="{C3380CC4-5D6E-409C-BE32-E72D297353CC}">
              <c16:uniqueId val="{00000001-599D-49D5-AE97-DDA243CFBAD9}"/>
            </c:ext>
          </c:extLst>
        </c:ser>
        <c:dLbls>
          <c:showLegendKey val="0"/>
          <c:showVal val="0"/>
          <c:showCatName val="0"/>
          <c:showSerName val="0"/>
          <c:showPercent val="0"/>
          <c:showBubbleSize val="0"/>
        </c:dLbls>
        <c:gapWidth val="60"/>
        <c:axId val="67670415"/>
        <c:axId val="1"/>
      </c:barChart>
      <c:catAx>
        <c:axId val="6767041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1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67670415"/>
        <c:crosses val="min"/>
        <c:crossBetween val="between"/>
        <c:majorUnit val="100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54447157307289"/>
          <c:y val="2.7765338110165697E-2"/>
          <c:w val="0.84548308336239975"/>
          <c:h val="0.94446932377966863"/>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6E-48F9-AD12-E0D3CDF48AD3}"/>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6E-48F9-AD12-E0D3CDF48AD3}"/>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6E-48F9-AD12-E0D3CDF48AD3}"/>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6E-48F9-AD12-E0D3CDF48AD3}"/>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6E-48F9-AD12-E0D3CDF48AD3}"/>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6E-48F9-AD12-E0D3CDF48AD3}"/>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6E-48F9-AD12-E0D3CDF48AD3}"/>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6E-48F9-AD12-E0D3CDF48AD3}"/>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6E-48F9-AD12-E0D3CDF48AD3}"/>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6E-48F9-AD12-E0D3CDF48AD3}"/>
                </c:ext>
              </c:extLst>
            </c:dLbl>
            <c:dLbl>
              <c:idx val="10"/>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6E-48F9-AD12-E0D3CDF48A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56.890650792621585</c:v>
                </c:pt>
                <c:pt idx="1">
                  <c:v>59.535786809277546</c:v>
                </c:pt>
                <c:pt idx="2">
                  <c:v>62.217739020607731</c:v>
                </c:pt>
                <c:pt idx="3">
                  <c:v>64.82827790485743</c:v>
                </c:pt>
                <c:pt idx="4">
                  <c:v>67.353646498100375</c:v>
                </c:pt>
                <c:pt idx="5">
                  <c:v>69.772704129837365</c:v>
                </c:pt>
                <c:pt idx="6">
                  <c:v>72.064955372367621</c:v>
                </c:pt>
                <c:pt idx="7">
                  <c:v>74.208874471884727</c:v>
                </c:pt>
                <c:pt idx="8">
                  <c:v>76.184121665883239</c:v>
                </c:pt>
                <c:pt idx="9">
                  <c:v>78.04455542748498</c:v>
                </c:pt>
                <c:pt idx="10">
                  <c:v>79.798193606580085</c:v>
                </c:pt>
              </c:numCache>
            </c:numRef>
          </c:val>
          <c:smooth val="0"/>
          <c:extLst>
            <c:ext xmlns:c16="http://schemas.microsoft.com/office/drawing/2014/chart" uri="{C3380CC4-5D6E-409C-BE32-E72D297353CC}">
              <c16:uniqueId val="{0000000B-E96E-48F9-AD12-E0D3CDF48AD3}"/>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C-E96E-48F9-AD12-E0D3CDF48AD3}"/>
              </c:ext>
            </c:extLst>
          </c:dPt>
          <c:dPt>
            <c:idx val="1"/>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D-E96E-48F9-AD12-E0D3CDF48AD3}"/>
              </c:ext>
            </c:extLst>
          </c:dPt>
          <c:dPt>
            <c:idx val="2"/>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E-E96E-48F9-AD12-E0D3CDF48AD3}"/>
              </c:ext>
            </c:extLst>
          </c:dPt>
          <c:dPt>
            <c:idx val="3"/>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F-E96E-48F9-AD12-E0D3CDF48AD3}"/>
              </c:ext>
            </c:extLst>
          </c:dPt>
          <c:dPt>
            <c:idx val="4"/>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0-E96E-48F9-AD12-E0D3CDF48AD3}"/>
              </c:ext>
            </c:extLst>
          </c:dPt>
          <c:dPt>
            <c:idx val="5"/>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1-E96E-48F9-AD12-E0D3CDF48AD3}"/>
              </c:ext>
            </c:extLst>
          </c:dPt>
          <c:dPt>
            <c:idx val="6"/>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2-E96E-48F9-AD12-E0D3CDF48AD3}"/>
              </c:ext>
            </c:extLst>
          </c:dPt>
          <c:dPt>
            <c:idx val="7"/>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3-E96E-48F9-AD12-E0D3CDF48AD3}"/>
              </c:ext>
            </c:extLst>
          </c:dPt>
          <c:dPt>
            <c:idx val="8"/>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4-E96E-48F9-AD12-E0D3CDF48AD3}"/>
              </c:ext>
            </c:extLst>
          </c:dPt>
          <c:dPt>
            <c:idx val="9"/>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5-E96E-48F9-AD12-E0D3CDF48AD3}"/>
              </c:ext>
            </c:extLst>
          </c:dPt>
          <c:dPt>
            <c:idx val="1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6-E96E-48F9-AD12-E0D3CDF48AD3}"/>
              </c:ext>
            </c:extLst>
          </c:dPt>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96E-48F9-AD12-E0D3CDF48AD3}"/>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6E-48F9-AD12-E0D3CDF48AD3}"/>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96E-48F9-AD12-E0D3CDF48AD3}"/>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96E-48F9-AD12-E0D3CDF48AD3}"/>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96E-48F9-AD12-E0D3CDF48AD3}"/>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96E-48F9-AD12-E0D3CDF48AD3}"/>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96E-48F9-AD12-E0D3CDF48AD3}"/>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96E-48F9-AD12-E0D3CDF48AD3}"/>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96E-48F9-AD12-E0D3CDF48AD3}"/>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96E-48F9-AD12-E0D3CDF48AD3}"/>
                </c:ext>
              </c:extLst>
            </c:dLbl>
            <c:dLbl>
              <c:idx val="10"/>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96E-48F9-AD12-E0D3CDF48A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43.109349207378415</c:v>
                </c:pt>
                <c:pt idx="1">
                  <c:v>40.464213190722454</c:v>
                </c:pt>
                <c:pt idx="2">
                  <c:v>37.782260979392269</c:v>
                </c:pt>
                <c:pt idx="3">
                  <c:v>35.17172209514257</c:v>
                </c:pt>
                <c:pt idx="4">
                  <c:v>32.646353501899625</c:v>
                </c:pt>
                <c:pt idx="5">
                  <c:v>30.227295870162635</c:v>
                </c:pt>
                <c:pt idx="6">
                  <c:v>27.935044627632379</c:v>
                </c:pt>
                <c:pt idx="7">
                  <c:v>25.791125528115273</c:v>
                </c:pt>
                <c:pt idx="8">
                  <c:v>23.815878334116761</c:v>
                </c:pt>
                <c:pt idx="9">
                  <c:v>21.95544457251502</c:v>
                </c:pt>
                <c:pt idx="10">
                  <c:v>20.201806393419915</c:v>
                </c:pt>
              </c:numCache>
            </c:numRef>
          </c:val>
          <c:smooth val="0"/>
          <c:extLst>
            <c:ext xmlns:c16="http://schemas.microsoft.com/office/drawing/2014/chart" uri="{C3380CC4-5D6E-409C-BE32-E72D297353CC}">
              <c16:uniqueId val="{00000017-E96E-48F9-AD12-E0D3CDF48AD3}"/>
            </c:ext>
          </c:extLst>
        </c:ser>
        <c:dLbls>
          <c:showLegendKey val="0"/>
          <c:showVal val="0"/>
          <c:showCatName val="0"/>
          <c:showSerName val="0"/>
          <c:showPercent val="0"/>
          <c:showBubbleSize val="0"/>
        </c:dLbls>
        <c:marker val="1"/>
        <c:smooth val="0"/>
        <c:axId val="1133105647"/>
        <c:axId val="1"/>
      </c:lineChart>
      <c:catAx>
        <c:axId val="11331056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133105647"/>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3D4D-41EB-A2D6-4F15FFA83462}"/>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3D4D-41EB-A2D6-4F15FFA83462}"/>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3D4D-41EB-A2D6-4F15FFA83462}"/>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3D4D-41EB-A2D6-4F15FFA83462}"/>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3D4D-41EB-A2D6-4F15FFA83462}"/>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3D4D-41EB-A2D6-4F15FFA83462}"/>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D-3D4D-41EB-A2D6-4F15FFA83462}"/>
              </c:ext>
            </c:extLst>
          </c:dPt>
          <c:dLbls>
            <c:dLbl>
              <c:idx val="0"/>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D4D-41EB-A2D6-4F15FFA83462}"/>
                </c:ext>
              </c:extLst>
            </c:dLbl>
            <c:dLbl>
              <c:idx val="1"/>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D4D-41EB-A2D6-4F15FFA83462}"/>
                </c:ext>
              </c:extLst>
            </c:dLbl>
            <c:dLbl>
              <c:idx val="2"/>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D4D-41EB-A2D6-4F15FFA83462}"/>
                </c:ext>
              </c:extLst>
            </c:dLbl>
            <c:dLbl>
              <c:idx val="3"/>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D4D-41EB-A2D6-4F15FFA83462}"/>
                </c:ext>
              </c:extLst>
            </c:dLbl>
            <c:dLbl>
              <c:idx val="4"/>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D4D-41EB-A2D6-4F15FFA83462}"/>
                </c:ext>
              </c:extLst>
            </c:dLbl>
            <c:dLbl>
              <c:idx val="5"/>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D4D-41EB-A2D6-4F15FFA83462}"/>
                </c:ext>
              </c:extLst>
            </c:dLbl>
            <c:dLbl>
              <c:idx val="6"/>
              <c:numFmt formatCode="#,##0&quot;%&quot;;&quot;-&quot;#,##0&quot;%&quot;" sourceLinked="0"/>
              <c:spPr>
                <a:noFill/>
                <a:ln>
                  <a:noFill/>
                </a:ln>
              </c:spPr>
              <c:txPr>
                <a:bodyPr wrap="none"/>
                <a:lstStyle/>
                <a:p>
                  <a:pPr>
                    <a:defRPr kumimoji="1" sz="1000" kern="1200">
                      <a:solidFill>
                        <a:schemeClr val="tx1"/>
                      </a:solidFill>
                      <a:latin typeface="+mn-lt"/>
                      <a:ea typeface="+mn-ea"/>
                      <a:cs typeface="+mn-cs"/>
                    </a:defRPr>
                  </a:pPr>
                  <a:endParaRPr lang="ja-JP"/>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D4D-41EB-A2D6-4F15FFA83462}"/>
                </c:ext>
              </c:extLst>
            </c:dLbl>
            <c:dLbl>
              <c:idx val="7"/>
              <c:spPr>
                <a:noFill/>
                <a:ln>
                  <a:noFill/>
                </a:ln>
                <a:effectLst/>
              </c:spPr>
              <c:txPr>
                <a:bodyPr wrap="square" lIns="38100" tIns="19050" rIns="38100" bIns="19050" anchor="ctr">
                  <a:spAutoFit/>
                </a:bodyPr>
                <a:lstStyle/>
                <a:p>
                  <a:pPr>
                    <a:defRPr>
                      <a:solidFill>
                        <a:schemeClr val="bg1"/>
                      </a:solidFill>
                    </a:defRPr>
                  </a:pPr>
                  <a:endParaRPr lang="ja-JP"/>
                </a:p>
              </c:txPr>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D4D-41EB-A2D6-4F15FFA83462}"/>
                </c:ext>
              </c:extLst>
            </c:dLbl>
            <c:spPr>
              <a:noFill/>
              <a:ln>
                <a:noFill/>
              </a:ln>
              <a:effectLst/>
            </c:spPr>
            <c:dLblPos val="inEnd"/>
            <c:showLegendKey val="0"/>
            <c:showVal val="0"/>
            <c:showCatName val="0"/>
            <c:showSerName val="0"/>
            <c:showPercent val="0"/>
            <c:showBubbleSize val="0"/>
            <c:extLst>
              <c:ext xmlns:c15="http://schemas.microsoft.com/office/drawing/2012/chart" uri="{CE6537A1-D6FC-4f65-9D91-7224C49458BB}"/>
            </c:extLst>
          </c:dLbls>
          <c:val>
            <c:numRef>
              <c:f>Sheet1!$A$1:$A$8</c:f>
              <c:numCache>
                <c:formatCode>#,##0"%";"-"#,##0"%"</c:formatCode>
                <c:ptCount val="8"/>
                <c:pt idx="0">
                  <c:v>27</c:v>
                </c:pt>
                <c:pt idx="1">
                  <c:v>13</c:v>
                </c:pt>
                <c:pt idx="2">
                  <c:v>10</c:v>
                </c:pt>
                <c:pt idx="3">
                  <c:v>5</c:v>
                </c:pt>
                <c:pt idx="4">
                  <c:v>5</c:v>
                </c:pt>
                <c:pt idx="5">
                  <c:v>5</c:v>
                </c:pt>
                <c:pt idx="6">
                  <c:v>3</c:v>
                </c:pt>
                <c:pt idx="7">
                  <c:v>32</c:v>
                </c:pt>
              </c:numCache>
            </c:numRef>
          </c:val>
          <c:extLst>
            <c:ext xmlns:c16="http://schemas.microsoft.com/office/drawing/2014/chart" uri="{C3380CC4-5D6E-409C-BE32-E72D297353CC}">
              <c16:uniqueId val="{0000000F-3D4D-41EB-A2D6-4F15FFA83462}"/>
            </c:ext>
          </c:extLst>
        </c:ser>
        <c:dLbls>
          <c:dLblPos val="inEnd"/>
          <c:showLegendKey val="0"/>
          <c:showVal val="1"/>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499085923217549E-2"/>
          <c:y val="2.5182778229082048E-2"/>
          <c:w val="0.93528336380255939"/>
          <c:h val="0.90251827782290817"/>
        </c:manualLayout>
      </c:layout>
      <c:scatterChart>
        <c:scatterStyle val="lineMarker"/>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9744058500914076E-2"/>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B1-4DA2-9A3A-F865480EA542}"/>
                </c:ext>
              </c:extLst>
            </c:dLbl>
            <c:dLbl>
              <c:idx val="1"/>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B1-4DA2-9A3A-F865480EA542}"/>
                </c:ext>
              </c:extLst>
            </c:dLbl>
            <c:dLbl>
              <c:idx val="2"/>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DB1-4DA2-9A3A-F865480EA542}"/>
                </c:ext>
              </c:extLst>
            </c:dLbl>
            <c:dLbl>
              <c:idx val="3"/>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B1-4DA2-9A3A-F865480EA5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c:v>
                </c:pt>
                <c:pt idx="1">
                  <c:v>21</c:v>
                </c:pt>
                <c:pt idx="2">
                  <c:v>22</c:v>
                </c:pt>
                <c:pt idx="3">
                  <c:v>23</c:v>
                </c:pt>
              </c:numCache>
            </c:numRef>
          </c:xVal>
          <c:yVal>
            <c:numRef>
              <c:f>Sheet1!$A$2:$D$2</c:f>
              <c:numCache>
                <c:formatCode>#,##0.0;"-"#,##0.0</c:formatCode>
                <c:ptCount val="4"/>
                <c:pt idx="0">
                  <c:v>14.5</c:v>
                </c:pt>
                <c:pt idx="1">
                  <c:v>15</c:v>
                </c:pt>
                <c:pt idx="2">
                  <c:v>15.3</c:v>
                </c:pt>
                <c:pt idx="3">
                  <c:v>15.6</c:v>
                </c:pt>
              </c:numCache>
            </c:numRef>
          </c:yVal>
          <c:smooth val="0"/>
          <c:extLst>
            <c:ext xmlns:c16="http://schemas.microsoft.com/office/drawing/2014/chart" uri="{C3380CC4-5D6E-409C-BE32-E72D297353CC}">
              <c16:uniqueId val="{00000004-0DB1-4DA2-9A3A-F865480EA542}"/>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3"/>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B1-4DA2-9A3A-F865480EA5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c:v>
                </c:pt>
                <c:pt idx="1">
                  <c:v>21</c:v>
                </c:pt>
                <c:pt idx="2">
                  <c:v>22</c:v>
                </c:pt>
                <c:pt idx="3">
                  <c:v>23</c:v>
                </c:pt>
              </c:numCache>
            </c:numRef>
          </c:xVal>
          <c:yVal>
            <c:numRef>
              <c:f>Sheet1!$A$3:$D$3</c:f>
              <c:numCache>
                <c:formatCode>General</c:formatCode>
                <c:ptCount val="4"/>
                <c:pt idx="0">
                  <c:v>11.2</c:v>
                </c:pt>
                <c:pt idx="1">
                  <c:v>12</c:v>
                </c:pt>
                <c:pt idx="2">
                  <c:v>13.1</c:v>
                </c:pt>
                <c:pt idx="3" formatCode="#,##0.0;&quot;-&quot;#,##0.0">
                  <c:v>14</c:v>
                </c:pt>
              </c:numCache>
            </c:numRef>
          </c:yVal>
          <c:smooth val="0"/>
          <c:extLst>
            <c:ext xmlns:c16="http://schemas.microsoft.com/office/drawing/2014/chart" uri="{C3380CC4-5D6E-409C-BE32-E72D297353CC}">
              <c16:uniqueId val="{00000006-0DB1-4DA2-9A3A-F865480EA542}"/>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5722120658135285E-2"/>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B1-4DA2-9A3A-F865480EA542}"/>
                </c:ext>
              </c:extLst>
            </c:dLbl>
            <c:dLbl>
              <c:idx val="1"/>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DB1-4DA2-9A3A-F865480EA542}"/>
                </c:ext>
              </c:extLst>
            </c:dLbl>
            <c:dLbl>
              <c:idx val="2"/>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DB1-4DA2-9A3A-F865480EA542}"/>
                </c:ext>
              </c:extLst>
            </c:dLbl>
            <c:dLbl>
              <c:idx val="3"/>
              <c:layout>
                <c:manualLayout>
                  <c:x val="0"/>
                  <c:y val="-4.386677497969130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DB1-4DA2-9A3A-F865480EA5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c:v>
                </c:pt>
                <c:pt idx="1">
                  <c:v>21</c:v>
                </c:pt>
                <c:pt idx="2">
                  <c:v>22</c:v>
                </c:pt>
                <c:pt idx="3">
                  <c:v>23</c:v>
                </c:pt>
              </c:numCache>
            </c:numRef>
          </c:xVal>
          <c:yVal>
            <c:numRef>
              <c:f>Sheet1!$A$4:$D$4</c:f>
              <c:numCache>
                <c:formatCode>#,##0.0;"-"#,##0.0</c:formatCode>
                <c:ptCount val="4"/>
                <c:pt idx="0">
                  <c:v>3.2</c:v>
                </c:pt>
                <c:pt idx="1">
                  <c:v>3.3</c:v>
                </c:pt>
                <c:pt idx="2">
                  <c:v>3.3</c:v>
                </c:pt>
                <c:pt idx="3">
                  <c:v>3.4</c:v>
                </c:pt>
              </c:numCache>
            </c:numRef>
          </c:yVal>
          <c:smooth val="0"/>
          <c:extLst>
            <c:ext xmlns:c16="http://schemas.microsoft.com/office/drawing/2014/chart" uri="{C3380CC4-5D6E-409C-BE32-E72D297353CC}">
              <c16:uniqueId val="{0000000B-0DB1-4DA2-9A3A-F865480EA542}"/>
            </c:ext>
          </c:extLst>
        </c:ser>
        <c:dLbls>
          <c:showLegendKey val="0"/>
          <c:showVal val="0"/>
          <c:showCatName val="0"/>
          <c:showSerName val="0"/>
          <c:showPercent val="0"/>
          <c:showBubbleSize val="0"/>
        </c:dLbls>
        <c:axId val="1327178256"/>
        <c:axId val="1"/>
      </c:scatterChart>
      <c:valAx>
        <c:axId val="1327178256"/>
        <c:scaling>
          <c:orientation val="minMax"/>
          <c:max val="23"/>
          <c:min val="2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
        <c:crosses val="min"/>
        <c:crossBetween val="midCat"/>
        <c:majorUnit val="1"/>
      </c:valAx>
      <c:valAx>
        <c:axId val="1"/>
        <c:scaling>
          <c:orientation val="minMax"/>
          <c:max val="18"/>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327178256"/>
        <c:crosses val="min"/>
        <c:crossBetween val="midCat"/>
        <c:majorUnit val="1"/>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28282828282832E-2"/>
          <c:y val="3.303684879288437E-2"/>
          <c:w val="0.92803030303030298"/>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25CA-4225-A1C5-FC1116CA680E}"/>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25CA-4225-A1C5-FC1116CA680E}"/>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25CA-4225-A1C5-FC1116CA680E}"/>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25CA-4225-A1C5-FC1116CA680E}"/>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25CA-4225-A1C5-FC1116CA680E}"/>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25CA-4225-A1C5-FC1116CA680E}"/>
              </c:ext>
            </c:extLst>
          </c:dPt>
          <c:dLbls>
            <c:dLbl>
              <c:idx val="0"/>
              <c:layout>
                <c:manualLayout>
                  <c:x val="0.10101010101010101"/>
                  <c:y val="-0.13722998729351971"/>
                </c:manualLayout>
              </c:layout>
              <c:numFmt formatCode="0%" sourceLinked="0"/>
              <c:spPr>
                <a:noFill/>
                <a:ln>
                  <a:noFill/>
                </a:ln>
              </c:spPr>
              <c:txPr>
                <a:bodyPr wrap="none"/>
                <a:lstStyle/>
                <a:p>
                  <a:pPr>
                    <a:defRPr kumimoji="1" lang="ja-JP"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CA-4225-A1C5-FC1116CA680E}"/>
                </c:ext>
              </c:extLst>
            </c:dLbl>
            <c:dLbl>
              <c:idx val="1"/>
              <c:layout>
                <c:manualLayout>
                  <c:x val="0.17045454545454544"/>
                  <c:y val="1.588310038119441E-2"/>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CA-4225-A1C5-FC1116CA680E}"/>
                </c:ext>
              </c:extLst>
            </c:dLbl>
            <c:dLbl>
              <c:idx val="2"/>
              <c:layout>
                <c:manualLayout>
                  <c:x val="0.11426767676767677"/>
                  <c:y val="0.12325285895806862"/>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CA-4225-A1C5-FC1116CA680E}"/>
                </c:ext>
              </c:extLst>
            </c:dLbl>
            <c:dLbl>
              <c:idx val="3"/>
              <c:layout>
                <c:manualLayout>
                  <c:x val="1.5782828282828284E-2"/>
                  <c:y val="0.18805590851334181"/>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CA-4225-A1C5-FC1116CA680E}"/>
                </c:ext>
              </c:extLst>
            </c:dLbl>
            <c:dLbl>
              <c:idx val="4"/>
              <c:layout>
                <c:manualLayout>
                  <c:x val="-8.5858585858585856E-2"/>
                  <c:y val="0.16010165184243966"/>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CA-4225-A1C5-FC1116CA680E}"/>
                </c:ext>
              </c:extLst>
            </c:dLbl>
            <c:dLbl>
              <c:idx val="5"/>
              <c:layout>
                <c:manualLayout>
                  <c:x val="-0.15593434343434343"/>
                  <c:y val="-6.0991105463786534E-2"/>
                </c:manualLayout>
              </c:layout>
              <c:numFmt formatCode="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CA-4225-A1C5-FC1116CA680E}"/>
                </c:ext>
              </c:extLst>
            </c:dLbl>
            <c:numFmt formatCode="0%" sourceLinked="0"/>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6</c:f>
              <c:numCache>
                <c:formatCode>0%</c:formatCode>
                <c:ptCount val="6"/>
                <c:pt idx="0">
                  <c:v>0.22850195011667768</c:v>
                </c:pt>
                <c:pt idx="1">
                  <c:v>0.13077869476522966</c:v>
                </c:pt>
                <c:pt idx="2">
                  <c:v>9.5653067820708038E-2</c:v>
                </c:pt>
                <c:pt idx="3">
                  <c:v>9.188520840638216E-2</c:v>
                </c:pt>
                <c:pt idx="4">
                  <c:v>6.5881874749521785E-2</c:v>
                </c:pt>
                <c:pt idx="5">
                  <c:v>0.38729920414148067</c:v>
                </c:pt>
              </c:numCache>
            </c:numRef>
          </c:val>
          <c:extLst>
            <c:ext xmlns:c16="http://schemas.microsoft.com/office/drawing/2014/chart" uri="{C3380CC4-5D6E-409C-BE32-E72D297353CC}">
              <c16:uniqueId val="{0000000C-25CA-4225-A1C5-FC1116CA680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522388059701492E-2"/>
          <c:y val="2.3203926818384651E-2"/>
          <c:w val="0.96895522388059696"/>
          <c:h val="0.95359214636323075"/>
        </c:manualLayout>
      </c:layout>
      <c:barChart>
        <c:barDir val="col"/>
        <c:grouping val="clustered"/>
        <c:varyColors val="0"/>
        <c:ser>
          <c:idx val="0"/>
          <c:order val="0"/>
          <c:spPr>
            <a:solidFill>
              <a:schemeClr val="accent6">
                <a:lumMod val="40000"/>
                <a:lumOff val="60000"/>
              </a:schemeClr>
            </a:solidFill>
            <a:ln w="9525" algn="ctr">
              <a:solidFill>
                <a:schemeClr val="accent2"/>
              </a:solidFill>
              <a:prstDash val="solid"/>
            </a:ln>
          </c:spPr>
          <c:invertIfNegative val="0"/>
          <c:val>
            <c:numRef>
              <c:f>Sheet1!$A$1:$E$1</c:f>
              <c:numCache>
                <c:formatCode>General</c:formatCode>
                <c:ptCount val="5"/>
                <c:pt idx="0">
                  <c:v>426031985</c:v>
                </c:pt>
                <c:pt idx="1">
                  <c:v>433540325</c:v>
                </c:pt>
                <c:pt idx="2">
                  <c:v>393280405</c:v>
                </c:pt>
                <c:pt idx="3">
                  <c:v>747549343</c:v>
                </c:pt>
                <c:pt idx="4" formatCode="#,##0">
                  <c:v>722619881</c:v>
                </c:pt>
              </c:numCache>
            </c:numRef>
          </c:val>
          <c:extLst>
            <c:ext xmlns:c16="http://schemas.microsoft.com/office/drawing/2014/chart" uri="{C3380CC4-5D6E-409C-BE32-E72D297353CC}">
              <c16:uniqueId val="{00000000-5633-4648-B887-9F78F2517F7D}"/>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477321282</c:v>
                </c:pt>
                <c:pt idx="1">
                  <c:v>2408616816</c:v>
                </c:pt>
                <c:pt idx="2">
                  <c:v>2409133447</c:v>
                </c:pt>
                <c:pt idx="3">
                  <c:v>3061087487</c:v>
                </c:pt>
                <c:pt idx="4" formatCode="#,##0">
                  <c:v>2528186419</c:v>
                </c:pt>
              </c:numCache>
            </c:numRef>
          </c:val>
          <c:extLst>
            <c:ext xmlns:c16="http://schemas.microsoft.com/office/drawing/2014/chart" uri="{C3380CC4-5D6E-409C-BE32-E72D297353CC}">
              <c16:uniqueId val="{00000001-5633-4648-B887-9F78F2517F7D}"/>
            </c:ext>
          </c:extLst>
        </c:ser>
        <c:dLbls>
          <c:showLegendKey val="0"/>
          <c:showVal val="0"/>
          <c:showCatName val="0"/>
          <c:showSerName val="0"/>
          <c:showPercent val="0"/>
          <c:showBubbleSize val="0"/>
        </c:dLbls>
        <c:gapWidth val="60"/>
        <c:axId val="1323450144"/>
        <c:axId val="1"/>
      </c:barChart>
      <c:catAx>
        <c:axId val="13234501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061087487"/>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323450144"/>
        <c:crosses val="min"/>
        <c:crossBetween val="between"/>
        <c:majorUnit val="500000000"/>
        <c:dispUnits>
          <c:builtInUnit val="hundredMillions"/>
        </c:dispUnits>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95509595677287E-2"/>
          <c:y val="2.6563838903170524E-2"/>
          <c:w val="0.9379541643376188"/>
          <c:h val="0.9468723221936589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0122973728339856E-2"/>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EA-487D-84F7-5BDCB6C5494F}"/>
                </c:ext>
              </c:extLst>
            </c:dLbl>
            <c:dLbl>
              <c:idx val="1"/>
              <c:layout>
                <c:manualLayout>
                  <c:x val="0"/>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EA-487D-84F7-5BDCB6C5494F}"/>
                </c:ext>
              </c:extLst>
            </c:dLbl>
            <c:dLbl>
              <c:idx val="2"/>
              <c:layout>
                <c:manualLayout>
                  <c:x val="0"/>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EA-487D-84F7-5BDCB6C5494F}"/>
                </c:ext>
              </c:extLst>
            </c:dLbl>
            <c:dLbl>
              <c:idx val="3"/>
              <c:layout>
                <c:manualLayout>
                  <c:x val="0"/>
                  <c:y val="-4.627249357326478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EA-487D-84F7-5BDCB6C549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1.014717919999999</c:v>
                </c:pt>
                <c:pt idx="1">
                  <c:v>24.682689209999999</c:v>
                </c:pt>
                <c:pt idx="2">
                  <c:v>26.487661380000002</c:v>
                </c:pt>
                <c:pt idx="3">
                  <c:v>26.014699969999999</c:v>
                </c:pt>
              </c:numCache>
            </c:numRef>
          </c:val>
          <c:smooth val="0"/>
          <c:extLst>
            <c:ext xmlns:c16="http://schemas.microsoft.com/office/drawing/2014/chart" uri="{C3380CC4-5D6E-409C-BE32-E72D297353CC}">
              <c16:uniqueId val="{00000004-75EA-487D-84F7-5BDCB6C5494F}"/>
            </c:ext>
          </c:extLst>
        </c:ser>
        <c:dLbls>
          <c:showLegendKey val="0"/>
          <c:showVal val="0"/>
          <c:showCatName val="0"/>
          <c:showSerName val="0"/>
          <c:showPercent val="0"/>
          <c:showBubbleSize val="0"/>
        </c:dLbls>
        <c:marker val="1"/>
        <c:smooth val="0"/>
        <c:axId val="1516989392"/>
        <c:axId val="1"/>
      </c:lineChart>
      <c:catAx>
        <c:axId val="15169893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516989392"/>
        <c:crosses val="min"/>
        <c:crossBetween val="midCat"/>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161290322580643E-2"/>
          <c:y val="2.7012987012987013E-2"/>
          <c:w val="0.91021505376344081"/>
          <c:h val="0.94597402597402602"/>
        </c:manualLayout>
      </c:layout>
      <c:barChart>
        <c:barDir val="col"/>
        <c:grouping val="stacked"/>
        <c:varyColors val="0"/>
        <c:ser>
          <c:idx val="0"/>
          <c:order val="0"/>
          <c:spPr>
            <a:solidFill>
              <a:srgbClr val="1F497D"/>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670</c:v>
                </c:pt>
                <c:pt idx="1">
                  <c:v>5926.6679999999997</c:v>
                </c:pt>
              </c:numCache>
            </c:numRef>
          </c:val>
          <c:extLst>
            <c:ext xmlns:c16="http://schemas.microsoft.com/office/drawing/2014/chart" uri="{C3380CC4-5D6E-409C-BE32-E72D297353CC}">
              <c16:uniqueId val="{00000002-CFEE-4711-8530-82B1291F5CF3}"/>
            </c:ext>
          </c:extLst>
        </c:ser>
        <c:ser>
          <c:idx val="1"/>
          <c:order val="1"/>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3405</c:v>
                </c:pt>
                <c:pt idx="1">
                  <c:v>4709.99</c:v>
                </c:pt>
              </c:numCache>
            </c:numRef>
          </c:val>
          <c:extLst>
            <c:ext xmlns:c16="http://schemas.microsoft.com/office/drawing/2014/chart" uri="{C3380CC4-5D6E-409C-BE32-E72D297353CC}">
              <c16:uniqueId val="{00000005-CFEE-4711-8530-82B1291F5CF3}"/>
            </c:ext>
          </c:extLst>
        </c:ser>
        <c:ser>
          <c:idx val="2"/>
          <c:order val="2"/>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EE-4711-8530-82B1291F5CF3}"/>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3202</c:v>
                </c:pt>
                <c:pt idx="1">
                  <c:v>3969.9369999999999</c:v>
                </c:pt>
              </c:numCache>
            </c:numRef>
          </c:val>
          <c:extLst>
            <c:ext xmlns:c16="http://schemas.microsoft.com/office/drawing/2014/chart" uri="{C3380CC4-5D6E-409C-BE32-E72D297353CC}">
              <c16:uniqueId val="{00000008-CFEE-4711-8530-82B1291F5CF3}"/>
            </c:ext>
          </c:extLst>
        </c:ser>
        <c:ser>
          <c:idx val="3"/>
          <c:order val="3"/>
          <c:spPr>
            <a:solidFill>
              <a:srgbClr val="F3F3F3"/>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2879</c:v>
                </c:pt>
                <c:pt idx="1">
                  <c:v>3176.253999999999</c:v>
                </c:pt>
              </c:numCache>
            </c:numRef>
          </c:val>
          <c:extLst>
            <c:ext xmlns:c16="http://schemas.microsoft.com/office/drawing/2014/chart" uri="{C3380CC4-5D6E-409C-BE32-E72D297353CC}">
              <c16:uniqueId val="{0000000B-CFEE-4711-8530-82B1291F5CF3}"/>
            </c:ext>
          </c:extLst>
        </c:ser>
        <c:ser>
          <c:idx val="4"/>
          <c:order val="4"/>
          <c:spPr>
            <a:solidFill>
              <a:srgbClr val="ECE5F4"/>
            </a:solidFill>
            <a:ln>
              <a:noFill/>
            </a:ln>
          </c:spPr>
          <c:invertIfNegative val="0"/>
          <c:dLbls>
            <c:dLbl>
              <c:idx val="0"/>
              <c:layout>
                <c:manualLayout>
                  <c:x val="0"/>
                  <c:y val="-5.1948051948051948E-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FEE-4711-8530-82B1291F5CF3}"/>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FEE-4711-8530-82B1291F5CF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B$5</c:f>
              <c:numCache>
                <c:formatCode>General</c:formatCode>
                <c:ptCount val="2"/>
                <c:pt idx="0">
                  <c:v>1666</c:v>
                </c:pt>
                <c:pt idx="1">
                  <c:v>2655.2819999999992</c:v>
                </c:pt>
              </c:numCache>
            </c:numRef>
          </c:val>
          <c:extLst>
            <c:ext xmlns:c16="http://schemas.microsoft.com/office/drawing/2014/chart" uri="{C3380CC4-5D6E-409C-BE32-E72D297353CC}">
              <c16:uniqueId val="{0000000E-CFEE-4711-8530-82B1291F5CF3}"/>
            </c:ext>
          </c:extLst>
        </c:ser>
        <c:dLbls>
          <c:showLegendKey val="0"/>
          <c:showVal val="0"/>
          <c:showCatName val="0"/>
          <c:showSerName val="0"/>
          <c:showPercent val="0"/>
          <c:showBubbleSize val="0"/>
        </c:dLbls>
        <c:gapWidth val="80"/>
        <c:overlap val="100"/>
        <c:axId val="1787642480"/>
        <c:axId val="1"/>
      </c:barChart>
      <c:catAx>
        <c:axId val="17876424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438.130999999998"/>
          <c:min val="0"/>
        </c:scaling>
        <c:delete val="1"/>
        <c:axPos val="l"/>
        <c:numFmt formatCode="General" sourceLinked="1"/>
        <c:majorTickMark val="out"/>
        <c:minorTickMark val="none"/>
        <c:tickLblPos val="nextTo"/>
        <c:crossAx val="17876424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32539523714228E-2"/>
          <c:y val="0.12190963341858482"/>
          <c:w val="0.89053432059235538"/>
          <c:h val="0.82523444160272807"/>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29923273657289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1B-4D3C-B75F-56EB037D5939}"/>
                </c:ext>
              </c:extLst>
            </c:dLbl>
            <c:dLbl>
              <c:idx val="1"/>
              <c:layout>
                <c:manualLayout>
                  <c:x val="0"/>
                  <c:y val="-0.1244671781756180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1B-4D3C-B75F-56EB037D5939}"/>
                </c:ext>
              </c:extLst>
            </c:dLbl>
            <c:dLbl>
              <c:idx val="2"/>
              <c:layout>
                <c:manualLayout>
                  <c:x val="0"/>
                  <c:y val="-0.1219096334185848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1B-4D3C-B75F-56EB037D5939}"/>
                </c:ext>
              </c:extLst>
            </c:dLbl>
            <c:dLbl>
              <c:idx val="3"/>
              <c:layout>
                <c:manualLayout>
                  <c:x val="0"/>
                  <c:y val="-0.1560102301790281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1B-4D3C-B75F-56EB037D5939}"/>
                </c:ext>
              </c:extLst>
            </c:dLbl>
            <c:dLbl>
              <c:idx val="4"/>
              <c:layout>
                <c:manualLayout>
                  <c:x val="0"/>
                  <c:y val="-0.186700767263427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1B-4D3C-B75F-56EB037D5939}"/>
                </c:ext>
              </c:extLst>
            </c:dLbl>
            <c:dLbl>
              <c:idx val="5"/>
              <c:layout>
                <c:manualLayout>
                  <c:x val="0"/>
                  <c:y val="-0.2037510656436487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1B-4D3C-B75F-56EB037D5939}"/>
                </c:ext>
              </c:extLst>
            </c:dLbl>
            <c:dLbl>
              <c:idx val="6"/>
              <c:layout>
                <c:manualLayout>
                  <c:x val="0"/>
                  <c:y val="-0.211423699914748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1B-4D3C-B75F-56EB037D5939}"/>
                </c:ext>
              </c:extLst>
            </c:dLbl>
            <c:dLbl>
              <c:idx val="7"/>
              <c:layout>
                <c:manualLayout>
                  <c:x val="0"/>
                  <c:y val="-0.226768968456947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1B-4D3C-B75F-56EB037D5939}"/>
                </c:ext>
              </c:extLst>
            </c:dLbl>
            <c:dLbl>
              <c:idx val="8"/>
              <c:layout>
                <c:manualLayout>
                  <c:x val="0"/>
                  <c:y val="-0.217391304347826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1B-4D3C-B75F-56EB037D5939}"/>
                </c:ext>
              </c:extLst>
            </c:dLbl>
            <c:dLbl>
              <c:idx val="9"/>
              <c:layout>
                <c:manualLayout>
                  <c:x val="0"/>
                  <c:y val="-0.3844842284739982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1B-4D3C-B75F-56EB037D5939}"/>
                </c:ext>
              </c:extLst>
            </c:dLbl>
            <c:dLbl>
              <c:idx val="10"/>
              <c:layout>
                <c:manualLayout>
                  <c:x val="0"/>
                  <c:y val="-0.2693947144075021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1B-4D3C-B75F-56EB037D5939}"/>
                </c:ext>
              </c:extLst>
            </c:dLbl>
            <c:dLbl>
              <c:idx val="11"/>
              <c:layout>
                <c:manualLayout>
                  <c:x val="0"/>
                  <c:y val="-0.2907075873827791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C1B-4D3C-B75F-56EB037D5939}"/>
                </c:ext>
              </c:extLst>
            </c:dLbl>
            <c:dLbl>
              <c:idx val="14"/>
              <c:layout>
                <c:manualLayout>
                  <c:x val="0"/>
                  <c:y val="-0.25063938618925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C1B-4D3C-B75F-56EB037D5939}"/>
                </c:ext>
              </c:extLst>
            </c:dLbl>
            <c:dLbl>
              <c:idx val="15"/>
              <c:layout>
                <c:manualLayout>
                  <c:x val="0"/>
                  <c:y val="-0.2335890878090366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C1B-4D3C-B75F-56EB037D5939}"/>
                </c:ext>
              </c:extLst>
            </c:dLbl>
            <c:dLbl>
              <c:idx val="16"/>
              <c:layout>
                <c:manualLayout>
                  <c:x val="0"/>
                  <c:y val="-0.2216538789428814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C1B-4D3C-B75F-56EB037D5939}"/>
                </c:ext>
              </c:extLst>
            </c:dLbl>
            <c:dLbl>
              <c:idx val="17"/>
              <c:layout>
                <c:manualLayout>
                  <c:x val="0"/>
                  <c:y val="-0.2514919011082694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C1B-4D3C-B75F-56EB037D5939}"/>
                </c:ext>
              </c:extLst>
            </c:dLbl>
            <c:dLbl>
              <c:idx val="18"/>
              <c:layout>
                <c:manualLayout>
                  <c:x val="0"/>
                  <c:y val="-0.2625745950554134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C1B-4D3C-B75F-56EB037D5939}"/>
                </c:ext>
              </c:extLst>
            </c:dLbl>
            <c:dLbl>
              <c:idx val="19"/>
              <c:layout>
                <c:manualLayout>
                  <c:x val="0"/>
                  <c:y val="-0.2446715789439767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C1B-4D3C-B75F-56EB037D5939}"/>
                </c:ext>
              </c:extLst>
            </c:dLbl>
            <c:dLbl>
              <c:idx val="20"/>
              <c:layout>
                <c:manualLayout>
                  <c:x val="0"/>
                  <c:y val="-0.229326513213981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C1B-4D3C-B75F-56EB037D5939}"/>
                </c:ext>
              </c:extLst>
            </c:dLbl>
            <c:dLbl>
              <c:idx val="21"/>
              <c:layout>
                <c:manualLayout>
                  <c:x val="0"/>
                  <c:y val="-0.2702472293265132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C1B-4D3C-B75F-56EB037D593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151.85499999999999</c:v>
                </c:pt>
                <c:pt idx="1">
                  <c:v>135.52699999999999</c:v>
                </c:pt>
                <c:pt idx="2">
                  <c:v>129.38499999999999</c:v>
                </c:pt>
                <c:pt idx="3">
                  <c:v>197.017</c:v>
                </c:pt>
                <c:pt idx="4">
                  <c:v>256.18799999999999</c:v>
                </c:pt>
                <c:pt idx="5">
                  <c:v>288.74900000000002</c:v>
                </c:pt>
                <c:pt idx="6">
                  <c:v>304.05500000000001</c:v>
                </c:pt>
                <c:pt idx="7">
                  <c:v>332.65</c:v>
                </c:pt>
                <c:pt idx="8">
                  <c:v>316.49099999999999</c:v>
                </c:pt>
                <c:pt idx="9">
                  <c:v>331.18400000000003</c:v>
                </c:pt>
                <c:pt idx="10">
                  <c:v>417.315</c:v>
                </c:pt>
                <c:pt idx="11">
                  <c:v>458.70800000000003</c:v>
                </c:pt>
                <c:pt idx="12" formatCode="General">
                  <c:v>434.4</c:v>
                </c:pt>
                <c:pt idx="13" formatCode="General">
                  <c:v>400.87700000000001</c:v>
                </c:pt>
                <c:pt idx="14">
                  <c:v>381.19499999999999</c:v>
                </c:pt>
                <c:pt idx="15">
                  <c:v>346.66300000000001</c:v>
                </c:pt>
                <c:pt idx="16">
                  <c:v>323.49299999999999</c:v>
                </c:pt>
                <c:pt idx="17">
                  <c:v>381.31700000000001</c:v>
                </c:pt>
                <c:pt idx="18">
                  <c:v>405.09300000000002</c:v>
                </c:pt>
                <c:pt idx="19">
                  <c:v>389.24599999999998</c:v>
                </c:pt>
                <c:pt idx="20">
                  <c:v>338.19299999999998</c:v>
                </c:pt>
                <c:pt idx="21">
                  <c:v>420.00900000000001</c:v>
                </c:pt>
              </c:numCache>
            </c:numRef>
          </c:val>
          <c:extLst>
            <c:ext xmlns:c16="http://schemas.microsoft.com/office/drawing/2014/chart" uri="{C3380CC4-5D6E-409C-BE32-E72D297353CC}">
              <c16:uniqueId val="{00000014-CC1B-4D3C-B75F-56EB037D5939}"/>
            </c:ext>
          </c:extLst>
        </c:ser>
        <c:dLbls>
          <c:showLegendKey val="0"/>
          <c:showVal val="0"/>
          <c:showCatName val="0"/>
          <c:showSerName val="0"/>
          <c:showPercent val="0"/>
          <c:showBubbleSize val="0"/>
        </c:dLbls>
        <c:gapWidth val="60"/>
        <c:overlap val="100"/>
        <c:axId val="645996159"/>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C1B-4D3C-B75F-56EB037D5939}"/>
                </c:ext>
              </c:extLst>
            </c:dLbl>
            <c:dLbl>
              <c:idx val="1"/>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CC1B-4D3C-B75F-56EB037D5939}"/>
                </c:ext>
              </c:extLst>
            </c:dLbl>
            <c:dLbl>
              <c:idx val="2"/>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C1B-4D3C-B75F-56EB037D5939}"/>
                </c:ext>
              </c:extLst>
            </c:dLbl>
            <c:dLbl>
              <c:idx val="3"/>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C1B-4D3C-B75F-56EB037D5939}"/>
                </c:ext>
              </c:extLst>
            </c:dLbl>
            <c:dLbl>
              <c:idx val="4"/>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C1B-4D3C-B75F-56EB037D5939}"/>
                </c:ext>
              </c:extLst>
            </c:dLbl>
            <c:dLbl>
              <c:idx val="5"/>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C1B-4D3C-B75F-56EB037D5939}"/>
                </c:ext>
              </c:extLst>
            </c:dLbl>
            <c:dLbl>
              <c:idx val="6"/>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C1B-4D3C-B75F-56EB037D5939}"/>
                </c:ext>
              </c:extLst>
            </c:dLbl>
            <c:dLbl>
              <c:idx val="7"/>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C1B-4D3C-B75F-56EB037D5939}"/>
                </c:ext>
              </c:extLst>
            </c:dLbl>
            <c:dLbl>
              <c:idx val="8"/>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C1B-4D3C-B75F-56EB037D5939}"/>
                </c:ext>
              </c:extLst>
            </c:dLbl>
            <c:dLbl>
              <c:idx val="10"/>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C1B-4D3C-B75F-56EB037D5939}"/>
                </c:ext>
              </c:extLst>
            </c:dLbl>
            <c:dLbl>
              <c:idx val="11"/>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C1B-4D3C-B75F-56EB037D5939}"/>
                </c:ext>
              </c:extLst>
            </c:dLbl>
            <c:dLbl>
              <c:idx val="12"/>
              <c:layout>
                <c:manualLayout>
                  <c:x val="-2.5615367606997737E-2"/>
                  <c:y val="-9.207163597522631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C1B-4D3C-B75F-56EB037D5939}"/>
                </c:ext>
              </c:extLst>
            </c:dLbl>
            <c:dLbl>
              <c:idx val="13"/>
              <c:layout>
                <c:manualLayout>
                  <c:x val="-2.2413383626183041E-2"/>
                  <c:y val="-7.5021333016851072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1859113461203431E-2"/>
                      <c:h val="9.2071635975226315E-2"/>
                    </c:manualLayout>
                  </c15:layout>
                </c:ext>
                <c:ext xmlns:c16="http://schemas.microsoft.com/office/drawing/2014/chart" uri="{C3380CC4-5D6E-409C-BE32-E72D297353CC}">
                  <c16:uniqueId val="{00000021-CC1B-4D3C-B75F-56EB037D5939}"/>
                </c:ext>
              </c:extLst>
            </c:dLbl>
            <c:dLbl>
              <c:idx val="14"/>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C1B-4D3C-B75F-56EB037D5939}"/>
                </c:ext>
              </c:extLst>
            </c:dLbl>
            <c:dLbl>
              <c:idx val="15"/>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C1B-4D3C-B75F-56EB037D5939}"/>
                </c:ext>
              </c:extLst>
            </c:dLbl>
            <c:dLbl>
              <c:idx val="16"/>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C1B-4D3C-B75F-56EB037D5939}"/>
                </c:ext>
              </c:extLst>
            </c:dLbl>
            <c:dLbl>
              <c:idx val="17"/>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C1B-4D3C-B75F-56EB037D5939}"/>
                </c:ext>
              </c:extLst>
            </c:dLbl>
            <c:dLbl>
              <c:idx val="18"/>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C1B-4D3C-B75F-56EB037D5939}"/>
                </c:ext>
              </c:extLst>
            </c:dLbl>
            <c:dLbl>
              <c:idx val="19"/>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C1B-4D3C-B75F-56EB037D5939}"/>
                </c:ext>
              </c:extLst>
            </c:dLbl>
            <c:dLbl>
              <c:idx val="21"/>
              <c:layout>
                <c:manualLayout>
                  <c:x val="0"/>
                  <c:y val="-9.207161125319693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C1B-4D3C-B75F-56EB037D593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0.0;"-"#,##0.0</c:formatCode>
                <c:ptCount val="22"/>
                <c:pt idx="0">
                  <c:v>4.2</c:v>
                </c:pt>
                <c:pt idx="1">
                  <c:v>2.7</c:v>
                </c:pt>
                <c:pt idx="2">
                  <c:v>3.7</c:v>
                </c:pt>
                <c:pt idx="3">
                  <c:v>2.9489999999999998</c:v>
                </c:pt>
                <c:pt idx="4">
                  <c:v>4.5549999999999997</c:v>
                </c:pt>
                <c:pt idx="5">
                  <c:v>5.2770000000000001</c:v>
                </c:pt>
                <c:pt idx="6">
                  <c:v>5.6040000000000001</c:v>
                </c:pt>
                <c:pt idx="7">
                  <c:v>5.36</c:v>
                </c:pt>
                <c:pt idx="8">
                  <c:v>3.1909999999999998</c:v>
                </c:pt>
                <c:pt idx="9" formatCode="General">
                  <c:v>-1.538</c:v>
                </c:pt>
                <c:pt idx="10">
                  <c:v>3.04</c:v>
                </c:pt>
                <c:pt idx="11">
                  <c:v>3.169</c:v>
                </c:pt>
                <c:pt idx="12">
                  <c:v>2.3959999999999999</c:v>
                </c:pt>
                <c:pt idx="13">
                  <c:v>2.4849999999999999</c:v>
                </c:pt>
                <c:pt idx="14">
                  <c:v>1.4139999999999999</c:v>
                </c:pt>
                <c:pt idx="15">
                  <c:v>1.3220000000000001</c:v>
                </c:pt>
                <c:pt idx="16">
                  <c:v>0.66500000000000004</c:v>
                </c:pt>
                <c:pt idx="17">
                  <c:v>1.1579999999999999</c:v>
                </c:pt>
                <c:pt idx="18">
                  <c:v>1.5569999999999999</c:v>
                </c:pt>
                <c:pt idx="19">
                  <c:v>0.26</c:v>
                </c:pt>
                <c:pt idx="20" formatCode="General">
                  <c:v>-5.9630000000000001</c:v>
                </c:pt>
                <c:pt idx="21">
                  <c:v>4.7030000000000003</c:v>
                </c:pt>
              </c:numCache>
            </c:numRef>
          </c:val>
          <c:smooth val="0"/>
          <c:extLst>
            <c:ext xmlns:c16="http://schemas.microsoft.com/office/drawing/2014/chart" uri="{C3380CC4-5D6E-409C-BE32-E72D297353CC}">
              <c16:uniqueId val="{00000029-CC1B-4D3C-B75F-56EB037D5939}"/>
            </c:ext>
          </c:extLst>
        </c:ser>
        <c:dLbls>
          <c:showLegendKey val="0"/>
          <c:showVal val="0"/>
          <c:showCatName val="0"/>
          <c:showSerName val="0"/>
          <c:showPercent val="0"/>
          <c:showBubbleSize val="0"/>
        </c:dLbls>
        <c:marker val="1"/>
        <c:smooth val="0"/>
        <c:axId val="3"/>
        <c:axId val="2"/>
      </c:lineChart>
      <c:catAx>
        <c:axId val="6459961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45996159"/>
        <c:crosses val="min"/>
        <c:crossBetween val="between"/>
        <c:majorUnit val="100"/>
      </c:valAx>
      <c:valAx>
        <c:axId val="2"/>
        <c:scaling>
          <c:orientation val="minMax"/>
          <c:max val="6"/>
          <c:min val="-8"/>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5.5160142348754451E-2"/>
          <c:w val="0.91213474025974028"/>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562277580071174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27-470D-86C6-0B04355F16A8}"/>
                </c:ext>
              </c:extLst>
            </c:dLbl>
            <c:dLbl>
              <c:idx val="1"/>
              <c:layout>
                <c:manualLayout>
                  <c:x val="-4.261363636363636E-3"/>
                  <c:y val="-0.189501779359430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27-470D-86C6-0B04355F16A8}"/>
                </c:ext>
              </c:extLst>
            </c:dLbl>
            <c:dLbl>
              <c:idx val="2"/>
              <c:layout>
                <c:manualLayout>
                  <c:x val="0"/>
                  <c:y val="-0.1806049822064057"/>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27-470D-86C6-0B04355F16A8}"/>
                </c:ext>
              </c:extLst>
            </c:dLbl>
            <c:dLbl>
              <c:idx val="3"/>
              <c:layout>
                <c:manualLayout>
                  <c:x val="0"/>
                  <c:y val="-0.2437722419928825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27-470D-86C6-0B04355F16A8}"/>
                </c:ext>
              </c:extLst>
            </c:dLbl>
            <c:dLbl>
              <c:idx val="4"/>
              <c:layout>
                <c:manualLayout>
                  <c:x val="0"/>
                  <c:y val="-0.2980427046263345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27-470D-86C6-0B04355F16A8}"/>
                </c:ext>
              </c:extLst>
            </c:dLbl>
            <c:dLbl>
              <c:idx val="5"/>
              <c:layout>
                <c:manualLayout>
                  <c:x val="4.261363636363636E-3"/>
                  <c:y val="-0.3247330960854092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27-470D-86C6-0B04355F16A8}"/>
                </c:ext>
              </c:extLst>
            </c:dLbl>
            <c:dLbl>
              <c:idx val="6"/>
              <c:layout>
                <c:manualLayout>
                  <c:x val="6.899350649350649E-3"/>
                  <c:y val="-0.3362989323843416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27-470D-86C6-0B04355F16A8}"/>
                </c:ext>
              </c:extLst>
            </c:dLbl>
            <c:dLbl>
              <c:idx val="7"/>
              <c:layout>
                <c:manualLayout>
                  <c:x val="-4.261363636363636E-3"/>
                  <c:y val="-0.3994661921708185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F27-470D-86C6-0B04355F16A8}"/>
                </c:ext>
              </c:extLst>
            </c:dLbl>
            <c:dLbl>
              <c:idx val="8"/>
              <c:layout>
                <c:manualLayout>
                  <c:x val="0"/>
                  <c:y val="-0.3398576512455516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27-470D-86C6-0B04355F16A8}"/>
                </c:ext>
              </c:extLst>
            </c:dLbl>
            <c:dLbl>
              <c:idx val="9"/>
              <c:layout>
                <c:manualLayout>
                  <c:x val="4.464285714285714E-3"/>
                  <c:y val="-0.3478647686832740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F27-470D-86C6-0B04355F16A8}"/>
                </c:ext>
              </c:extLst>
            </c:dLbl>
            <c:dLbl>
              <c:idx val="10"/>
              <c:layout>
                <c:manualLayout>
                  <c:x val="0"/>
                  <c:y val="-0.4181494661921708"/>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F27-470D-86C6-0B04355F16A8}"/>
                </c:ext>
              </c:extLst>
            </c:dLbl>
            <c:dLbl>
              <c:idx val="11"/>
              <c:layout>
                <c:manualLayout>
                  <c:x val="-4.464285714285714E-3"/>
                  <c:y val="-0.47419928825622776"/>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F27-470D-86C6-0B04355F16A8}"/>
                </c:ext>
              </c:extLst>
            </c:dLbl>
            <c:dLbl>
              <c:idx val="12"/>
              <c:layout>
                <c:manualLayout>
                  <c:x val="0"/>
                  <c:y val="-0.441281138790035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F27-470D-86C6-0B04355F16A8}"/>
                </c:ext>
              </c:extLst>
            </c:dLbl>
            <c:dLbl>
              <c:idx val="13"/>
              <c:layout>
                <c:manualLayout>
                  <c:x val="-4.464285714285714E-3"/>
                  <c:y val="-0.388790035587188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F27-470D-86C6-0B04355F16A8}"/>
                </c:ext>
              </c:extLst>
            </c:dLbl>
            <c:dLbl>
              <c:idx val="14"/>
              <c:layout>
                <c:manualLayout>
                  <c:x val="0"/>
                  <c:y val="-0.38879003558718861"/>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F27-470D-86C6-0B04355F16A8}"/>
                </c:ext>
              </c:extLst>
            </c:dLbl>
            <c:dLbl>
              <c:idx val="15"/>
              <c:layout>
                <c:manualLayout>
                  <c:x val="-4.464285714285714E-3"/>
                  <c:y val="-0.33540925266903915"/>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F27-470D-86C6-0B04355F16A8}"/>
                </c:ext>
              </c:extLst>
            </c:dLbl>
            <c:dLbl>
              <c:idx val="16"/>
              <c:layout>
                <c:manualLayout>
                  <c:x val="0"/>
                  <c:y val="-0.312277580071174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F27-470D-86C6-0B04355F16A8}"/>
                </c:ext>
              </c:extLst>
            </c:dLbl>
            <c:dLbl>
              <c:idx val="17"/>
              <c:layout>
                <c:manualLayout>
                  <c:x val="0"/>
                  <c:y val="-0.3567615658362989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F27-470D-86C6-0B04355F16A8}"/>
                </c:ext>
              </c:extLst>
            </c:dLbl>
            <c:dLbl>
              <c:idx val="18"/>
              <c:layout>
                <c:manualLayout>
                  <c:x val="4.261363636363636E-3"/>
                  <c:y val="-0.420818505338078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F27-470D-86C6-0B04355F16A8}"/>
                </c:ext>
              </c:extLst>
            </c:dLbl>
            <c:dLbl>
              <c:idx val="19"/>
              <c:layout>
                <c:manualLayout>
                  <c:x val="0"/>
                  <c:y val="-0.3514234875444839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F27-470D-86C6-0B04355F16A8}"/>
                </c:ext>
              </c:extLst>
            </c:dLbl>
            <c:dLbl>
              <c:idx val="20"/>
              <c:layout>
                <c:manualLayout>
                  <c:x val="0"/>
                  <c:y val="-0.30871886120996439"/>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F27-470D-86C6-0B04355F16A8}"/>
                </c:ext>
              </c:extLst>
            </c:dLbl>
            <c:dLbl>
              <c:idx val="21"/>
              <c:layout>
                <c:manualLayout>
                  <c:x val="0"/>
                  <c:y val="-0.36743772241992884"/>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F27-470D-86C6-0B04355F16A8}"/>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0;"-"#,##0</c:formatCode>
                <c:ptCount val="22"/>
                <c:pt idx="0">
                  <c:v>3382.0659999999998</c:v>
                </c:pt>
                <c:pt idx="1">
                  <c:v>2964.029</c:v>
                </c:pt>
                <c:pt idx="2">
                  <c:v>2791.18</c:v>
                </c:pt>
                <c:pt idx="3">
                  <c:v>4209.22</c:v>
                </c:pt>
                <c:pt idx="4">
                  <c:v>5415.0889999999999</c:v>
                </c:pt>
                <c:pt idx="5">
                  <c:v>6033.2110000000002</c:v>
                </c:pt>
                <c:pt idx="6">
                  <c:v>6276.1729999999998</c:v>
                </c:pt>
                <c:pt idx="7">
                  <c:v>6776.4650000000001</c:v>
                </c:pt>
                <c:pt idx="8">
                  <c:v>6355.8789999999999</c:v>
                </c:pt>
                <c:pt idx="9">
                  <c:v>6552.2650000000003</c:v>
                </c:pt>
                <c:pt idx="10">
                  <c:v>8130.1930000000002</c:v>
                </c:pt>
                <c:pt idx="11">
                  <c:v>8799.4770000000008</c:v>
                </c:pt>
                <c:pt idx="12">
                  <c:v>8207.0589999999993</c:v>
                </c:pt>
                <c:pt idx="13">
                  <c:v>7458.04</c:v>
                </c:pt>
                <c:pt idx="14">
                  <c:v>6984.9260000000004</c:v>
                </c:pt>
                <c:pt idx="15">
                  <c:v>6256.6670000000004</c:v>
                </c:pt>
                <c:pt idx="16">
                  <c:v>5750.7849999999999</c:v>
                </c:pt>
                <c:pt idx="17">
                  <c:v>6678.2920000000004</c:v>
                </c:pt>
                <c:pt idx="18">
                  <c:v>6991.7089999999998</c:v>
                </c:pt>
                <c:pt idx="19">
                  <c:v>6622.6289999999999</c:v>
                </c:pt>
                <c:pt idx="20">
                  <c:v>5672.2780000000002</c:v>
                </c:pt>
                <c:pt idx="21">
                  <c:v>6983.509</c:v>
                </c:pt>
              </c:numCache>
            </c:numRef>
          </c:val>
          <c:extLst>
            <c:ext xmlns:c16="http://schemas.microsoft.com/office/drawing/2014/chart" uri="{C3380CC4-5D6E-409C-BE32-E72D297353CC}">
              <c16:uniqueId val="{00000016-9F27-470D-86C6-0B04355F16A8}"/>
            </c:ext>
          </c:extLst>
        </c:ser>
        <c:dLbls>
          <c:showLegendKey val="0"/>
          <c:showVal val="0"/>
          <c:showCatName val="0"/>
          <c:showSerName val="0"/>
          <c:showPercent val="0"/>
          <c:showBubbleSize val="0"/>
        </c:dLbls>
        <c:gapWidth val="60"/>
        <c:overlap val="100"/>
        <c:axId val="466301359"/>
        <c:axId val="1"/>
      </c:barChart>
      <c:catAx>
        <c:axId val="46630135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66301359"/>
        <c:crosses val="min"/>
        <c:crossBetween val="between"/>
        <c:majorUnit val="20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50118990956686E-2"/>
          <c:y val="8.1349206349206352E-2"/>
          <c:w val="0.95049976201808661"/>
          <c:h val="0.8928571428571429"/>
        </c:manualLayout>
      </c:layout>
      <c:barChart>
        <c:barDir val="col"/>
        <c:grouping val="stacked"/>
        <c:varyColors val="0"/>
        <c:ser>
          <c:idx val="0"/>
          <c:order val="0"/>
          <c:spPr>
            <a:solidFill>
              <a:schemeClr val="accent1"/>
            </a:solidFill>
            <a:ln>
              <a:noFill/>
            </a:ln>
          </c:spPr>
          <c:invertIfNegative val="0"/>
          <c:dLbls>
            <c:dLbl>
              <c:idx val="0"/>
              <c:layout>
                <c:manualLayout>
                  <c:x val="0"/>
                  <c:y val="-0.48759920634920634"/>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84-4439-A6DA-934D61A0ABF4}"/>
                </c:ext>
              </c:extLst>
            </c:dLbl>
            <c:dLbl>
              <c:idx val="1"/>
              <c:layout>
                <c:manualLayout>
                  <c:x val="0"/>
                  <c:y val="-0.15922619047619047"/>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84-4439-A6DA-934D61A0ABF4}"/>
                </c:ext>
              </c:extLst>
            </c:dLbl>
            <c:dLbl>
              <c:idx val="2"/>
              <c:layout>
                <c:manualLayout>
                  <c:x val="0"/>
                  <c:y val="-0.16865079365079366"/>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84-4439-A6DA-934D61A0ABF4}"/>
                </c:ext>
              </c:extLst>
            </c:dLbl>
            <c:dLbl>
              <c:idx val="3"/>
              <c:layout>
                <c:manualLayout>
                  <c:x val="0"/>
                  <c:y val="-0.22321428571428573"/>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84-4439-A6DA-934D61A0ABF4}"/>
                </c:ext>
              </c:extLst>
            </c:dLbl>
            <c:dLbl>
              <c:idx val="4"/>
              <c:layout>
                <c:manualLayout>
                  <c:x val="0"/>
                  <c:y val="-7.7876984126984128E-2"/>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84-4439-A6DA-934D61A0AB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9</c:v>
                </c:pt>
                <c:pt idx="1">
                  <c:v>13</c:v>
                </c:pt>
                <c:pt idx="2">
                  <c:v>14.000000000000002</c:v>
                </c:pt>
                <c:pt idx="3">
                  <c:v>20</c:v>
                </c:pt>
                <c:pt idx="4">
                  <c:v>4</c:v>
                </c:pt>
              </c:numCache>
            </c:numRef>
          </c:val>
          <c:extLst>
            <c:ext xmlns:c16="http://schemas.microsoft.com/office/drawing/2014/chart" uri="{C3380CC4-5D6E-409C-BE32-E72D297353CC}">
              <c16:uniqueId val="{00000005-3E84-4439-A6DA-934D61A0ABF4}"/>
            </c:ext>
          </c:extLst>
        </c:ser>
        <c:dLbls>
          <c:showLegendKey val="0"/>
          <c:showVal val="0"/>
          <c:showCatName val="0"/>
          <c:showSerName val="0"/>
          <c:showPercent val="0"/>
          <c:showBubbleSize val="0"/>
        </c:dLbls>
        <c:gapWidth val="80"/>
        <c:overlap val="100"/>
        <c:axId val="892130160"/>
        <c:axId val="1"/>
      </c:barChart>
      <c:catAx>
        <c:axId val="89213016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9"/>
          <c:min val="0"/>
        </c:scaling>
        <c:delete val="1"/>
        <c:axPos val="l"/>
        <c:numFmt formatCode="General" sourceLinked="1"/>
        <c:majorTickMark val="out"/>
        <c:minorTickMark val="none"/>
        <c:tickLblPos val="nextTo"/>
        <c:crossAx val="8921301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202764976958528"/>
          <c:y val="2.7012987012987013E-2"/>
          <c:w val="0.4359447004608295"/>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36-47FE-9C0D-79BE2F84EE1F}"/>
                </c:ext>
              </c:extLst>
            </c:dLbl>
            <c:dLbl>
              <c:idx val="1"/>
              <c:layout>
                <c:manualLayout>
                  <c:x val="0"/>
                  <c:y val="-5.1948051948051948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7</c:v>
                </c:pt>
                <c:pt idx="1">
                  <c:v>24</c:v>
                </c:pt>
              </c:numCache>
            </c:numRef>
          </c:val>
          <c:extLst>
            <c:ext xmlns:c16="http://schemas.microsoft.com/office/drawing/2014/chart" uri="{C3380CC4-5D6E-409C-BE32-E72D297353CC}">
              <c16:uniqueId val="{00000002-1836-47FE-9C0D-79BE2F84EE1F}"/>
            </c:ext>
          </c:extLst>
        </c:ser>
        <c:ser>
          <c:idx val="1"/>
          <c:order val="1"/>
          <c:spPr>
            <a:solidFill>
              <a:srgbClr val="C0E6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36-47FE-9C0D-79BE2F84EE1F}"/>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7</c:v>
                </c:pt>
                <c:pt idx="1">
                  <c:v>7</c:v>
                </c:pt>
              </c:numCache>
            </c:numRef>
          </c:val>
          <c:extLst>
            <c:ext xmlns:c16="http://schemas.microsoft.com/office/drawing/2014/chart" uri="{C3380CC4-5D6E-409C-BE32-E72D297353CC}">
              <c16:uniqueId val="{00000005-1836-47FE-9C0D-79BE2F84EE1F}"/>
            </c:ext>
          </c:extLst>
        </c:ser>
        <c:ser>
          <c:idx val="2"/>
          <c:order val="2"/>
          <c:spPr>
            <a:solidFill>
              <a:srgbClr val="F3F3F3"/>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836-47FE-9C0D-79BE2F84EE1F}"/>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1</c:v>
                </c:pt>
                <c:pt idx="1">
                  <c:v>11</c:v>
                </c:pt>
              </c:numCache>
            </c:numRef>
          </c:val>
          <c:extLst>
            <c:ext xmlns:c16="http://schemas.microsoft.com/office/drawing/2014/chart" uri="{C3380CC4-5D6E-409C-BE32-E72D297353CC}">
              <c16:uniqueId val="{00000008-1836-47FE-9C0D-79BE2F84EE1F}"/>
            </c:ext>
          </c:extLst>
        </c:ser>
        <c:ser>
          <c:idx val="3"/>
          <c:order val="3"/>
          <c:spPr>
            <a:solidFill>
              <a:srgbClr val="ECE5F4"/>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836-47FE-9C0D-79BE2F84EE1F}"/>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836-47FE-9C0D-79BE2F84EE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5</c:v>
                </c:pt>
                <c:pt idx="1">
                  <c:v>58</c:v>
                </c:pt>
              </c:numCache>
            </c:numRef>
          </c:val>
          <c:extLst>
            <c:ext xmlns:c16="http://schemas.microsoft.com/office/drawing/2014/chart" uri="{C3380CC4-5D6E-409C-BE32-E72D297353CC}">
              <c16:uniqueId val="{0000000B-1836-47FE-9C0D-79BE2F84EE1F}"/>
            </c:ext>
          </c:extLst>
        </c:ser>
        <c:dLbls>
          <c:showLegendKey val="0"/>
          <c:showVal val="0"/>
          <c:showCatName val="0"/>
          <c:showSerName val="0"/>
          <c:showPercent val="0"/>
          <c:showBubbleSize val="0"/>
        </c:dLbls>
        <c:gapWidth val="80"/>
        <c:overlap val="100"/>
        <c:axId val="1171878143"/>
        <c:axId val="1"/>
      </c:barChart>
      <c:catAx>
        <c:axId val="117187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1878143"/>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83410138248848"/>
          <c:y val="2.7012987012987013E-2"/>
          <c:w val="0.4433179723502304"/>
          <c:h val="0.94597402597402602"/>
        </c:manualLayout>
      </c:layout>
      <c:barChart>
        <c:barDir val="col"/>
        <c:grouping val="stacked"/>
        <c:varyColors val="0"/>
        <c:ser>
          <c:idx val="0"/>
          <c:order val="0"/>
          <c:spPr>
            <a:solidFill>
              <a:srgbClr val="3399CC"/>
            </a:solidFill>
            <a:ln>
              <a:noFill/>
            </a:ln>
          </c:spPr>
          <c:invertIfNegative val="0"/>
          <c:dLbls>
            <c:dLbl>
              <c:idx val="0"/>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CE-4817-B15E-CBF6E409FE89}"/>
                </c:ext>
              </c:extLst>
            </c:dLbl>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CE-4817-B15E-CBF6E409FE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5</c:v>
                </c:pt>
                <c:pt idx="1">
                  <c:v>95</c:v>
                </c:pt>
              </c:numCache>
            </c:numRef>
          </c:val>
          <c:extLst>
            <c:ext xmlns:c16="http://schemas.microsoft.com/office/drawing/2014/chart" uri="{C3380CC4-5D6E-409C-BE32-E72D297353CC}">
              <c16:uniqueId val="{00000002-91CE-4817-B15E-CBF6E409FE89}"/>
            </c:ext>
          </c:extLst>
        </c:ser>
        <c:ser>
          <c:idx val="1"/>
          <c:order val="1"/>
          <c:spPr>
            <a:solidFill>
              <a:srgbClr val="C0E6F4"/>
            </a:solidFill>
            <a:ln>
              <a:noFill/>
            </a:ln>
          </c:spPr>
          <c:invertIfNegative val="0"/>
          <c:val>
            <c:numRef>
              <c:f>Sheet1!$A$2:$B$2</c:f>
              <c:numCache>
                <c:formatCode>General</c:formatCode>
                <c:ptCount val="2"/>
                <c:pt idx="0">
                  <c:v>5</c:v>
                </c:pt>
                <c:pt idx="1">
                  <c:v>5</c:v>
                </c:pt>
              </c:numCache>
            </c:numRef>
          </c:val>
          <c:extLst>
            <c:ext xmlns:c16="http://schemas.microsoft.com/office/drawing/2014/chart" uri="{C3380CC4-5D6E-409C-BE32-E72D297353CC}">
              <c16:uniqueId val="{00000003-91CE-4817-B15E-CBF6E409FE89}"/>
            </c:ext>
          </c:extLst>
        </c:ser>
        <c:dLbls>
          <c:showLegendKey val="0"/>
          <c:showVal val="0"/>
          <c:showCatName val="0"/>
          <c:showSerName val="0"/>
          <c:showPercent val="0"/>
          <c:showBubbleSize val="0"/>
        </c:dLbls>
        <c:gapWidth val="80"/>
        <c:overlap val="100"/>
        <c:axId val="1173379119"/>
        <c:axId val="1"/>
      </c:barChart>
      <c:catAx>
        <c:axId val="11733791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73379119"/>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4/3/22</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4/3/22</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10"/>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3777046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381.xml"/><Relationship Id="rId21" Type="http://schemas.openxmlformats.org/officeDocument/2006/relationships/tags" Target="../tags/tag376.xml"/><Relationship Id="rId42" Type="http://schemas.openxmlformats.org/officeDocument/2006/relationships/tags" Target="../tags/tag397.xml"/><Relationship Id="rId47" Type="http://schemas.openxmlformats.org/officeDocument/2006/relationships/tags" Target="../tags/tag402.xml"/><Relationship Id="rId63" Type="http://schemas.openxmlformats.org/officeDocument/2006/relationships/tags" Target="../tags/tag418.xml"/><Relationship Id="rId68" Type="http://schemas.openxmlformats.org/officeDocument/2006/relationships/tags" Target="../tags/tag423.xml"/><Relationship Id="rId16" Type="http://schemas.openxmlformats.org/officeDocument/2006/relationships/tags" Target="../tags/tag371.xml"/><Relationship Id="rId11" Type="http://schemas.openxmlformats.org/officeDocument/2006/relationships/tags" Target="../tags/tag366.xml"/><Relationship Id="rId32" Type="http://schemas.openxmlformats.org/officeDocument/2006/relationships/tags" Target="../tags/tag387.xml"/><Relationship Id="rId37" Type="http://schemas.openxmlformats.org/officeDocument/2006/relationships/tags" Target="../tags/tag392.xml"/><Relationship Id="rId53" Type="http://schemas.openxmlformats.org/officeDocument/2006/relationships/tags" Target="../tags/tag408.xml"/><Relationship Id="rId58" Type="http://schemas.openxmlformats.org/officeDocument/2006/relationships/tags" Target="../tags/tag413.xml"/><Relationship Id="rId74" Type="http://schemas.openxmlformats.org/officeDocument/2006/relationships/tags" Target="../tags/tag429.xml"/><Relationship Id="rId79" Type="http://schemas.openxmlformats.org/officeDocument/2006/relationships/slideLayout" Target="../slideLayouts/slideLayout3.xml"/><Relationship Id="rId5" Type="http://schemas.openxmlformats.org/officeDocument/2006/relationships/tags" Target="../tags/tag360.xml"/><Relationship Id="rId61" Type="http://schemas.openxmlformats.org/officeDocument/2006/relationships/tags" Target="../tags/tag416.xml"/><Relationship Id="rId82" Type="http://schemas.openxmlformats.org/officeDocument/2006/relationships/image" Target="../media/image18.emf"/><Relationship Id="rId19" Type="http://schemas.openxmlformats.org/officeDocument/2006/relationships/tags" Target="../tags/tag374.xml"/><Relationship Id="rId14" Type="http://schemas.openxmlformats.org/officeDocument/2006/relationships/tags" Target="../tags/tag369.xml"/><Relationship Id="rId22" Type="http://schemas.openxmlformats.org/officeDocument/2006/relationships/tags" Target="../tags/tag377.xml"/><Relationship Id="rId27" Type="http://schemas.openxmlformats.org/officeDocument/2006/relationships/tags" Target="../tags/tag382.xml"/><Relationship Id="rId30" Type="http://schemas.openxmlformats.org/officeDocument/2006/relationships/tags" Target="../tags/tag385.xml"/><Relationship Id="rId35" Type="http://schemas.openxmlformats.org/officeDocument/2006/relationships/tags" Target="../tags/tag390.xml"/><Relationship Id="rId43" Type="http://schemas.openxmlformats.org/officeDocument/2006/relationships/tags" Target="../tags/tag398.xml"/><Relationship Id="rId48" Type="http://schemas.openxmlformats.org/officeDocument/2006/relationships/tags" Target="../tags/tag403.xml"/><Relationship Id="rId56" Type="http://schemas.openxmlformats.org/officeDocument/2006/relationships/tags" Target="../tags/tag411.xml"/><Relationship Id="rId64" Type="http://schemas.openxmlformats.org/officeDocument/2006/relationships/tags" Target="../tags/tag419.xml"/><Relationship Id="rId69" Type="http://schemas.openxmlformats.org/officeDocument/2006/relationships/tags" Target="../tags/tag424.xml"/><Relationship Id="rId77" Type="http://schemas.openxmlformats.org/officeDocument/2006/relationships/tags" Target="../tags/tag432.xml"/><Relationship Id="rId8" Type="http://schemas.openxmlformats.org/officeDocument/2006/relationships/tags" Target="../tags/tag363.xml"/><Relationship Id="rId51" Type="http://schemas.openxmlformats.org/officeDocument/2006/relationships/tags" Target="../tags/tag406.xml"/><Relationship Id="rId72" Type="http://schemas.openxmlformats.org/officeDocument/2006/relationships/tags" Target="../tags/tag427.xml"/><Relationship Id="rId80" Type="http://schemas.openxmlformats.org/officeDocument/2006/relationships/chart" Target="../charts/chart13.xml"/><Relationship Id="rId3" Type="http://schemas.openxmlformats.org/officeDocument/2006/relationships/tags" Target="../tags/tag358.xml"/><Relationship Id="rId12" Type="http://schemas.openxmlformats.org/officeDocument/2006/relationships/tags" Target="../tags/tag367.xml"/><Relationship Id="rId17" Type="http://schemas.openxmlformats.org/officeDocument/2006/relationships/tags" Target="../tags/tag372.xml"/><Relationship Id="rId25" Type="http://schemas.openxmlformats.org/officeDocument/2006/relationships/tags" Target="../tags/tag380.xml"/><Relationship Id="rId33" Type="http://schemas.openxmlformats.org/officeDocument/2006/relationships/tags" Target="../tags/tag388.xml"/><Relationship Id="rId38" Type="http://schemas.openxmlformats.org/officeDocument/2006/relationships/tags" Target="../tags/tag393.xml"/><Relationship Id="rId46" Type="http://schemas.openxmlformats.org/officeDocument/2006/relationships/tags" Target="../tags/tag401.xml"/><Relationship Id="rId59" Type="http://schemas.openxmlformats.org/officeDocument/2006/relationships/tags" Target="../tags/tag414.xml"/><Relationship Id="rId67" Type="http://schemas.openxmlformats.org/officeDocument/2006/relationships/tags" Target="../tags/tag422.xml"/><Relationship Id="rId20" Type="http://schemas.openxmlformats.org/officeDocument/2006/relationships/tags" Target="../tags/tag375.xml"/><Relationship Id="rId41" Type="http://schemas.openxmlformats.org/officeDocument/2006/relationships/tags" Target="../tags/tag396.xml"/><Relationship Id="rId54" Type="http://schemas.openxmlformats.org/officeDocument/2006/relationships/tags" Target="../tags/tag409.xml"/><Relationship Id="rId62" Type="http://schemas.openxmlformats.org/officeDocument/2006/relationships/tags" Target="../tags/tag417.xml"/><Relationship Id="rId70" Type="http://schemas.openxmlformats.org/officeDocument/2006/relationships/tags" Target="../tags/tag425.xml"/><Relationship Id="rId75" Type="http://schemas.openxmlformats.org/officeDocument/2006/relationships/tags" Target="../tags/tag430.xml"/><Relationship Id="rId83" Type="http://schemas.openxmlformats.org/officeDocument/2006/relationships/chart" Target="../charts/chart14.xml"/><Relationship Id="rId1" Type="http://schemas.openxmlformats.org/officeDocument/2006/relationships/tags" Target="../tags/tag356.xml"/><Relationship Id="rId6" Type="http://schemas.openxmlformats.org/officeDocument/2006/relationships/tags" Target="../tags/tag361.xml"/><Relationship Id="rId15" Type="http://schemas.openxmlformats.org/officeDocument/2006/relationships/tags" Target="../tags/tag370.xml"/><Relationship Id="rId23" Type="http://schemas.openxmlformats.org/officeDocument/2006/relationships/tags" Target="../tags/tag378.xml"/><Relationship Id="rId28" Type="http://schemas.openxmlformats.org/officeDocument/2006/relationships/tags" Target="../tags/tag383.xml"/><Relationship Id="rId36" Type="http://schemas.openxmlformats.org/officeDocument/2006/relationships/tags" Target="../tags/tag391.xml"/><Relationship Id="rId49" Type="http://schemas.openxmlformats.org/officeDocument/2006/relationships/tags" Target="../tags/tag404.xml"/><Relationship Id="rId57" Type="http://schemas.openxmlformats.org/officeDocument/2006/relationships/tags" Target="../tags/tag412.xml"/><Relationship Id="rId10" Type="http://schemas.openxmlformats.org/officeDocument/2006/relationships/tags" Target="../tags/tag365.xml"/><Relationship Id="rId31" Type="http://schemas.openxmlformats.org/officeDocument/2006/relationships/tags" Target="../tags/tag386.xml"/><Relationship Id="rId44" Type="http://schemas.openxmlformats.org/officeDocument/2006/relationships/tags" Target="../tags/tag399.xml"/><Relationship Id="rId52" Type="http://schemas.openxmlformats.org/officeDocument/2006/relationships/tags" Target="../tags/tag407.xml"/><Relationship Id="rId60" Type="http://schemas.openxmlformats.org/officeDocument/2006/relationships/tags" Target="../tags/tag415.xml"/><Relationship Id="rId65" Type="http://schemas.openxmlformats.org/officeDocument/2006/relationships/tags" Target="../tags/tag420.xml"/><Relationship Id="rId73" Type="http://schemas.openxmlformats.org/officeDocument/2006/relationships/tags" Target="../tags/tag428.xml"/><Relationship Id="rId78" Type="http://schemas.openxmlformats.org/officeDocument/2006/relationships/tags" Target="../tags/tag433.xml"/><Relationship Id="rId81" Type="http://schemas.openxmlformats.org/officeDocument/2006/relationships/oleObject" Target="../embeddings/oleObject10.bin"/><Relationship Id="rId4" Type="http://schemas.openxmlformats.org/officeDocument/2006/relationships/tags" Target="../tags/tag359.xml"/><Relationship Id="rId9" Type="http://schemas.openxmlformats.org/officeDocument/2006/relationships/tags" Target="../tags/tag364.xml"/><Relationship Id="rId13" Type="http://schemas.openxmlformats.org/officeDocument/2006/relationships/tags" Target="../tags/tag368.xml"/><Relationship Id="rId18" Type="http://schemas.openxmlformats.org/officeDocument/2006/relationships/tags" Target="../tags/tag373.xml"/><Relationship Id="rId39" Type="http://schemas.openxmlformats.org/officeDocument/2006/relationships/tags" Target="../tags/tag394.xml"/><Relationship Id="rId34" Type="http://schemas.openxmlformats.org/officeDocument/2006/relationships/tags" Target="../tags/tag389.xml"/><Relationship Id="rId50" Type="http://schemas.openxmlformats.org/officeDocument/2006/relationships/tags" Target="../tags/tag405.xml"/><Relationship Id="rId55" Type="http://schemas.openxmlformats.org/officeDocument/2006/relationships/tags" Target="../tags/tag410.xml"/><Relationship Id="rId76" Type="http://schemas.openxmlformats.org/officeDocument/2006/relationships/tags" Target="../tags/tag431.xml"/><Relationship Id="rId7" Type="http://schemas.openxmlformats.org/officeDocument/2006/relationships/tags" Target="../tags/tag362.xml"/><Relationship Id="rId71" Type="http://schemas.openxmlformats.org/officeDocument/2006/relationships/tags" Target="../tags/tag426.xml"/><Relationship Id="rId2" Type="http://schemas.openxmlformats.org/officeDocument/2006/relationships/tags" Target="../tags/tag357.xml"/><Relationship Id="rId29" Type="http://schemas.openxmlformats.org/officeDocument/2006/relationships/tags" Target="../tags/tag384.xml"/><Relationship Id="rId24" Type="http://schemas.openxmlformats.org/officeDocument/2006/relationships/tags" Target="../tags/tag379.xml"/><Relationship Id="rId40" Type="http://schemas.openxmlformats.org/officeDocument/2006/relationships/tags" Target="../tags/tag395.xml"/><Relationship Id="rId45" Type="http://schemas.openxmlformats.org/officeDocument/2006/relationships/tags" Target="../tags/tag400.xml"/><Relationship Id="rId66" Type="http://schemas.openxmlformats.org/officeDocument/2006/relationships/tags" Target="../tags/tag421.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434.xml"/><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435.xml"/><Relationship Id="rId4" Type="http://schemas.openxmlformats.org/officeDocument/2006/relationships/image" Target="../media/image20.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37.xml"/><Relationship Id="rId1" Type="http://schemas.openxmlformats.org/officeDocument/2006/relationships/tags" Target="../tags/tag436.x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emf"/><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oleObject" Target="../embeddings/oleObject14.bin"/><Relationship Id="rId9" Type="http://schemas.openxmlformats.org/officeDocument/2006/relationships/image" Target="../media/image24.png"/><Relationship Id="rId14" Type="http://schemas.openxmlformats.org/officeDocument/2006/relationships/image" Target="../media/image2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440.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117" Type="http://schemas.openxmlformats.org/officeDocument/2006/relationships/tags" Target="../tags/tag557.xml"/><Relationship Id="rId21" Type="http://schemas.openxmlformats.org/officeDocument/2006/relationships/tags" Target="../tags/tag461.xml"/><Relationship Id="rId42" Type="http://schemas.openxmlformats.org/officeDocument/2006/relationships/tags" Target="../tags/tag482.xml"/><Relationship Id="rId63" Type="http://schemas.openxmlformats.org/officeDocument/2006/relationships/tags" Target="../tags/tag503.xml"/><Relationship Id="rId84" Type="http://schemas.openxmlformats.org/officeDocument/2006/relationships/tags" Target="../tags/tag524.xml"/><Relationship Id="rId138" Type="http://schemas.openxmlformats.org/officeDocument/2006/relationships/tags" Target="../tags/tag578.xml"/><Relationship Id="rId159" Type="http://schemas.openxmlformats.org/officeDocument/2006/relationships/tags" Target="../tags/tag599.xml"/><Relationship Id="rId170" Type="http://schemas.openxmlformats.org/officeDocument/2006/relationships/tags" Target="../tags/tag610.xml"/><Relationship Id="rId191" Type="http://schemas.openxmlformats.org/officeDocument/2006/relationships/tags" Target="../tags/tag631.xml"/><Relationship Id="rId107" Type="http://schemas.openxmlformats.org/officeDocument/2006/relationships/tags" Target="../tags/tag547.xml"/><Relationship Id="rId11" Type="http://schemas.openxmlformats.org/officeDocument/2006/relationships/tags" Target="../tags/tag451.xml"/><Relationship Id="rId32" Type="http://schemas.openxmlformats.org/officeDocument/2006/relationships/tags" Target="../tags/tag472.xml"/><Relationship Id="rId53" Type="http://schemas.openxmlformats.org/officeDocument/2006/relationships/tags" Target="../tags/tag493.xml"/><Relationship Id="rId74" Type="http://schemas.openxmlformats.org/officeDocument/2006/relationships/tags" Target="../tags/tag514.xml"/><Relationship Id="rId128" Type="http://schemas.openxmlformats.org/officeDocument/2006/relationships/tags" Target="../tags/tag568.xml"/><Relationship Id="rId149" Type="http://schemas.openxmlformats.org/officeDocument/2006/relationships/tags" Target="../tags/tag589.xml"/><Relationship Id="rId5" Type="http://schemas.openxmlformats.org/officeDocument/2006/relationships/tags" Target="../tags/tag445.xml"/><Relationship Id="rId95" Type="http://schemas.openxmlformats.org/officeDocument/2006/relationships/tags" Target="../tags/tag535.xml"/><Relationship Id="rId160" Type="http://schemas.openxmlformats.org/officeDocument/2006/relationships/tags" Target="../tags/tag600.xml"/><Relationship Id="rId181" Type="http://schemas.openxmlformats.org/officeDocument/2006/relationships/tags" Target="../tags/tag621.xml"/><Relationship Id="rId22" Type="http://schemas.openxmlformats.org/officeDocument/2006/relationships/tags" Target="../tags/tag462.xml"/><Relationship Id="rId43" Type="http://schemas.openxmlformats.org/officeDocument/2006/relationships/tags" Target="../tags/tag483.xml"/><Relationship Id="rId64" Type="http://schemas.openxmlformats.org/officeDocument/2006/relationships/tags" Target="../tags/tag504.xml"/><Relationship Id="rId118" Type="http://schemas.openxmlformats.org/officeDocument/2006/relationships/tags" Target="../tags/tag558.xml"/><Relationship Id="rId139" Type="http://schemas.openxmlformats.org/officeDocument/2006/relationships/tags" Target="../tags/tag579.xml"/><Relationship Id="rId85" Type="http://schemas.openxmlformats.org/officeDocument/2006/relationships/tags" Target="../tags/tag525.xml"/><Relationship Id="rId150" Type="http://schemas.openxmlformats.org/officeDocument/2006/relationships/tags" Target="../tags/tag590.xml"/><Relationship Id="rId171" Type="http://schemas.openxmlformats.org/officeDocument/2006/relationships/tags" Target="../tags/tag611.xml"/><Relationship Id="rId192" Type="http://schemas.openxmlformats.org/officeDocument/2006/relationships/tags" Target="../tags/tag632.xml"/><Relationship Id="rId12" Type="http://schemas.openxmlformats.org/officeDocument/2006/relationships/tags" Target="../tags/tag452.xml"/><Relationship Id="rId33" Type="http://schemas.openxmlformats.org/officeDocument/2006/relationships/tags" Target="../tags/tag473.xml"/><Relationship Id="rId108" Type="http://schemas.openxmlformats.org/officeDocument/2006/relationships/tags" Target="../tags/tag548.xml"/><Relationship Id="rId129" Type="http://schemas.openxmlformats.org/officeDocument/2006/relationships/tags" Target="../tags/tag569.xml"/><Relationship Id="rId54" Type="http://schemas.openxmlformats.org/officeDocument/2006/relationships/tags" Target="../tags/tag494.xml"/><Relationship Id="rId75" Type="http://schemas.openxmlformats.org/officeDocument/2006/relationships/tags" Target="../tags/tag515.xml"/><Relationship Id="rId96" Type="http://schemas.openxmlformats.org/officeDocument/2006/relationships/tags" Target="../tags/tag536.xml"/><Relationship Id="rId140" Type="http://schemas.openxmlformats.org/officeDocument/2006/relationships/tags" Target="../tags/tag580.xml"/><Relationship Id="rId161" Type="http://schemas.openxmlformats.org/officeDocument/2006/relationships/tags" Target="../tags/tag601.xml"/><Relationship Id="rId182" Type="http://schemas.openxmlformats.org/officeDocument/2006/relationships/tags" Target="../tags/tag622.xml"/><Relationship Id="rId6" Type="http://schemas.openxmlformats.org/officeDocument/2006/relationships/tags" Target="../tags/tag446.xml"/><Relationship Id="rId23" Type="http://schemas.openxmlformats.org/officeDocument/2006/relationships/tags" Target="../tags/tag463.xml"/><Relationship Id="rId119" Type="http://schemas.openxmlformats.org/officeDocument/2006/relationships/tags" Target="../tags/tag559.xml"/><Relationship Id="rId44" Type="http://schemas.openxmlformats.org/officeDocument/2006/relationships/tags" Target="../tags/tag484.xml"/><Relationship Id="rId65" Type="http://schemas.openxmlformats.org/officeDocument/2006/relationships/tags" Target="../tags/tag505.xml"/><Relationship Id="rId86" Type="http://schemas.openxmlformats.org/officeDocument/2006/relationships/tags" Target="../tags/tag526.xml"/><Relationship Id="rId130" Type="http://schemas.openxmlformats.org/officeDocument/2006/relationships/tags" Target="../tags/tag570.xml"/><Relationship Id="rId151" Type="http://schemas.openxmlformats.org/officeDocument/2006/relationships/tags" Target="../tags/tag591.xml"/><Relationship Id="rId172" Type="http://schemas.openxmlformats.org/officeDocument/2006/relationships/tags" Target="../tags/tag612.xml"/><Relationship Id="rId193" Type="http://schemas.openxmlformats.org/officeDocument/2006/relationships/tags" Target="../tags/tag633.xml"/><Relationship Id="rId13" Type="http://schemas.openxmlformats.org/officeDocument/2006/relationships/tags" Target="../tags/tag453.xml"/><Relationship Id="rId109" Type="http://schemas.openxmlformats.org/officeDocument/2006/relationships/tags" Target="../tags/tag549.xml"/><Relationship Id="rId34" Type="http://schemas.openxmlformats.org/officeDocument/2006/relationships/tags" Target="../tags/tag474.xml"/><Relationship Id="rId55" Type="http://schemas.openxmlformats.org/officeDocument/2006/relationships/tags" Target="../tags/tag495.xml"/><Relationship Id="rId76" Type="http://schemas.openxmlformats.org/officeDocument/2006/relationships/tags" Target="../tags/tag516.xml"/><Relationship Id="rId97" Type="http://schemas.openxmlformats.org/officeDocument/2006/relationships/tags" Target="../tags/tag537.xml"/><Relationship Id="rId120" Type="http://schemas.openxmlformats.org/officeDocument/2006/relationships/tags" Target="../tags/tag560.xml"/><Relationship Id="rId141" Type="http://schemas.openxmlformats.org/officeDocument/2006/relationships/tags" Target="../tags/tag581.xml"/><Relationship Id="rId7" Type="http://schemas.openxmlformats.org/officeDocument/2006/relationships/tags" Target="../tags/tag447.xml"/><Relationship Id="rId71" Type="http://schemas.openxmlformats.org/officeDocument/2006/relationships/tags" Target="../tags/tag511.xml"/><Relationship Id="rId92" Type="http://schemas.openxmlformats.org/officeDocument/2006/relationships/tags" Target="../tags/tag532.xml"/><Relationship Id="rId162" Type="http://schemas.openxmlformats.org/officeDocument/2006/relationships/tags" Target="../tags/tag602.xml"/><Relationship Id="rId183" Type="http://schemas.openxmlformats.org/officeDocument/2006/relationships/tags" Target="../tags/tag623.xml"/><Relationship Id="rId2" Type="http://schemas.openxmlformats.org/officeDocument/2006/relationships/tags" Target="../tags/tag442.xml"/><Relationship Id="rId29" Type="http://schemas.openxmlformats.org/officeDocument/2006/relationships/tags" Target="../tags/tag469.xml"/><Relationship Id="rId24" Type="http://schemas.openxmlformats.org/officeDocument/2006/relationships/tags" Target="../tags/tag464.xml"/><Relationship Id="rId40" Type="http://schemas.openxmlformats.org/officeDocument/2006/relationships/tags" Target="../tags/tag480.xml"/><Relationship Id="rId45" Type="http://schemas.openxmlformats.org/officeDocument/2006/relationships/tags" Target="../tags/tag485.xml"/><Relationship Id="rId66" Type="http://schemas.openxmlformats.org/officeDocument/2006/relationships/tags" Target="../tags/tag506.xml"/><Relationship Id="rId87" Type="http://schemas.openxmlformats.org/officeDocument/2006/relationships/tags" Target="../tags/tag527.xml"/><Relationship Id="rId110" Type="http://schemas.openxmlformats.org/officeDocument/2006/relationships/tags" Target="../tags/tag550.xml"/><Relationship Id="rId115" Type="http://schemas.openxmlformats.org/officeDocument/2006/relationships/tags" Target="../tags/tag555.xml"/><Relationship Id="rId131" Type="http://schemas.openxmlformats.org/officeDocument/2006/relationships/tags" Target="../tags/tag571.xml"/><Relationship Id="rId136" Type="http://schemas.openxmlformats.org/officeDocument/2006/relationships/tags" Target="../tags/tag576.xml"/><Relationship Id="rId157" Type="http://schemas.openxmlformats.org/officeDocument/2006/relationships/tags" Target="../tags/tag597.xml"/><Relationship Id="rId178" Type="http://schemas.openxmlformats.org/officeDocument/2006/relationships/tags" Target="../tags/tag618.xml"/><Relationship Id="rId61" Type="http://schemas.openxmlformats.org/officeDocument/2006/relationships/tags" Target="../tags/tag501.xml"/><Relationship Id="rId82" Type="http://schemas.openxmlformats.org/officeDocument/2006/relationships/tags" Target="../tags/tag522.xml"/><Relationship Id="rId152" Type="http://schemas.openxmlformats.org/officeDocument/2006/relationships/tags" Target="../tags/tag592.xml"/><Relationship Id="rId173" Type="http://schemas.openxmlformats.org/officeDocument/2006/relationships/tags" Target="../tags/tag613.xml"/><Relationship Id="rId194" Type="http://schemas.openxmlformats.org/officeDocument/2006/relationships/slideLayout" Target="../slideLayouts/slideLayout3.xml"/><Relationship Id="rId199" Type="http://schemas.openxmlformats.org/officeDocument/2006/relationships/chart" Target="../charts/chart16.xml"/><Relationship Id="rId19" Type="http://schemas.openxmlformats.org/officeDocument/2006/relationships/tags" Target="../tags/tag459.xml"/><Relationship Id="rId14" Type="http://schemas.openxmlformats.org/officeDocument/2006/relationships/tags" Target="../tags/tag454.xml"/><Relationship Id="rId30" Type="http://schemas.openxmlformats.org/officeDocument/2006/relationships/tags" Target="../tags/tag470.xml"/><Relationship Id="rId35" Type="http://schemas.openxmlformats.org/officeDocument/2006/relationships/tags" Target="../tags/tag475.xml"/><Relationship Id="rId56" Type="http://schemas.openxmlformats.org/officeDocument/2006/relationships/tags" Target="../tags/tag496.xml"/><Relationship Id="rId77" Type="http://schemas.openxmlformats.org/officeDocument/2006/relationships/tags" Target="../tags/tag517.xml"/><Relationship Id="rId100" Type="http://schemas.openxmlformats.org/officeDocument/2006/relationships/tags" Target="../tags/tag540.xml"/><Relationship Id="rId105" Type="http://schemas.openxmlformats.org/officeDocument/2006/relationships/tags" Target="../tags/tag545.xml"/><Relationship Id="rId126" Type="http://schemas.openxmlformats.org/officeDocument/2006/relationships/tags" Target="../tags/tag566.xml"/><Relationship Id="rId147" Type="http://schemas.openxmlformats.org/officeDocument/2006/relationships/tags" Target="../tags/tag587.xml"/><Relationship Id="rId168" Type="http://schemas.openxmlformats.org/officeDocument/2006/relationships/tags" Target="../tags/tag608.xml"/><Relationship Id="rId8" Type="http://schemas.openxmlformats.org/officeDocument/2006/relationships/tags" Target="../tags/tag448.xml"/><Relationship Id="rId51" Type="http://schemas.openxmlformats.org/officeDocument/2006/relationships/tags" Target="../tags/tag491.xml"/><Relationship Id="rId72" Type="http://schemas.openxmlformats.org/officeDocument/2006/relationships/tags" Target="../tags/tag512.xml"/><Relationship Id="rId93" Type="http://schemas.openxmlformats.org/officeDocument/2006/relationships/tags" Target="../tags/tag533.xml"/><Relationship Id="rId98" Type="http://schemas.openxmlformats.org/officeDocument/2006/relationships/tags" Target="../tags/tag538.xml"/><Relationship Id="rId121" Type="http://schemas.openxmlformats.org/officeDocument/2006/relationships/tags" Target="../tags/tag561.xml"/><Relationship Id="rId142" Type="http://schemas.openxmlformats.org/officeDocument/2006/relationships/tags" Target="../tags/tag582.xml"/><Relationship Id="rId163" Type="http://schemas.openxmlformats.org/officeDocument/2006/relationships/tags" Target="../tags/tag603.xml"/><Relationship Id="rId184" Type="http://schemas.openxmlformats.org/officeDocument/2006/relationships/tags" Target="../tags/tag624.xml"/><Relationship Id="rId189" Type="http://schemas.openxmlformats.org/officeDocument/2006/relationships/tags" Target="../tags/tag629.xml"/><Relationship Id="rId3" Type="http://schemas.openxmlformats.org/officeDocument/2006/relationships/tags" Target="../tags/tag443.xml"/><Relationship Id="rId25" Type="http://schemas.openxmlformats.org/officeDocument/2006/relationships/tags" Target="../tags/tag465.xml"/><Relationship Id="rId46" Type="http://schemas.openxmlformats.org/officeDocument/2006/relationships/tags" Target="../tags/tag486.xml"/><Relationship Id="rId67" Type="http://schemas.openxmlformats.org/officeDocument/2006/relationships/tags" Target="../tags/tag507.xml"/><Relationship Id="rId116" Type="http://schemas.openxmlformats.org/officeDocument/2006/relationships/tags" Target="../tags/tag556.xml"/><Relationship Id="rId137" Type="http://schemas.openxmlformats.org/officeDocument/2006/relationships/tags" Target="../tags/tag577.xml"/><Relationship Id="rId158" Type="http://schemas.openxmlformats.org/officeDocument/2006/relationships/tags" Target="../tags/tag598.xml"/><Relationship Id="rId20" Type="http://schemas.openxmlformats.org/officeDocument/2006/relationships/tags" Target="../tags/tag460.xml"/><Relationship Id="rId41" Type="http://schemas.openxmlformats.org/officeDocument/2006/relationships/tags" Target="../tags/tag481.xml"/><Relationship Id="rId62" Type="http://schemas.openxmlformats.org/officeDocument/2006/relationships/tags" Target="../tags/tag502.xml"/><Relationship Id="rId83" Type="http://schemas.openxmlformats.org/officeDocument/2006/relationships/tags" Target="../tags/tag523.xml"/><Relationship Id="rId88" Type="http://schemas.openxmlformats.org/officeDocument/2006/relationships/tags" Target="../tags/tag528.xml"/><Relationship Id="rId111" Type="http://schemas.openxmlformats.org/officeDocument/2006/relationships/tags" Target="../tags/tag551.xml"/><Relationship Id="rId132" Type="http://schemas.openxmlformats.org/officeDocument/2006/relationships/tags" Target="../tags/tag572.xml"/><Relationship Id="rId153" Type="http://schemas.openxmlformats.org/officeDocument/2006/relationships/tags" Target="../tags/tag593.xml"/><Relationship Id="rId174" Type="http://schemas.openxmlformats.org/officeDocument/2006/relationships/tags" Target="../tags/tag614.xml"/><Relationship Id="rId179" Type="http://schemas.openxmlformats.org/officeDocument/2006/relationships/tags" Target="../tags/tag619.xml"/><Relationship Id="rId195" Type="http://schemas.openxmlformats.org/officeDocument/2006/relationships/notesSlide" Target="../notesSlides/notesSlide5.xml"/><Relationship Id="rId190" Type="http://schemas.openxmlformats.org/officeDocument/2006/relationships/tags" Target="../tags/tag630.xml"/><Relationship Id="rId15" Type="http://schemas.openxmlformats.org/officeDocument/2006/relationships/tags" Target="../tags/tag455.xml"/><Relationship Id="rId36" Type="http://schemas.openxmlformats.org/officeDocument/2006/relationships/tags" Target="../tags/tag476.xml"/><Relationship Id="rId57" Type="http://schemas.openxmlformats.org/officeDocument/2006/relationships/tags" Target="../tags/tag497.xml"/><Relationship Id="rId106" Type="http://schemas.openxmlformats.org/officeDocument/2006/relationships/tags" Target="../tags/tag546.xml"/><Relationship Id="rId127" Type="http://schemas.openxmlformats.org/officeDocument/2006/relationships/tags" Target="../tags/tag567.xml"/><Relationship Id="rId10" Type="http://schemas.openxmlformats.org/officeDocument/2006/relationships/tags" Target="../tags/tag450.xml"/><Relationship Id="rId31" Type="http://schemas.openxmlformats.org/officeDocument/2006/relationships/tags" Target="../tags/tag471.xml"/><Relationship Id="rId52" Type="http://schemas.openxmlformats.org/officeDocument/2006/relationships/tags" Target="../tags/tag492.xml"/><Relationship Id="rId73" Type="http://schemas.openxmlformats.org/officeDocument/2006/relationships/tags" Target="../tags/tag513.xml"/><Relationship Id="rId78" Type="http://schemas.openxmlformats.org/officeDocument/2006/relationships/tags" Target="../tags/tag518.xml"/><Relationship Id="rId94" Type="http://schemas.openxmlformats.org/officeDocument/2006/relationships/tags" Target="../tags/tag534.xml"/><Relationship Id="rId99" Type="http://schemas.openxmlformats.org/officeDocument/2006/relationships/tags" Target="../tags/tag539.xml"/><Relationship Id="rId101" Type="http://schemas.openxmlformats.org/officeDocument/2006/relationships/tags" Target="../tags/tag541.xml"/><Relationship Id="rId122" Type="http://schemas.openxmlformats.org/officeDocument/2006/relationships/tags" Target="../tags/tag562.xml"/><Relationship Id="rId143" Type="http://schemas.openxmlformats.org/officeDocument/2006/relationships/tags" Target="../tags/tag583.xml"/><Relationship Id="rId148" Type="http://schemas.openxmlformats.org/officeDocument/2006/relationships/tags" Target="../tags/tag588.xml"/><Relationship Id="rId164" Type="http://schemas.openxmlformats.org/officeDocument/2006/relationships/tags" Target="../tags/tag604.xml"/><Relationship Id="rId169" Type="http://schemas.openxmlformats.org/officeDocument/2006/relationships/tags" Target="../tags/tag609.xml"/><Relationship Id="rId185" Type="http://schemas.openxmlformats.org/officeDocument/2006/relationships/tags" Target="../tags/tag625.xml"/><Relationship Id="rId4" Type="http://schemas.openxmlformats.org/officeDocument/2006/relationships/tags" Target="../tags/tag444.xml"/><Relationship Id="rId9" Type="http://schemas.openxmlformats.org/officeDocument/2006/relationships/tags" Target="../tags/tag449.xml"/><Relationship Id="rId180" Type="http://schemas.openxmlformats.org/officeDocument/2006/relationships/tags" Target="../tags/tag620.xml"/><Relationship Id="rId26" Type="http://schemas.openxmlformats.org/officeDocument/2006/relationships/tags" Target="../tags/tag466.xml"/><Relationship Id="rId47" Type="http://schemas.openxmlformats.org/officeDocument/2006/relationships/tags" Target="../tags/tag487.xml"/><Relationship Id="rId68" Type="http://schemas.openxmlformats.org/officeDocument/2006/relationships/tags" Target="../tags/tag508.xml"/><Relationship Id="rId89" Type="http://schemas.openxmlformats.org/officeDocument/2006/relationships/tags" Target="../tags/tag529.xml"/><Relationship Id="rId112" Type="http://schemas.openxmlformats.org/officeDocument/2006/relationships/tags" Target="../tags/tag552.xml"/><Relationship Id="rId133" Type="http://schemas.openxmlformats.org/officeDocument/2006/relationships/tags" Target="../tags/tag573.xml"/><Relationship Id="rId154" Type="http://schemas.openxmlformats.org/officeDocument/2006/relationships/tags" Target="../tags/tag594.xml"/><Relationship Id="rId175" Type="http://schemas.openxmlformats.org/officeDocument/2006/relationships/tags" Target="../tags/tag615.xml"/><Relationship Id="rId196" Type="http://schemas.openxmlformats.org/officeDocument/2006/relationships/chart" Target="../charts/chart15.xml"/><Relationship Id="rId200" Type="http://schemas.openxmlformats.org/officeDocument/2006/relationships/chart" Target="../charts/chart17.xml"/><Relationship Id="rId16" Type="http://schemas.openxmlformats.org/officeDocument/2006/relationships/tags" Target="../tags/tag456.xml"/><Relationship Id="rId37" Type="http://schemas.openxmlformats.org/officeDocument/2006/relationships/tags" Target="../tags/tag477.xml"/><Relationship Id="rId58" Type="http://schemas.openxmlformats.org/officeDocument/2006/relationships/tags" Target="../tags/tag498.xml"/><Relationship Id="rId79" Type="http://schemas.openxmlformats.org/officeDocument/2006/relationships/tags" Target="../tags/tag519.xml"/><Relationship Id="rId102" Type="http://schemas.openxmlformats.org/officeDocument/2006/relationships/tags" Target="../tags/tag542.xml"/><Relationship Id="rId123" Type="http://schemas.openxmlformats.org/officeDocument/2006/relationships/tags" Target="../tags/tag563.xml"/><Relationship Id="rId144" Type="http://schemas.openxmlformats.org/officeDocument/2006/relationships/tags" Target="../tags/tag584.xml"/><Relationship Id="rId90" Type="http://schemas.openxmlformats.org/officeDocument/2006/relationships/tags" Target="../tags/tag530.xml"/><Relationship Id="rId165" Type="http://schemas.openxmlformats.org/officeDocument/2006/relationships/tags" Target="../tags/tag605.xml"/><Relationship Id="rId186" Type="http://schemas.openxmlformats.org/officeDocument/2006/relationships/tags" Target="../tags/tag626.xml"/><Relationship Id="rId27" Type="http://schemas.openxmlformats.org/officeDocument/2006/relationships/tags" Target="../tags/tag467.xml"/><Relationship Id="rId48" Type="http://schemas.openxmlformats.org/officeDocument/2006/relationships/tags" Target="../tags/tag488.xml"/><Relationship Id="rId69" Type="http://schemas.openxmlformats.org/officeDocument/2006/relationships/tags" Target="../tags/tag509.xml"/><Relationship Id="rId113" Type="http://schemas.openxmlformats.org/officeDocument/2006/relationships/tags" Target="../tags/tag553.xml"/><Relationship Id="rId134" Type="http://schemas.openxmlformats.org/officeDocument/2006/relationships/tags" Target="../tags/tag574.xml"/><Relationship Id="rId80" Type="http://schemas.openxmlformats.org/officeDocument/2006/relationships/tags" Target="../tags/tag520.xml"/><Relationship Id="rId155" Type="http://schemas.openxmlformats.org/officeDocument/2006/relationships/tags" Target="../tags/tag595.xml"/><Relationship Id="rId176" Type="http://schemas.openxmlformats.org/officeDocument/2006/relationships/tags" Target="../tags/tag616.xml"/><Relationship Id="rId197" Type="http://schemas.openxmlformats.org/officeDocument/2006/relationships/oleObject" Target="../embeddings/oleObject16.bin"/><Relationship Id="rId17" Type="http://schemas.openxmlformats.org/officeDocument/2006/relationships/tags" Target="../tags/tag457.xml"/><Relationship Id="rId38" Type="http://schemas.openxmlformats.org/officeDocument/2006/relationships/tags" Target="../tags/tag478.xml"/><Relationship Id="rId59" Type="http://schemas.openxmlformats.org/officeDocument/2006/relationships/tags" Target="../tags/tag499.xml"/><Relationship Id="rId103" Type="http://schemas.openxmlformats.org/officeDocument/2006/relationships/tags" Target="../tags/tag543.xml"/><Relationship Id="rId124" Type="http://schemas.openxmlformats.org/officeDocument/2006/relationships/tags" Target="../tags/tag564.xml"/><Relationship Id="rId70" Type="http://schemas.openxmlformats.org/officeDocument/2006/relationships/tags" Target="../tags/tag510.xml"/><Relationship Id="rId91" Type="http://schemas.openxmlformats.org/officeDocument/2006/relationships/tags" Target="../tags/tag531.xml"/><Relationship Id="rId145" Type="http://schemas.openxmlformats.org/officeDocument/2006/relationships/tags" Target="../tags/tag585.xml"/><Relationship Id="rId166" Type="http://schemas.openxmlformats.org/officeDocument/2006/relationships/tags" Target="../tags/tag606.xml"/><Relationship Id="rId187" Type="http://schemas.openxmlformats.org/officeDocument/2006/relationships/tags" Target="../tags/tag627.xml"/><Relationship Id="rId1" Type="http://schemas.openxmlformats.org/officeDocument/2006/relationships/tags" Target="../tags/tag441.xml"/><Relationship Id="rId28" Type="http://schemas.openxmlformats.org/officeDocument/2006/relationships/tags" Target="../tags/tag468.xml"/><Relationship Id="rId49" Type="http://schemas.openxmlformats.org/officeDocument/2006/relationships/tags" Target="../tags/tag489.xml"/><Relationship Id="rId114" Type="http://schemas.openxmlformats.org/officeDocument/2006/relationships/tags" Target="../tags/tag554.xml"/><Relationship Id="rId60" Type="http://schemas.openxmlformats.org/officeDocument/2006/relationships/tags" Target="../tags/tag500.xml"/><Relationship Id="rId81" Type="http://schemas.openxmlformats.org/officeDocument/2006/relationships/tags" Target="../tags/tag521.xml"/><Relationship Id="rId135" Type="http://schemas.openxmlformats.org/officeDocument/2006/relationships/tags" Target="../tags/tag575.xml"/><Relationship Id="rId156" Type="http://schemas.openxmlformats.org/officeDocument/2006/relationships/tags" Target="../tags/tag596.xml"/><Relationship Id="rId177" Type="http://schemas.openxmlformats.org/officeDocument/2006/relationships/tags" Target="../tags/tag617.xml"/><Relationship Id="rId198" Type="http://schemas.openxmlformats.org/officeDocument/2006/relationships/image" Target="../media/image1.emf"/><Relationship Id="rId18" Type="http://schemas.openxmlformats.org/officeDocument/2006/relationships/tags" Target="../tags/tag458.xml"/><Relationship Id="rId39" Type="http://schemas.openxmlformats.org/officeDocument/2006/relationships/tags" Target="../tags/tag479.xml"/><Relationship Id="rId50" Type="http://schemas.openxmlformats.org/officeDocument/2006/relationships/tags" Target="../tags/tag490.xml"/><Relationship Id="rId104" Type="http://schemas.openxmlformats.org/officeDocument/2006/relationships/tags" Target="../tags/tag544.xml"/><Relationship Id="rId125" Type="http://schemas.openxmlformats.org/officeDocument/2006/relationships/tags" Target="../tags/tag565.xml"/><Relationship Id="rId146" Type="http://schemas.openxmlformats.org/officeDocument/2006/relationships/tags" Target="../tags/tag586.xml"/><Relationship Id="rId167" Type="http://schemas.openxmlformats.org/officeDocument/2006/relationships/tags" Target="../tags/tag607.xml"/><Relationship Id="rId188" Type="http://schemas.openxmlformats.org/officeDocument/2006/relationships/tags" Target="../tags/tag628.xml"/></Relationships>
</file>

<file path=ppt/slides/_rels/slide18.xml.rels><?xml version="1.0" encoding="UTF-8" standalone="yes"?>
<Relationships xmlns="http://schemas.openxmlformats.org/package/2006/relationships"><Relationship Id="rId8" Type="http://schemas.openxmlformats.org/officeDocument/2006/relationships/tags" Target="../tags/tag641.xml"/><Relationship Id="rId13" Type="http://schemas.openxmlformats.org/officeDocument/2006/relationships/oleObject" Target="../embeddings/oleObject17.bin"/><Relationship Id="rId3" Type="http://schemas.openxmlformats.org/officeDocument/2006/relationships/tags" Target="../tags/tag636.xml"/><Relationship Id="rId7" Type="http://schemas.openxmlformats.org/officeDocument/2006/relationships/tags" Target="../tags/tag640.xml"/><Relationship Id="rId12" Type="http://schemas.openxmlformats.org/officeDocument/2006/relationships/slideLayout" Target="../slideLayouts/slideLayout3.xml"/><Relationship Id="rId2" Type="http://schemas.openxmlformats.org/officeDocument/2006/relationships/tags" Target="../tags/tag635.xml"/><Relationship Id="rId16" Type="http://schemas.openxmlformats.org/officeDocument/2006/relationships/chart" Target="../charts/chart19.xml"/><Relationship Id="rId1" Type="http://schemas.openxmlformats.org/officeDocument/2006/relationships/tags" Target="../tags/tag634.xml"/><Relationship Id="rId6" Type="http://schemas.openxmlformats.org/officeDocument/2006/relationships/tags" Target="../tags/tag639.xml"/><Relationship Id="rId11" Type="http://schemas.openxmlformats.org/officeDocument/2006/relationships/tags" Target="../tags/tag644.xml"/><Relationship Id="rId5" Type="http://schemas.openxmlformats.org/officeDocument/2006/relationships/tags" Target="../tags/tag638.xml"/><Relationship Id="rId15" Type="http://schemas.openxmlformats.org/officeDocument/2006/relationships/chart" Target="../charts/chart18.xml"/><Relationship Id="rId10" Type="http://schemas.openxmlformats.org/officeDocument/2006/relationships/tags" Target="../tags/tag643.xml"/><Relationship Id="rId4" Type="http://schemas.openxmlformats.org/officeDocument/2006/relationships/tags" Target="../tags/tag637.xml"/><Relationship Id="rId9" Type="http://schemas.openxmlformats.org/officeDocument/2006/relationships/tags" Target="../tags/tag642.xml"/><Relationship Id="rId14" Type="http://schemas.openxmlformats.org/officeDocument/2006/relationships/image" Target="../media/image18.emf"/></Relationships>
</file>

<file path=ppt/slides/_rels/slide19.xml.rels><?xml version="1.0" encoding="UTF-8" standalone="yes"?>
<Relationships xmlns="http://schemas.openxmlformats.org/package/2006/relationships"><Relationship Id="rId26" Type="http://schemas.openxmlformats.org/officeDocument/2006/relationships/tags" Target="../tags/tag670.xml"/><Relationship Id="rId21" Type="http://schemas.openxmlformats.org/officeDocument/2006/relationships/tags" Target="../tags/tag665.xml"/><Relationship Id="rId42" Type="http://schemas.openxmlformats.org/officeDocument/2006/relationships/tags" Target="../tags/tag686.xml"/><Relationship Id="rId47" Type="http://schemas.openxmlformats.org/officeDocument/2006/relationships/tags" Target="../tags/tag691.xml"/><Relationship Id="rId63" Type="http://schemas.openxmlformats.org/officeDocument/2006/relationships/tags" Target="../tags/tag707.xml"/><Relationship Id="rId68" Type="http://schemas.openxmlformats.org/officeDocument/2006/relationships/tags" Target="../tags/tag712.xml"/><Relationship Id="rId84" Type="http://schemas.openxmlformats.org/officeDocument/2006/relationships/tags" Target="../tags/tag728.xml"/><Relationship Id="rId89" Type="http://schemas.openxmlformats.org/officeDocument/2006/relationships/tags" Target="../tags/tag733.xml"/><Relationship Id="rId16" Type="http://schemas.openxmlformats.org/officeDocument/2006/relationships/tags" Target="../tags/tag660.xml"/><Relationship Id="rId11" Type="http://schemas.openxmlformats.org/officeDocument/2006/relationships/tags" Target="../tags/tag655.xml"/><Relationship Id="rId32" Type="http://schemas.openxmlformats.org/officeDocument/2006/relationships/tags" Target="../tags/tag676.xml"/><Relationship Id="rId37" Type="http://schemas.openxmlformats.org/officeDocument/2006/relationships/tags" Target="../tags/tag681.xml"/><Relationship Id="rId53" Type="http://schemas.openxmlformats.org/officeDocument/2006/relationships/tags" Target="../tags/tag697.xml"/><Relationship Id="rId58" Type="http://schemas.openxmlformats.org/officeDocument/2006/relationships/tags" Target="../tags/tag702.xml"/><Relationship Id="rId74" Type="http://schemas.openxmlformats.org/officeDocument/2006/relationships/tags" Target="../tags/tag718.xml"/><Relationship Id="rId79" Type="http://schemas.openxmlformats.org/officeDocument/2006/relationships/tags" Target="../tags/tag723.xml"/><Relationship Id="rId102" Type="http://schemas.openxmlformats.org/officeDocument/2006/relationships/chart" Target="../charts/chart20.xml"/><Relationship Id="rId5" Type="http://schemas.openxmlformats.org/officeDocument/2006/relationships/tags" Target="../tags/tag649.xml"/><Relationship Id="rId90" Type="http://schemas.openxmlformats.org/officeDocument/2006/relationships/tags" Target="../tags/tag734.xml"/><Relationship Id="rId95" Type="http://schemas.openxmlformats.org/officeDocument/2006/relationships/tags" Target="../tags/tag739.xml"/><Relationship Id="rId22" Type="http://schemas.openxmlformats.org/officeDocument/2006/relationships/tags" Target="../tags/tag666.xml"/><Relationship Id="rId27" Type="http://schemas.openxmlformats.org/officeDocument/2006/relationships/tags" Target="../tags/tag671.xml"/><Relationship Id="rId43" Type="http://schemas.openxmlformats.org/officeDocument/2006/relationships/tags" Target="../tags/tag687.xml"/><Relationship Id="rId48" Type="http://schemas.openxmlformats.org/officeDocument/2006/relationships/tags" Target="../tags/tag692.xml"/><Relationship Id="rId64" Type="http://schemas.openxmlformats.org/officeDocument/2006/relationships/tags" Target="../tags/tag708.xml"/><Relationship Id="rId69" Type="http://schemas.openxmlformats.org/officeDocument/2006/relationships/tags" Target="../tags/tag713.xml"/><Relationship Id="rId80" Type="http://schemas.openxmlformats.org/officeDocument/2006/relationships/tags" Target="../tags/tag724.xml"/><Relationship Id="rId85" Type="http://schemas.openxmlformats.org/officeDocument/2006/relationships/tags" Target="../tags/tag729.xml"/><Relationship Id="rId12" Type="http://schemas.openxmlformats.org/officeDocument/2006/relationships/tags" Target="../tags/tag656.xml"/><Relationship Id="rId17" Type="http://schemas.openxmlformats.org/officeDocument/2006/relationships/tags" Target="../tags/tag661.xml"/><Relationship Id="rId25" Type="http://schemas.openxmlformats.org/officeDocument/2006/relationships/tags" Target="../tags/tag669.xml"/><Relationship Id="rId33" Type="http://schemas.openxmlformats.org/officeDocument/2006/relationships/tags" Target="../tags/tag677.xml"/><Relationship Id="rId38" Type="http://schemas.openxmlformats.org/officeDocument/2006/relationships/tags" Target="../tags/tag682.xml"/><Relationship Id="rId46" Type="http://schemas.openxmlformats.org/officeDocument/2006/relationships/tags" Target="../tags/tag690.xml"/><Relationship Id="rId59" Type="http://schemas.openxmlformats.org/officeDocument/2006/relationships/tags" Target="../tags/tag703.xml"/><Relationship Id="rId67" Type="http://schemas.openxmlformats.org/officeDocument/2006/relationships/tags" Target="../tags/tag711.xml"/><Relationship Id="rId103" Type="http://schemas.openxmlformats.org/officeDocument/2006/relationships/chart" Target="../charts/chart21.xml"/><Relationship Id="rId20" Type="http://schemas.openxmlformats.org/officeDocument/2006/relationships/tags" Target="../tags/tag664.xml"/><Relationship Id="rId41" Type="http://schemas.openxmlformats.org/officeDocument/2006/relationships/tags" Target="../tags/tag685.xml"/><Relationship Id="rId54" Type="http://schemas.openxmlformats.org/officeDocument/2006/relationships/tags" Target="../tags/tag698.xml"/><Relationship Id="rId62" Type="http://schemas.openxmlformats.org/officeDocument/2006/relationships/tags" Target="../tags/tag706.xml"/><Relationship Id="rId70" Type="http://schemas.openxmlformats.org/officeDocument/2006/relationships/tags" Target="../tags/tag714.xml"/><Relationship Id="rId75" Type="http://schemas.openxmlformats.org/officeDocument/2006/relationships/tags" Target="../tags/tag719.xml"/><Relationship Id="rId83" Type="http://schemas.openxmlformats.org/officeDocument/2006/relationships/tags" Target="../tags/tag727.xml"/><Relationship Id="rId88" Type="http://schemas.openxmlformats.org/officeDocument/2006/relationships/tags" Target="../tags/tag732.xml"/><Relationship Id="rId91" Type="http://schemas.openxmlformats.org/officeDocument/2006/relationships/tags" Target="../tags/tag735.xml"/><Relationship Id="rId96" Type="http://schemas.openxmlformats.org/officeDocument/2006/relationships/tags" Target="../tags/tag740.xml"/><Relationship Id="rId1" Type="http://schemas.openxmlformats.org/officeDocument/2006/relationships/tags" Target="../tags/tag645.xml"/><Relationship Id="rId6" Type="http://schemas.openxmlformats.org/officeDocument/2006/relationships/tags" Target="../tags/tag650.xml"/><Relationship Id="rId15" Type="http://schemas.openxmlformats.org/officeDocument/2006/relationships/tags" Target="../tags/tag659.xml"/><Relationship Id="rId23" Type="http://schemas.openxmlformats.org/officeDocument/2006/relationships/tags" Target="../tags/tag667.xml"/><Relationship Id="rId28" Type="http://schemas.openxmlformats.org/officeDocument/2006/relationships/tags" Target="../tags/tag672.xml"/><Relationship Id="rId36" Type="http://schemas.openxmlformats.org/officeDocument/2006/relationships/tags" Target="../tags/tag680.xml"/><Relationship Id="rId49" Type="http://schemas.openxmlformats.org/officeDocument/2006/relationships/tags" Target="../tags/tag693.xml"/><Relationship Id="rId57" Type="http://schemas.openxmlformats.org/officeDocument/2006/relationships/tags" Target="../tags/tag701.xml"/><Relationship Id="rId10" Type="http://schemas.openxmlformats.org/officeDocument/2006/relationships/tags" Target="../tags/tag654.xml"/><Relationship Id="rId31" Type="http://schemas.openxmlformats.org/officeDocument/2006/relationships/tags" Target="../tags/tag675.xml"/><Relationship Id="rId44" Type="http://schemas.openxmlformats.org/officeDocument/2006/relationships/tags" Target="../tags/tag688.xml"/><Relationship Id="rId52" Type="http://schemas.openxmlformats.org/officeDocument/2006/relationships/tags" Target="../tags/tag696.xml"/><Relationship Id="rId60" Type="http://schemas.openxmlformats.org/officeDocument/2006/relationships/tags" Target="../tags/tag704.xml"/><Relationship Id="rId65" Type="http://schemas.openxmlformats.org/officeDocument/2006/relationships/tags" Target="../tags/tag709.xml"/><Relationship Id="rId73" Type="http://schemas.openxmlformats.org/officeDocument/2006/relationships/tags" Target="../tags/tag717.xml"/><Relationship Id="rId78" Type="http://schemas.openxmlformats.org/officeDocument/2006/relationships/tags" Target="../tags/tag722.xml"/><Relationship Id="rId81" Type="http://schemas.openxmlformats.org/officeDocument/2006/relationships/tags" Target="../tags/tag725.xml"/><Relationship Id="rId86" Type="http://schemas.openxmlformats.org/officeDocument/2006/relationships/tags" Target="../tags/tag730.xml"/><Relationship Id="rId94" Type="http://schemas.openxmlformats.org/officeDocument/2006/relationships/tags" Target="../tags/tag738.xml"/><Relationship Id="rId99" Type="http://schemas.openxmlformats.org/officeDocument/2006/relationships/slideLayout" Target="../slideLayouts/slideLayout3.xml"/><Relationship Id="rId101" Type="http://schemas.openxmlformats.org/officeDocument/2006/relationships/image" Target="../media/image18.emf"/><Relationship Id="rId4" Type="http://schemas.openxmlformats.org/officeDocument/2006/relationships/tags" Target="../tags/tag648.xml"/><Relationship Id="rId9" Type="http://schemas.openxmlformats.org/officeDocument/2006/relationships/tags" Target="../tags/tag653.xml"/><Relationship Id="rId13" Type="http://schemas.openxmlformats.org/officeDocument/2006/relationships/tags" Target="../tags/tag657.xml"/><Relationship Id="rId18" Type="http://schemas.openxmlformats.org/officeDocument/2006/relationships/tags" Target="../tags/tag662.xml"/><Relationship Id="rId39" Type="http://schemas.openxmlformats.org/officeDocument/2006/relationships/tags" Target="../tags/tag683.xml"/><Relationship Id="rId34" Type="http://schemas.openxmlformats.org/officeDocument/2006/relationships/tags" Target="../tags/tag678.xml"/><Relationship Id="rId50" Type="http://schemas.openxmlformats.org/officeDocument/2006/relationships/tags" Target="../tags/tag694.xml"/><Relationship Id="rId55" Type="http://schemas.openxmlformats.org/officeDocument/2006/relationships/tags" Target="../tags/tag699.xml"/><Relationship Id="rId76" Type="http://schemas.openxmlformats.org/officeDocument/2006/relationships/tags" Target="../tags/tag720.xml"/><Relationship Id="rId97" Type="http://schemas.openxmlformats.org/officeDocument/2006/relationships/tags" Target="../tags/tag741.xml"/><Relationship Id="rId104" Type="http://schemas.openxmlformats.org/officeDocument/2006/relationships/chart" Target="../charts/chart22.xml"/><Relationship Id="rId7" Type="http://schemas.openxmlformats.org/officeDocument/2006/relationships/tags" Target="../tags/tag651.xml"/><Relationship Id="rId71" Type="http://schemas.openxmlformats.org/officeDocument/2006/relationships/tags" Target="../tags/tag715.xml"/><Relationship Id="rId92" Type="http://schemas.openxmlformats.org/officeDocument/2006/relationships/tags" Target="../tags/tag736.xml"/><Relationship Id="rId2" Type="http://schemas.openxmlformats.org/officeDocument/2006/relationships/tags" Target="../tags/tag646.xml"/><Relationship Id="rId29" Type="http://schemas.openxmlformats.org/officeDocument/2006/relationships/tags" Target="../tags/tag673.xml"/><Relationship Id="rId24" Type="http://schemas.openxmlformats.org/officeDocument/2006/relationships/tags" Target="../tags/tag668.xml"/><Relationship Id="rId40" Type="http://schemas.openxmlformats.org/officeDocument/2006/relationships/tags" Target="../tags/tag684.xml"/><Relationship Id="rId45" Type="http://schemas.openxmlformats.org/officeDocument/2006/relationships/tags" Target="../tags/tag689.xml"/><Relationship Id="rId66" Type="http://schemas.openxmlformats.org/officeDocument/2006/relationships/tags" Target="../tags/tag710.xml"/><Relationship Id="rId87" Type="http://schemas.openxmlformats.org/officeDocument/2006/relationships/tags" Target="../tags/tag731.xml"/><Relationship Id="rId61" Type="http://schemas.openxmlformats.org/officeDocument/2006/relationships/tags" Target="../tags/tag705.xml"/><Relationship Id="rId82" Type="http://schemas.openxmlformats.org/officeDocument/2006/relationships/tags" Target="../tags/tag726.xml"/><Relationship Id="rId19" Type="http://schemas.openxmlformats.org/officeDocument/2006/relationships/tags" Target="../tags/tag663.xml"/><Relationship Id="rId14" Type="http://schemas.openxmlformats.org/officeDocument/2006/relationships/tags" Target="../tags/tag658.xml"/><Relationship Id="rId30" Type="http://schemas.openxmlformats.org/officeDocument/2006/relationships/tags" Target="../tags/tag674.xml"/><Relationship Id="rId35" Type="http://schemas.openxmlformats.org/officeDocument/2006/relationships/tags" Target="../tags/tag679.xml"/><Relationship Id="rId56" Type="http://schemas.openxmlformats.org/officeDocument/2006/relationships/tags" Target="../tags/tag700.xml"/><Relationship Id="rId77" Type="http://schemas.openxmlformats.org/officeDocument/2006/relationships/tags" Target="../tags/tag721.xml"/><Relationship Id="rId100" Type="http://schemas.openxmlformats.org/officeDocument/2006/relationships/oleObject" Target="../embeddings/oleObject18.bin"/><Relationship Id="rId8" Type="http://schemas.openxmlformats.org/officeDocument/2006/relationships/tags" Target="../tags/tag652.xml"/><Relationship Id="rId51" Type="http://schemas.openxmlformats.org/officeDocument/2006/relationships/tags" Target="../tags/tag695.xml"/><Relationship Id="rId72" Type="http://schemas.openxmlformats.org/officeDocument/2006/relationships/tags" Target="../tags/tag716.xml"/><Relationship Id="rId93" Type="http://schemas.openxmlformats.org/officeDocument/2006/relationships/tags" Target="../tags/tag737.xml"/><Relationship Id="rId98" Type="http://schemas.openxmlformats.org/officeDocument/2006/relationships/tags" Target="../tags/tag742.xml"/><Relationship Id="rId3" Type="http://schemas.openxmlformats.org/officeDocument/2006/relationships/tags" Target="../tags/tag64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3.xml"/><Relationship Id="rId1" Type="http://schemas.openxmlformats.org/officeDocument/2006/relationships/tags" Target="../tags/tag743.xml"/><Relationship Id="rId4" Type="http://schemas.openxmlformats.org/officeDocument/2006/relationships/image" Target="../media/image20.emf"/></Relationships>
</file>

<file path=ppt/slides/_rels/slide21.xml.rels><?xml version="1.0" encoding="UTF-8" standalone="yes"?>
<Relationships xmlns="http://schemas.openxmlformats.org/package/2006/relationships"><Relationship Id="rId8" Type="http://schemas.openxmlformats.org/officeDocument/2006/relationships/hyperlink" Target="https://www.westerncape.gov.za/assets/departments/health/tygerberg_hospital_information_pamphlet_-_2016.pdf" TargetMode="External"/><Relationship Id="rId3" Type="http://schemas.openxmlformats.org/officeDocument/2006/relationships/oleObject" Target="../embeddings/oleObject20.bin"/><Relationship Id="rId7" Type="http://schemas.openxmlformats.org/officeDocument/2006/relationships/hyperlink" Target="https://www.cput.ac.za/about/visit/tygerberg-hospital" TargetMode="External"/><Relationship Id="rId2" Type="http://schemas.openxmlformats.org/officeDocument/2006/relationships/slideLayout" Target="../slideLayouts/slideLayout3.xml"/><Relationship Id="rId1" Type="http://schemas.openxmlformats.org/officeDocument/2006/relationships/tags" Target="../tags/tag744.xml"/><Relationship Id="rId6" Type="http://schemas.openxmlformats.org/officeDocument/2006/relationships/hyperlink" Target="https://www.up.ac.za/psychiatry/article/1949330/weskoppies-hospital" TargetMode="External"/><Relationship Id="rId5" Type="http://schemas.openxmlformats.org/officeDocument/2006/relationships/hyperlink" Target="https://www.chrishanibaragwanathhospital.co.za/" TargetMode="External"/><Relationship Id="rId10" Type="http://schemas.openxmlformats.org/officeDocument/2006/relationships/hyperlink" Target="http://www.ecdoh.gov.za/hospitals/71/Nelson_Mandela_Academic_Hospital" TargetMode="External"/><Relationship Id="rId4" Type="http://schemas.openxmlformats.org/officeDocument/2006/relationships/image" Target="../media/image20.emf"/><Relationship Id="rId9" Type="http://schemas.openxmlformats.org/officeDocument/2006/relationships/hyperlink" Target="https://sbah.org.za/" TargetMode="Externa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745.xml"/><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26" Type="http://schemas.openxmlformats.org/officeDocument/2006/relationships/tags" Target="../tags/tag771.xml"/><Relationship Id="rId21" Type="http://schemas.openxmlformats.org/officeDocument/2006/relationships/tags" Target="../tags/tag766.xml"/><Relationship Id="rId42" Type="http://schemas.openxmlformats.org/officeDocument/2006/relationships/tags" Target="../tags/tag787.xml"/><Relationship Id="rId47" Type="http://schemas.openxmlformats.org/officeDocument/2006/relationships/tags" Target="../tags/tag792.xml"/><Relationship Id="rId63" Type="http://schemas.openxmlformats.org/officeDocument/2006/relationships/tags" Target="../tags/tag808.xml"/><Relationship Id="rId68" Type="http://schemas.openxmlformats.org/officeDocument/2006/relationships/slideLayout" Target="../slideLayouts/slideLayout3.xml"/><Relationship Id="rId2" Type="http://schemas.openxmlformats.org/officeDocument/2006/relationships/tags" Target="../tags/tag747.xml"/><Relationship Id="rId16" Type="http://schemas.openxmlformats.org/officeDocument/2006/relationships/tags" Target="../tags/tag761.xml"/><Relationship Id="rId29" Type="http://schemas.openxmlformats.org/officeDocument/2006/relationships/tags" Target="../tags/tag774.xml"/><Relationship Id="rId11" Type="http://schemas.openxmlformats.org/officeDocument/2006/relationships/tags" Target="../tags/tag756.xml"/><Relationship Id="rId24" Type="http://schemas.openxmlformats.org/officeDocument/2006/relationships/tags" Target="../tags/tag769.xml"/><Relationship Id="rId32" Type="http://schemas.openxmlformats.org/officeDocument/2006/relationships/tags" Target="../tags/tag777.xml"/><Relationship Id="rId37" Type="http://schemas.openxmlformats.org/officeDocument/2006/relationships/tags" Target="../tags/tag782.xml"/><Relationship Id="rId40" Type="http://schemas.openxmlformats.org/officeDocument/2006/relationships/tags" Target="../tags/tag785.xml"/><Relationship Id="rId45" Type="http://schemas.openxmlformats.org/officeDocument/2006/relationships/tags" Target="../tags/tag790.xml"/><Relationship Id="rId53" Type="http://schemas.openxmlformats.org/officeDocument/2006/relationships/tags" Target="../tags/tag798.xml"/><Relationship Id="rId58" Type="http://schemas.openxmlformats.org/officeDocument/2006/relationships/tags" Target="../tags/tag803.xml"/><Relationship Id="rId66" Type="http://schemas.openxmlformats.org/officeDocument/2006/relationships/tags" Target="../tags/tag811.xml"/><Relationship Id="rId5" Type="http://schemas.openxmlformats.org/officeDocument/2006/relationships/tags" Target="../tags/tag750.xml"/><Relationship Id="rId61" Type="http://schemas.openxmlformats.org/officeDocument/2006/relationships/tags" Target="../tags/tag806.xml"/><Relationship Id="rId19" Type="http://schemas.openxmlformats.org/officeDocument/2006/relationships/tags" Target="../tags/tag764.xml"/><Relationship Id="rId14" Type="http://schemas.openxmlformats.org/officeDocument/2006/relationships/tags" Target="../tags/tag759.xml"/><Relationship Id="rId22" Type="http://schemas.openxmlformats.org/officeDocument/2006/relationships/tags" Target="../tags/tag767.xml"/><Relationship Id="rId27" Type="http://schemas.openxmlformats.org/officeDocument/2006/relationships/tags" Target="../tags/tag772.xml"/><Relationship Id="rId30" Type="http://schemas.openxmlformats.org/officeDocument/2006/relationships/tags" Target="../tags/tag775.xml"/><Relationship Id="rId35" Type="http://schemas.openxmlformats.org/officeDocument/2006/relationships/tags" Target="../tags/tag780.xml"/><Relationship Id="rId43" Type="http://schemas.openxmlformats.org/officeDocument/2006/relationships/tags" Target="../tags/tag788.xml"/><Relationship Id="rId48" Type="http://schemas.openxmlformats.org/officeDocument/2006/relationships/tags" Target="../tags/tag793.xml"/><Relationship Id="rId56" Type="http://schemas.openxmlformats.org/officeDocument/2006/relationships/tags" Target="../tags/tag801.xml"/><Relationship Id="rId64" Type="http://schemas.openxmlformats.org/officeDocument/2006/relationships/tags" Target="../tags/tag809.xml"/><Relationship Id="rId69" Type="http://schemas.openxmlformats.org/officeDocument/2006/relationships/oleObject" Target="../embeddings/oleObject22.bin"/><Relationship Id="rId8" Type="http://schemas.openxmlformats.org/officeDocument/2006/relationships/tags" Target="../tags/tag753.xml"/><Relationship Id="rId51" Type="http://schemas.openxmlformats.org/officeDocument/2006/relationships/tags" Target="../tags/tag796.xml"/><Relationship Id="rId72" Type="http://schemas.openxmlformats.org/officeDocument/2006/relationships/chart" Target="../charts/chart23.xml"/><Relationship Id="rId3" Type="http://schemas.openxmlformats.org/officeDocument/2006/relationships/tags" Target="../tags/tag748.xml"/><Relationship Id="rId12" Type="http://schemas.openxmlformats.org/officeDocument/2006/relationships/tags" Target="../tags/tag757.xml"/><Relationship Id="rId17" Type="http://schemas.openxmlformats.org/officeDocument/2006/relationships/tags" Target="../tags/tag762.xml"/><Relationship Id="rId25" Type="http://schemas.openxmlformats.org/officeDocument/2006/relationships/tags" Target="../tags/tag770.xml"/><Relationship Id="rId33" Type="http://schemas.openxmlformats.org/officeDocument/2006/relationships/tags" Target="../tags/tag778.xml"/><Relationship Id="rId38" Type="http://schemas.openxmlformats.org/officeDocument/2006/relationships/tags" Target="../tags/tag783.xml"/><Relationship Id="rId46" Type="http://schemas.openxmlformats.org/officeDocument/2006/relationships/tags" Target="../tags/tag791.xml"/><Relationship Id="rId59" Type="http://schemas.openxmlformats.org/officeDocument/2006/relationships/tags" Target="../tags/tag804.xml"/><Relationship Id="rId67" Type="http://schemas.openxmlformats.org/officeDocument/2006/relationships/tags" Target="../tags/tag812.xml"/><Relationship Id="rId20" Type="http://schemas.openxmlformats.org/officeDocument/2006/relationships/tags" Target="../tags/tag765.xml"/><Relationship Id="rId41" Type="http://schemas.openxmlformats.org/officeDocument/2006/relationships/tags" Target="../tags/tag786.xml"/><Relationship Id="rId54" Type="http://schemas.openxmlformats.org/officeDocument/2006/relationships/tags" Target="../tags/tag799.xml"/><Relationship Id="rId62" Type="http://schemas.openxmlformats.org/officeDocument/2006/relationships/tags" Target="../tags/tag807.xml"/><Relationship Id="rId70" Type="http://schemas.openxmlformats.org/officeDocument/2006/relationships/image" Target="../media/image18.emf"/><Relationship Id="rId1" Type="http://schemas.openxmlformats.org/officeDocument/2006/relationships/tags" Target="../tags/tag746.xml"/><Relationship Id="rId6" Type="http://schemas.openxmlformats.org/officeDocument/2006/relationships/tags" Target="../tags/tag751.xml"/><Relationship Id="rId15" Type="http://schemas.openxmlformats.org/officeDocument/2006/relationships/tags" Target="../tags/tag760.xml"/><Relationship Id="rId23" Type="http://schemas.openxmlformats.org/officeDocument/2006/relationships/tags" Target="../tags/tag768.xml"/><Relationship Id="rId28" Type="http://schemas.openxmlformats.org/officeDocument/2006/relationships/tags" Target="../tags/tag773.xml"/><Relationship Id="rId36" Type="http://schemas.openxmlformats.org/officeDocument/2006/relationships/tags" Target="../tags/tag781.xml"/><Relationship Id="rId49" Type="http://schemas.openxmlformats.org/officeDocument/2006/relationships/tags" Target="../tags/tag794.xml"/><Relationship Id="rId57" Type="http://schemas.openxmlformats.org/officeDocument/2006/relationships/tags" Target="../tags/tag802.xml"/><Relationship Id="rId10" Type="http://schemas.openxmlformats.org/officeDocument/2006/relationships/tags" Target="../tags/tag755.xml"/><Relationship Id="rId31" Type="http://schemas.openxmlformats.org/officeDocument/2006/relationships/tags" Target="../tags/tag776.xml"/><Relationship Id="rId44" Type="http://schemas.openxmlformats.org/officeDocument/2006/relationships/tags" Target="../tags/tag789.xml"/><Relationship Id="rId52" Type="http://schemas.openxmlformats.org/officeDocument/2006/relationships/tags" Target="../tags/tag797.xml"/><Relationship Id="rId60" Type="http://schemas.openxmlformats.org/officeDocument/2006/relationships/tags" Target="../tags/tag805.xml"/><Relationship Id="rId65" Type="http://schemas.openxmlformats.org/officeDocument/2006/relationships/tags" Target="../tags/tag810.xml"/><Relationship Id="rId73" Type="http://schemas.openxmlformats.org/officeDocument/2006/relationships/chart" Target="../charts/chart24.xml"/><Relationship Id="rId4" Type="http://schemas.openxmlformats.org/officeDocument/2006/relationships/tags" Target="../tags/tag749.xml"/><Relationship Id="rId9" Type="http://schemas.openxmlformats.org/officeDocument/2006/relationships/tags" Target="../tags/tag754.xml"/><Relationship Id="rId13" Type="http://schemas.openxmlformats.org/officeDocument/2006/relationships/tags" Target="../tags/tag758.xml"/><Relationship Id="rId18" Type="http://schemas.openxmlformats.org/officeDocument/2006/relationships/tags" Target="../tags/tag763.xml"/><Relationship Id="rId39" Type="http://schemas.openxmlformats.org/officeDocument/2006/relationships/tags" Target="../tags/tag784.xml"/><Relationship Id="rId34" Type="http://schemas.openxmlformats.org/officeDocument/2006/relationships/tags" Target="../tags/tag779.xml"/><Relationship Id="rId50" Type="http://schemas.openxmlformats.org/officeDocument/2006/relationships/tags" Target="../tags/tag795.xml"/><Relationship Id="rId55" Type="http://schemas.openxmlformats.org/officeDocument/2006/relationships/tags" Target="../tags/tag800.xml"/><Relationship Id="rId7" Type="http://schemas.openxmlformats.org/officeDocument/2006/relationships/tags" Target="../tags/tag752.xml"/><Relationship Id="rId71" Type="http://schemas.openxmlformats.org/officeDocument/2006/relationships/hyperlink" Target="https://www.who.int/data/gho/data/themes/topics/health-workforce)&#12289;" TargetMode="Externa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813.xml"/><Relationship Id="rId4" Type="http://schemas.openxmlformats.org/officeDocument/2006/relationships/image" Target="../media/image20.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814.xml"/><Relationship Id="rId4" Type="http://schemas.openxmlformats.org/officeDocument/2006/relationships/image" Target="../media/image20.emf"/></Relationships>
</file>

<file path=ppt/slides/_rels/slide26.xml.rels><?xml version="1.0" encoding="UTF-8" standalone="yes"?>
<Relationships xmlns="http://schemas.openxmlformats.org/package/2006/relationships"><Relationship Id="rId8" Type="http://schemas.openxmlformats.org/officeDocument/2006/relationships/tags" Target="../tags/tag822.xml"/><Relationship Id="rId13" Type="http://schemas.openxmlformats.org/officeDocument/2006/relationships/tags" Target="../tags/tag827.xml"/><Relationship Id="rId18" Type="http://schemas.openxmlformats.org/officeDocument/2006/relationships/tags" Target="../tags/tag832.xml"/><Relationship Id="rId26" Type="http://schemas.openxmlformats.org/officeDocument/2006/relationships/hyperlink" Target="https://www.statssa.gov.za/publications/P0318/P03182021.pdf" TargetMode="External"/><Relationship Id="rId3" Type="http://schemas.openxmlformats.org/officeDocument/2006/relationships/tags" Target="../tags/tag817.xml"/><Relationship Id="rId21" Type="http://schemas.openxmlformats.org/officeDocument/2006/relationships/tags" Target="../tags/tag835.xml"/><Relationship Id="rId7" Type="http://schemas.openxmlformats.org/officeDocument/2006/relationships/tags" Target="../tags/tag821.xml"/><Relationship Id="rId12" Type="http://schemas.openxmlformats.org/officeDocument/2006/relationships/tags" Target="../tags/tag826.xml"/><Relationship Id="rId17" Type="http://schemas.openxmlformats.org/officeDocument/2006/relationships/tags" Target="../tags/tag831.xml"/><Relationship Id="rId25" Type="http://schemas.openxmlformats.org/officeDocument/2006/relationships/image" Target="../media/image20.emf"/><Relationship Id="rId2" Type="http://schemas.openxmlformats.org/officeDocument/2006/relationships/tags" Target="../tags/tag816.xml"/><Relationship Id="rId16" Type="http://schemas.openxmlformats.org/officeDocument/2006/relationships/tags" Target="../tags/tag830.xml"/><Relationship Id="rId20" Type="http://schemas.openxmlformats.org/officeDocument/2006/relationships/tags" Target="../tags/tag834.xml"/><Relationship Id="rId1" Type="http://schemas.openxmlformats.org/officeDocument/2006/relationships/tags" Target="../tags/tag815.xml"/><Relationship Id="rId6" Type="http://schemas.openxmlformats.org/officeDocument/2006/relationships/tags" Target="../tags/tag820.xml"/><Relationship Id="rId11" Type="http://schemas.openxmlformats.org/officeDocument/2006/relationships/tags" Target="../tags/tag825.xml"/><Relationship Id="rId24" Type="http://schemas.openxmlformats.org/officeDocument/2006/relationships/oleObject" Target="../embeddings/oleObject25.bin"/><Relationship Id="rId5" Type="http://schemas.openxmlformats.org/officeDocument/2006/relationships/tags" Target="../tags/tag819.xml"/><Relationship Id="rId15" Type="http://schemas.openxmlformats.org/officeDocument/2006/relationships/tags" Target="../tags/tag829.xml"/><Relationship Id="rId23" Type="http://schemas.openxmlformats.org/officeDocument/2006/relationships/slideLayout" Target="../slideLayouts/slideLayout3.xml"/><Relationship Id="rId28" Type="http://schemas.openxmlformats.org/officeDocument/2006/relationships/chart" Target="../charts/chart26.xml"/><Relationship Id="rId10" Type="http://schemas.openxmlformats.org/officeDocument/2006/relationships/tags" Target="../tags/tag824.xml"/><Relationship Id="rId19" Type="http://schemas.openxmlformats.org/officeDocument/2006/relationships/tags" Target="../tags/tag833.xml"/><Relationship Id="rId4" Type="http://schemas.openxmlformats.org/officeDocument/2006/relationships/tags" Target="../tags/tag818.xml"/><Relationship Id="rId9" Type="http://schemas.openxmlformats.org/officeDocument/2006/relationships/tags" Target="../tags/tag823.xml"/><Relationship Id="rId14" Type="http://schemas.openxmlformats.org/officeDocument/2006/relationships/tags" Target="../tags/tag828.xml"/><Relationship Id="rId22" Type="http://schemas.openxmlformats.org/officeDocument/2006/relationships/tags" Target="../tags/tag836.xml"/><Relationship Id="rId27" Type="http://schemas.openxmlformats.org/officeDocument/2006/relationships/chart" Target="../charts/chart25.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837.xml"/><Relationship Id="rId5" Type="http://schemas.openxmlformats.org/officeDocument/2006/relationships/image" Target="../media/image31.png"/><Relationship Id="rId4" Type="http://schemas.openxmlformats.org/officeDocument/2006/relationships/image" Target="../media/image20.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838.xml"/><Relationship Id="rId4" Type="http://schemas.openxmlformats.org/officeDocument/2006/relationships/image" Target="../media/image20.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839.xml"/><Relationship Id="rId4" Type="http://schemas.openxmlformats.org/officeDocument/2006/relationships/image" Target="../media/image20.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840.xml"/><Relationship Id="rId4" Type="http://schemas.openxmlformats.org/officeDocument/2006/relationships/image" Target="../media/image20.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841.xml"/><Relationship Id="rId4" Type="http://schemas.openxmlformats.org/officeDocument/2006/relationships/image" Target="../media/image20.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842.xml"/><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843.xml"/><Relationship Id="rId4" Type="http://schemas.openxmlformats.org/officeDocument/2006/relationships/image" Target="../media/image20.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844.xml"/><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845.xml"/><Relationship Id="rId4" Type="http://schemas.openxmlformats.org/officeDocument/2006/relationships/image" Target="../media/image20.emf"/></Relationships>
</file>

<file path=ppt/slides/_rels/slide36.xml.rels><?xml version="1.0" encoding="UTF-8" standalone="yes"?>
<Relationships xmlns="http://schemas.openxmlformats.org/package/2006/relationships"><Relationship Id="rId26" Type="http://schemas.openxmlformats.org/officeDocument/2006/relationships/tags" Target="../tags/tag871.xml"/><Relationship Id="rId21" Type="http://schemas.openxmlformats.org/officeDocument/2006/relationships/tags" Target="../tags/tag866.xml"/><Relationship Id="rId34" Type="http://schemas.openxmlformats.org/officeDocument/2006/relationships/tags" Target="../tags/tag879.xml"/><Relationship Id="rId42" Type="http://schemas.openxmlformats.org/officeDocument/2006/relationships/tags" Target="../tags/tag887.xml"/><Relationship Id="rId47" Type="http://schemas.openxmlformats.org/officeDocument/2006/relationships/tags" Target="../tags/tag892.xml"/><Relationship Id="rId50" Type="http://schemas.openxmlformats.org/officeDocument/2006/relationships/tags" Target="../tags/tag895.xml"/><Relationship Id="rId55" Type="http://schemas.openxmlformats.org/officeDocument/2006/relationships/tags" Target="../tags/tag900.xml"/><Relationship Id="rId63" Type="http://schemas.openxmlformats.org/officeDocument/2006/relationships/tags" Target="../tags/tag908.xml"/><Relationship Id="rId7" Type="http://schemas.openxmlformats.org/officeDocument/2006/relationships/tags" Target="../tags/tag852.xml"/><Relationship Id="rId2" Type="http://schemas.openxmlformats.org/officeDocument/2006/relationships/tags" Target="../tags/tag847.xml"/><Relationship Id="rId16" Type="http://schemas.openxmlformats.org/officeDocument/2006/relationships/tags" Target="../tags/tag861.xml"/><Relationship Id="rId29" Type="http://schemas.openxmlformats.org/officeDocument/2006/relationships/tags" Target="../tags/tag874.xml"/><Relationship Id="rId11" Type="http://schemas.openxmlformats.org/officeDocument/2006/relationships/tags" Target="../tags/tag856.xml"/><Relationship Id="rId24" Type="http://schemas.openxmlformats.org/officeDocument/2006/relationships/tags" Target="../tags/tag869.xml"/><Relationship Id="rId32" Type="http://schemas.openxmlformats.org/officeDocument/2006/relationships/tags" Target="../tags/tag877.xml"/><Relationship Id="rId37" Type="http://schemas.openxmlformats.org/officeDocument/2006/relationships/tags" Target="../tags/tag882.xml"/><Relationship Id="rId40" Type="http://schemas.openxmlformats.org/officeDocument/2006/relationships/tags" Target="../tags/tag885.xml"/><Relationship Id="rId45" Type="http://schemas.openxmlformats.org/officeDocument/2006/relationships/tags" Target="../tags/tag890.xml"/><Relationship Id="rId53" Type="http://schemas.openxmlformats.org/officeDocument/2006/relationships/tags" Target="../tags/tag898.xml"/><Relationship Id="rId58" Type="http://schemas.openxmlformats.org/officeDocument/2006/relationships/tags" Target="../tags/tag903.xml"/><Relationship Id="rId66" Type="http://schemas.openxmlformats.org/officeDocument/2006/relationships/image" Target="../media/image18.emf"/><Relationship Id="rId5" Type="http://schemas.openxmlformats.org/officeDocument/2006/relationships/tags" Target="../tags/tag850.xml"/><Relationship Id="rId61" Type="http://schemas.openxmlformats.org/officeDocument/2006/relationships/tags" Target="../tags/tag906.xml"/><Relationship Id="rId19" Type="http://schemas.openxmlformats.org/officeDocument/2006/relationships/tags" Target="../tags/tag864.xml"/><Relationship Id="rId14" Type="http://schemas.openxmlformats.org/officeDocument/2006/relationships/tags" Target="../tags/tag859.xml"/><Relationship Id="rId22" Type="http://schemas.openxmlformats.org/officeDocument/2006/relationships/tags" Target="../tags/tag867.xml"/><Relationship Id="rId27" Type="http://schemas.openxmlformats.org/officeDocument/2006/relationships/tags" Target="../tags/tag872.xml"/><Relationship Id="rId30" Type="http://schemas.openxmlformats.org/officeDocument/2006/relationships/tags" Target="../tags/tag875.xml"/><Relationship Id="rId35" Type="http://schemas.openxmlformats.org/officeDocument/2006/relationships/tags" Target="../tags/tag880.xml"/><Relationship Id="rId43" Type="http://schemas.openxmlformats.org/officeDocument/2006/relationships/tags" Target="../tags/tag888.xml"/><Relationship Id="rId48" Type="http://schemas.openxmlformats.org/officeDocument/2006/relationships/tags" Target="../tags/tag893.xml"/><Relationship Id="rId56" Type="http://schemas.openxmlformats.org/officeDocument/2006/relationships/tags" Target="../tags/tag901.xml"/><Relationship Id="rId64" Type="http://schemas.openxmlformats.org/officeDocument/2006/relationships/slideLayout" Target="../slideLayouts/slideLayout3.xml"/><Relationship Id="rId8" Type="http://schemas.openxmlformats.org/officeDocument/2006/relationships/tags" Target="../tags/tag853.xml"/><Relationship Id="rId51" Type="http://schemas.openxmlformats.org/officeDocument/2006/relationships/tags" Target="../tags/tag896.xml"/><Relationship Id="rId3" Type="http://schemas.openxmlformats.org/officeDocument/2006/relationships/tags" Target="../tags/tag848.xml"/><Relationship Id="rId12" Type="http://schemas.openxmlformats.org/officeDocument/2006/relationships/tags" Target="../tags/tag857.xml"/><Relationship Id="rId17" Type="http://schemas.openxmlformats.org/officeDocument/2006/relationships/tags" Target="../tags/tag862.xml"/><Relationship Id="rId25" Type="http://schemas.openxmlformats.org/officeDocument/2006/relationships/tags" Target="../tags/tag870.xml"/><Relationship Id="rId33" Type="http://schemas.openxmlformats.org/officeDocument/2006/relationships/tags" Target="../tags/tag878.xml"/><Relationship Id="rId38" Type="http://schemas.openxmlformats.org/officeDocument/2006/relationships/tags" Target="../tags/tag883.xml"/><Relationship Id="rId46" Type="http://schemas.openxmlformats.org/officeDocument/2006/relationships/tags" Target="../tags/tag891.xml"/><Relationship Id="rId59" Type="http://schemas.openxmlformats.org/officeDocument/2006/relationships/tags" Target="../tags/tag904.xml"/><Relationship Id="rId67" Type="http://schemas.openxmlformats.org/officeDocument/2006/relationships/chart" Target="../charts/chart27.xml"/><Relationship Id="rId20" Type="http://schemas.openxmlformats.org/officeDocument/2006/relationships/tags" Target="../tags/tag865.xml"/><Relationship Id="rId41" Type="http://schemas.openxmlformats.org/officeDocument/2006/relationships/tags" Target="../tags/tag886.xml"/><Relationship Id="rId54" Type="http://schemas.openxmlformats.org/officeDocument/2006/relationships/tags" Target="../tags/tag899.xml"/><Relationship Id="rId62" Type="http://schemas.openxmlformats.org/officeDocument/2006/relationships/tags" Target="../tags/tag907.xml"/><Relationship Id="rId1" Type="http://schemas.openxmlformats.org/officeDocument/2006/relationships/tags" Target="../tags/tag846.xml"/><Relationship Id="rId6" Type="http://schemas.openxmlformats.org/officeDocument/2006/relationships/tags" Target="../tags/tag851.xml"/><Relationship Id="rId15" Type="http://schemas.openxmlformats.org/officeDocument/2006/relationships/tags" Target="../tags/tag860.xml"/><Relationship Id="rId23" Type="http://schemas.openxmlformats.org/officeDocument/2006/relationships/tags" Target="../tags/tag868.xml"/><Relationship Id="rId28" Type="http://schemas.openxmlformats.org/officeDocument/2006/relationships/tags" Target="../tags/tag873.xml"/><Relationship Id="rId36" Type="http://schemas.openxmlformats.org/officeDocument/2006/relationships/tags" Target="../tags/tag881.xml"/><Relationship Id="rId49" Type="http://schemas.openxmlformats.org/officeDocument/2006/relationships/tags" Target="../tags/tag894.xml"/><Relationship Id="rId57" Type="http://schemas.openxmlformats.org/officeDocument/2006/relationships/tags" Target="../tags/tag902.xml"/><Relationship Id="rId10" Type="http://schemas.openxmlformats.org/officeDocument/2006/relationships/tags" Target="../tags/tag855.xml"/><Relationship Id="rId31" Type="http://schemas.openxmlformats.org/officeDocument/2006/relationships/tags" Target="../tags/tag876.xml"/><Relationship Id="rId44" Type="http://schemas.openxmlformats.org/officeDocument/2006/relationships/tags" Target="../tags/tag889.xml"/><Relationship Id="rId52" Type="http://schemas.openxmlformats.org/officeDocument/2006/relationships/tags" Target="../tags/tag897.xml"/><Relationship Id="rId60" Type="http://schemas.openxmlformats.org/officeDocument/2006/relationships/tags" Target="../tags/tag905.xml"/><Relationship Id="rId65" Type="http://schemas.openxmlformats.org/officeDocument/2006/relationships/oleObject" Target="../embeddings/oleObject35.bin"/><Relationship Id="rId4" Type="http://schemas.openxmlformats.org/officeDocument/2006/relationships/tags" Target="../tags/tag849.xml"/><Relationship Id="rId9" Type="http://schemas.openxmlformats.org/officeDocument/2006/relationships/tags" Target="../tags/tag854.xml"/><Relationship Id="rId13" Type="http://schemas.openxmlformats.org/officeDocument/2006/relationships/tags" Target="../tags/tag858.xml"/><Relationship Id="rId18" Type="http://schemas.openxmlformats.org/officeDocument/2006/relationships/tags" Target="../tags/tag863.xml"/><Relationship Id="rId39" Type="http://schemas.openxmlformats.org/officeDocument/2006/relationships/tags" Target="../tags/tag884.xml"/></Relationships>
</file>

<file path=ppt/slides/_rels/slide37.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911.xml"/><Relationship Id="rId7" Type="http://schemas.openxmlformats.org/officeDocument/2006/relationships/tags" Target="../tags/tag915.xml"/><Relationship Id="rId2" Type="http://schemas.openxmlformats.org/officeDocument/2006/relationships/tags" Target="../tags/tag910.xml"/><Relationship Id="rId1" Type="http://schemas.openxmlformats.org/officeDocument/2006/relationships/tags" Target="../tags/tag909.xml"/><Relationship Id="rId6" Type="http://schemas.openxmlformats.org/officeDocument/2006/relationships/tags" Target="../tags/tag914.xml"/><Relationship Id="rId11" Type="http://schemas.openxmlformats.org/officeDocument/2006/relationships/chart" Target="../charts/chart28.xml"/><Relationship Id="rId5" Type="http://schemas.openxmlformats.org/officeDocument/2006/relationships/tags" Target="../tags/tag913.xml"/><Relationship Id="rId10" Type="http://schemas.openxmlformats.org/officeDocument/2006/relationships/image" Target="../media/image1.emf"/><Relationship Id="rId4" Type="http://schemas.openxmlformats.org/officeDocument/2006/relationships/tags" Target="../tags/tag912.xml"/><Relationship Id="rId9" Type="http://schemas.openxmlformats.org/officeDocument/2006/relationships/oleObject" Target="../embeddings/oleObject36.bin"/></Relationships>
</file>

<file path=ppt/slides/_rels/slide38.xml.rels><?xml version="1.0" encoding="UTF-8" standalone="yes"?>
<Relationships xmlns="http://schemas.openxmlformats.org/package/2006/relationships"><Relationship Id="rId13" Type="http://schemas.openxmlformats.org/officeDocument/2006/relationships/tags" Target="../tags/tag928.xml"/><Relationship Id="rId18" Type="http://schemas.openxmlformats.org/officeDocument/2006/relationships/tags" Target="../tags/tag933.xml"/><Relationship Id="rId26" Type="http://schemas.openxmlformats.org/officeDocument/2006/relationships/tags" Target="../tags/tag941.xml"/><Relationship Id="rId39" Type="http://schemas.openxmlformats.org/officeDocument/2006/relationships/tags" Target="../tags/tag954.xml"/><Relationship Id="rId21" Type="http://schemas.openxmlformats.org/officeDocument/2006/relationships/tags" Target="../tags/tag936.xml"/><Relationship Id="rId34" Type="http://schemas.openxmlformats.org/officeDocument/2006/relationships/tags" Target="../tags/tag949.xml"/><Relationship Id="rId42" Type="http://schemas.openxmlformats.org/officeDocument/2006/relationships/tags" Target="../tags/tag957.xml"/><Relationship Id="rId47" Type="http://schemas.openxmlformats.org/officeDocument/2006/relationships/chart" Target="../charts/chart29.xml"/><Relationship Id="rId7" Type="http://schemas.openxmlformats.org/officeDocument/2006/relationships/tags" Target="../tags/tag922.xml"/><Relationship Id="rId2" Type="http://schemas.openxmlformats.org/officeDocument/2006/relationships/tags" Target="../tags/tag917.xml"/><Relationship Id="rId16" Type="http://schemas.openxmlformats.org/officeDocument/2006/relationships/tags" Target="../tags/tag931.xml"/><Relationship Id="rId29" Type="http://schemas.openxmlformats.org/officeDocument/2006/relationships/tags" Target="../tags/tag944.xml"/><Relationship Id="rId1" Type="http://schemas.openxmlformats.org/officeDocument/2006/relationships/tags" Target="../tags/tag916.xml"/><Relationship Id="rId6" Type="http://schemas.openxmlformats.org/officeDocument/2006/relationships/tags" Target="../tags/tag921.xml"/><Relationship Id="rId11" Type="http://schemas.openxmlformats.org/officeDocument/2006/relationships/tags" Target="../tags/tag926.xml"/><Relationship Id="rId24" Type="http://schemas.openxmlformats.org/officeDocument/2006/relationships/tags" Target="../tags/tag939.xml"/><Relationship Id="rId32" Type="http://schemas.openxmlformats.org/officeDocument/2006/relationships/tags" Target="../tags/tag947.xml"/><Relationship Id="rId37" Type="http://schemas.openxmlformats.org/officeDocument/2006/relationships/tags" Target="../tags/tag952.xml"/><Relationship Id="rId40" Type="http://schemas.openxmlformats.org/officeDocument/2006/relationships/tags" Target="../tags/tag955.xml"/><Relationship Id="rId45" Type="http://schemas.openxmlformats.org/officeDocument/2006/relationships/oleObject" Target="../embeddings/oleObject37.bin"/><Relationship Id="rId5" Type="http://schemas.openxmlformats.org/officeDocument/2006/relationships/tags" Target="../tags/tag920.xml"/><Relationship Id="rId15" Type="http://schemas.openxmlformats.org/officeDocument/2006/relationships/tags" Target="../tags/tag930.xml"/><Relationship Id="rId23" Type="http://schemas.openxmlformats.org/officeDocument/2006/relationships/tags" Target="../tags/tag938.xml"/><Relationship Id="rId28" Type="http://schemas.openxmlformats.org/officeDocument/2006/relationships/tags" Target="../tags/tag943.xml"/><Relationship Id="rId36" Type="http://schemas.openxmlformats.org/officeDocument/2006/relationships/tags" Target="../tags/tag951.xml"/><Relationship Id="rId10" Type="http://schemas.openxmlformats.org/officeDocument/2006/relationships/tags" Target="../tags/tag925.xml"/><Relationship Id="rId19" Type="http://schemas.openxmlformats.org/officeDocument/2006/relationships/tags" Target="../tags/tag934.xml"/><Relationship Id="rId31" Type="http://schemas.openxmlformats.org/officeDocument/2006/relationships/tags" Target="../tags/tag946.xml"/><Relationship Id="rId44" Type="http://schemas.openxmlformats.org/officeDocument/2006/relationships/slideLayout" Target="../slideLayouts/slideLayout3.xml"/><Relationship Id="rId4" Type="http://schemas.openxmlformats.org/officeDocument/2006/relationships/tags" Target="../tags/tag919.xml"/><Relationship Id="rId9" Type="http://schemas.openxmlformats.org/officeDocument/2006/relationships/tags" Target="../tags/tag924.xml"/><Relationship Id="rId14" Type="http://schemas.openxmlformats.org/officeDocument/2006/relationships/tags" Target="../tags/tag929.xml"/><Relationship Id="rId22" Type="http://schemas.openxmlformats.org/officeDocument/2006/relationships/tags" Target="../tags/tag937.xml"/><Relationship Id="rId27" Type="http://schemas.openxmlformats.org/officeDocument/2006/relationships/tags" Target="../tags/tag942.xml"/><Relationship Id="rId30" Type="http://schemas.openxmlformats.org/officeDocument/2006/relationships/tags" Target="../tags/tag945.xml"/><Relationship Id="rId35" Type="http://schemas.openxmlformats.org/officeDocument/2006/relationships/tags" Target="../tags/tag950.xml"/><Relationship Id="rId43" Type="http://schemas.openxmlformats.org/officeDocument/2006/relationships/tags" Target="../tags/tag958.xml"/><Relationship Id="rId48" Type="http://schemas.openxmlformats.org/officeDocument/2006/relationships/chart" Target="../charts/chart30.xml"/><Relationship Id="rId8" Type="http://schemas.openxmlformats.org/officeDocument/2006/relationships/tags" Target="../tags/tag923.xml"/><Relationship Id="rId3" Type="http://schemas.openxmlformats.org/officeDocument/2006/relationships/tags" Target="../tags/tag918.xml"/><Relationship Id="rId12" Type="http://schemas.openxmlformats.org/officeDocument/2006/relationships/tags" Target="../tags/tag927.xml"/><Relationship Id="rId17" Type="http://schemas.openxmlformats.org/officeDocument/2006/relationships/tags" Target="../tags/tag932.xml"/><Relationship Id="rId25" Type="http://schemas.openxmlformats.org/officeDocument/2006/relationships/tags" Target="../tags/tag940.xml"/><Relationship Id="rId33" Type="http://schemas.openxmlformats.org/officeDocument/2006/relationships/tags" Target="../tags/tag948.xml"/><Relationship Id="rId38" Type="http://schemas.openxmlformats.org/officeDocument/2006/relationships/tags" Target="../tags/tag953.xml"/><Relationship Id="rId46" Type="http://schemas.openxmlformats.org/officeDocument/2006/relationships/image" Target="../media/image18.emf"/><Relationship Id="rId20" Type="http://schemas.openxmlformats.org/officeDocument/2006/relationships/tags" Target="../tags/tag935.xml"/><Relationship Id="rId41" Type="http://schemas.openxmlformats.org/officeDocument/2006/relationships/tags" Target="../tags/tag956.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959.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960.xml"/><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961.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xml"/><Relationship Id="rId1" Type="http://schemas.openxmlformats.org/officeDocument/2006/relationships/tags" Target="../tags/tag962.xml"/><Relationship Id="rId4" Type="http://schemas.openxmlformats.org/officeDocument/2006/relationships/image" Target="../media/image20.emf"/></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4.xml"/><Relationship Id="rId1" Type="http://schemas.openxmlformats.org/officeDocument/2006/relationships/tags" Target="../tags/tag963.xml"/><Relationship Id="rId6" Type="http://schemas.openxmlformats.org/officeDocument/2006/relationships/hyperlink" Target="https://www.kantei.go.jp/jp/singi/kenkouiryou/siryou/pdf/r02_africa_moc.pdf" TargetMode="Externa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xml"/><Relationship Id="rId1" Type="http://schemas.openxmlformats.org/officeDocument/2006/relationships/tags" Target="../tags/tag965.xml"/><Relationship Id="rId4" Type="http://schemas.openxmlformats.org/officeDocument/2006/relationships/image" Target="../media/image20.emf"/></Relationships>
</file>

<file path=ppt/slides/_rels/slide45.xml.rels><?xml version="1.0" encoding="UTF-8" standalone="yes"?>
<Relationships xmlns="http://schemas.openxmlformats.org/package/2006/relationships"><Relationship Id="rId8" Type="http://schemas.openxmlformats.org/officeDocument/2006/relationships/tags" Target="../tags/tag973.xml"/><Relationship Id="rId13" Type="http://schemas.openxmlformats.org/officeDocument/2006/relationships/image" Target="../media/image18.emf"/><Relationship Id="rId3" Type="http://schemas.openxmlformats.org/officeDocument/2006/relationships/tags" Target="../tags/tag968.xml"/><Relationship Id="rId7" Type="http://schemas.openxmlformats.org/officeDocument/2006/relationships/tags" Target="../tags/tag972.xml"/><Relationship Id="rId12" Type="http://schemas.openxmlformats.org/officeDocument/2006/relationships/oleObject" Target="../embeddings/oleObject44.bin"/><Relationship Id="rId2" Type="http://schemas.openxmlformats.org/officeDocument/2006/relationships/tags" Target="../tags/tag967.xml"/><Relationship Id="rId1" Type="http://schemas.openxmlformats.org/officeDocument/2006/relationships/tags" Target="../tags/tag966.xml"/><Relationship Id="rId6" Type="http://schemas.openxmlformats.org/officeDocument/2006/relationships/tags" Target="../tags/tag971.xml"/><Relationship Id="rId11" Type="http://schemas.openxmlformats.org/officeDocument/2006/relationships/slideLayout" Target="../slideLayouts/slideLayout3.xml"/><Relationship Id="rId5" Type="http://schemas.openxmlformats.org/officeDocument/2006/relationships/tags" Target="../tags/tag970.xml"/><Relationship Id="rId10" Type="http://schemas.openxmlformats.org/officeDocument/2006/relationships/tags" Target="../tags/tag975.xml"/><Relationship Id="rId4" Type="http://schemas.openxmlformats.org/officeDocument/2006/relationships/tags" Target="../tags/tag969.xml"/><Relationship Id="rId9" Type="http://schemas.openxmlformats.org/officeDocument/2006/relationships/tags" Target="../tags/tag974.xml"/><Relationship Id="rId14" Type="http://schemas.openxmlformats.org/officeDocument/2006/relationships/chart" Target="../charts/chart31.xml"/></Relationships>
</file>

<file path=ppt/slides/_rels/slide46.xml.rels><?xml version="1.0" encoding="UTF-8" standalone="yes"?>
<Relationships xmlns="http://schemas.openxmlformats.org/package/2006/relationships"><Relationship Id="rId13" Type="http://schemas.openxmlformats.org/officeDocument/2006/relationships/tags" Target="../tags/tag988.xml"/><Relationship Id="rId18" Type="http://schemas.openxmlformats.org/officeDocument/2006/relationships/tags" Target="../tags/tag993.xml"/><Relationship Id="rId26" Type="http://schemas.openxmlformats.org/officeDocument/2006/relationships/tags" Target="../tags/tag1001.xml"/><Relationship Id="rId39" Type="http://schemas.openxmlformats.org/officeDocument/2006/relationships/image" Target="../media/image18.emf"/><Relationship Id="rId21" Type="http://schemas.openxmlformats.org/officeDocument/2006/relationships/tags" Target="../tags/tag996.xml"/><Relationship Id="rId34" Type="http://schemas.openxmlformats.org/officeDocument/2006/relationships/tags" Target="../tags/tag1009.xml"/><Relationship Id="rId7" Type="http://schemas.openxmlformats.org/officeDocument/2006/relationships/tags" Target="../tags/tag982.xml"/><Relationship Id="rId2" Type="http://schemas.openxmlformats.org/officeDocument/2006/relationships/tags" Target="../tags/tag977.xml"/><Relationship Id="rId16" Type="http://schemas.openxmlformats.org/officeDocument/2006/relationships/tags" Target="../tags/tag991.xml"/><Relationship Id="rId20" Type="http://schemas.openxmlformats.org/officeDocument/2006/relationships/tags" Target="../tags/tag995.xml"/><Relationship Id="rId29" Type="http://schemas.openxmlformats.org/officeDocument/2006/relationships/tags" Target="../tags/tag1004.xml"/><Relationship Id="rId41" Type="http://schemas.openxmlformats.org/officeDocument/2006/relationships/chart" Target="../charts/chart33.xml"/><Relationship Id="rId1" Type="http://schemas.openxmlformats.org/officeDocument/2006/relationships/tags" Target="../tags/tag976.xml"/><Relationship Id="rId6" Type="http://schemas.openxmlformats.org/officeDocument/2006/relationships/tags" Target="../tags/tag981.xml"/><Relationship Id="rId11" Type="http://schemas.openxmlformats.org/officeDocument/2006/relationships/tags" Target="../tags/tag986.xml"/><Relationship Id="rId24" Type="http://schemas.openxmlformats.org/officeDocument/2006/relationships/tags" Target="../tags/tag999.xml"/><Relationship Id="rId32" Type="http://schemas.openxmlformats.org/officeDocument/2006/relationships/tags" Target="../tags/tag1007.xml"/><Relationship Id="rId37" Type="http://schemas.openxmlformats.org/officeDocument/2006/relationships/slideLayout" Target="../slideLayouts/slideLayout3.xml"/><Relationship Id="rId40" Type="http://schemas.openxmlformats.org/officeDocument/2006/relationships/chart" Target="../charts/chart32.xml"/><Relationship Id="rId5" Type="http://schemas.openxmlformats.org/officeDocument/2006/relationships/tags" Target="../tags/tag980.xml"/><Relationship Id="rId15" Type="http://schemas.openxmlformats.org/officeDocument/2006/relationships/tags" Target="../tags/tag990.xml"/><Relationship Id="rId23" Type="http://schemas.openxmlformats.org/officeDocument/2006/relationships/tags" Target="../tags/tag998.xml"/><Relationship Id="rId28" Type="http://schemas.openxmlformats.org/officeDocument/2006/relationships/tags" Target="../tags/tag1003.xml"/><Relationship Id="rId36" Type="http://schemas.openxmlformats.org/officeDocument/2006/relationships/tags" Target="../tags/tag1011.xml"/><Relationship Id="rId10" Type="http://schemas.openxmlformats.org/officeDocument/2006/relationships/tags" Target="../tags/tag985.xml"/><Relationship Id="rId19" Type="http://schemas.openxmlformats.org/officeDocument/2006/relationships/tags" Target="../tags/tag994.xml"/><Relationship Id="rId31" Type="http://schemas.openxmlformats.org/officeDocument/2006/relationships/tags" Target="../tags/tag1006.xml"/><Relationship Id="rId4" Type="http://schemas.openxmlformats.org/officeDocument/2006/relationships/tags" Target="../tags/tag979.xml"/><Relationship Id="rId9" Type="http://schemas.openxmlformats.org/officeDocument/2006/relationships/tags" Target="../tags/tag984.xml"/><Relationship Id="rId14" Type="http://schemas.openxmlformats.org/officeDocument/2006/relationships/tags" Target="../tags/tag989.xml"/><Relationship Id="rId22" Type="http://schemas.openxmlformats.org/officeDocument/2006/relationships/tags" Target="../tags/tag997.xml"/><Relationship Id="rId27" Type="http://schemas.openxmlformats.org/officeDocument/2006/relationships/tags" Target="../tags/tag1002.xml"/><Relationship Id="rId30" Type="http://schemas.openxmlformats.org/officeDocument/2006/relationships/tags" Target="../tags/tag1005.xml"/><Relationship Id="rId35" Type="http://schemas.openxmlformats.org/officeDocument/2006/relationships/tags" Target="../tags/tag1010.xml"/><Relationship Id="rId8" Type="http://schemas.openxmlformats.org/officeDocument/2006/relationships/tags" Target="../tags/tag983.xml"/><Relationship Id="rId3" Type="http://schemas.openxmlformats.org/officeDocument/2006/relationships/tags" Target="../tags/tag978.xml"/><Relationship Id="rId12" Type="http://schemas.openxmlformats.org/officeDocument/2006/relationships/tags" Target="../tags/tag987.xml"/><Relationship Id="rId17" Type="http://schemas.openxmlformats.org/officeDocument/2006/relationships/tags" Target="../tags/tag992.xml"/><Relationship Id="rId25" Type="http://schemas.openxmlformats.org/officeDocument/2006/relationships/tags" Target="../tags/tag1000.xml"/><Relationship Id="rId33" Type="http://schemas.openxmlformats.org/officeDocument/2006/relationships/tags" Target="../tags/tag1008.xml"/><Relationship Id="rId38" Type="http://schemas.openxmlformats.org/officeDocument/2006/relationships/oleObject" Target="../embeddings/oleObject45.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3.xml"/><Relationship Id="rId1" Type="http://schemas.openxmlformats.org/officeDocument/2006/relationships/tags" Target="../tags/tag1012.xml"/><Relationship Id="rId4" Type="http://schemas.openxmlformats.org/officeDocument/2006/relationships/image" Target="../media/image2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3.xml"/><Relationship Id="rId1" Type="http://schemas.openxmlformats.org/officeDocument/2006/relationships/tags" Target="../tags/tag1013.xml"/><Relationship Id="rId4" Type="http://schemas.openxmlformats.org/officeDocument/2006/relationships/image" Target="../media/image20.emf"/></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15.xml"/><Relationship Id="rId1" Type="http://schemas.openxmlformats.org/officeDocument/2006/relationships/tags" Target="../tags/tag1014.xml"/><Relationship Id="rId5" Type="http://schemas.openxmlformats.org/officeDocument/2006/relationships/image" Target="../media/image20.emf"/><Relationship Id="rId4" Type="http://schemas.openxmlformats.org/officeDocument/2006/relationships/oleObject" Target="../embeddings/oleObject4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17.xml"/><Relationship Id="rId1" Type="http://schemas.openxmlformats.org/officeDocument/2006/relationships/tags" Target="../tags/tag1016.xml"/><Relationship Id="rId5" Type="http://schemas.openxmlformats.org/officeDocument/2006/relationships/image" Target="../media/image20.emf"/><Relationship Id="rId4" Type="http://schemas.openxmlformats.org/officeDocument/2006/relationships/oleObject" Target="../embeddings/oleObject49.bin"/></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3.xml"/><Relationship Id="rId1" Type="http://schemas.openxmlformats.org/officeDocument/2006/relationships/tags" Target="../tags/tag1018.xml"/><Relationship Id="rId4" Type="http://schemas.openxmlformats.org/officeDocument/2006/relationships/image" Target="../media/image20.emf"/></Relationships>
</file>

<file path=ppt/slides/_rels/slide52.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021.xml"/><Relationship Id="rId7" Type="http://schemas.openxmlformats.org/officeDocument/2006/relationships/tags" Target="../tags/tag1025.xml"/><Relationship Id="rId2" Type="http://schemas.openxmlformats.org/officeDocument/2006/relationships/tags" Target="../tags/tag1020.xml"/><Relationship Id="rId1" Type="http://schemas.openxmlformats.org/officeDocument/2006/relationships/tags" Target="../tags/tag1019.xml"/><Relationship Id="rId6" Type="http://schemas.openxmlformats.org/officeDocument/2006/relationships/tags" Target="../tags/tag1024.xml"/><Relationship Id="rId11" Type="http://schemas.openxmlformats.org/officeDocument/2006/relationships/chart" Target="../charts/chart34.xml"/><Relationship Id="rId5" Type="http://schemas.openxmlformats.org/officeDocument/2006/relationships/tags" Target="../tags/tag1023.xml"/><Relationship Id="rId10" Type="http://schemas.openxmlformats.org/officeDocument/2006/relationships/image" Target="../media/image32.emf"/><Relationship Id="rId4" Type="http://schemas.openxmlformats.org/officeDocument/2006/relationships/tags" Target="../tags/tag1022.xml"/><Relationship Id="rId9" Type="http://schemas.openxmlformats.org/officeDocument/2006/relationships/oleObject" Target="../embeddings/oleObject51.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27.xml"/><Relationship Id="rId1" Type="http://schemas.openxmlformats.org/officeDocument/2006/relationships/tags" Target="../tags/tag1026.x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2.xml"/><Relationship Id="rId1" Type="http://schemas.openxmlformats.org/officeDocument/2006/relationships/tags" Target="../tags/tag1028.xml"/><Relationship Id="rId4" Type="http://schemas.openxmlformats.org/officeDocument/2006/relationships/image" Target="../media/image2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1029.xml"/><Relationship Id="rId4" Type="http://schemas.openxmlformats.org/officeDocument/2006/relationships/image" Target="../media/image2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3.xml"/><Relationship Id="rId1" Type="http://schemas.openxmlformats.org/officeDocument/2006/relationships/tags" Target="../tags/tag1030.xml"/><Relationship Id="rId4" Type="http://schemas.openxmlformats.org/officeDocument/2006/relationships/image" Target="../media/image2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1031.xml"/><Relationship Id="rId4" Type="http://schemas.openxmlformats.org/officeDocument/2006/relationships/image" Target="../media/image2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3.xml"/><Relationship Id="rId1" Type="http://schemas.openxmlformats.org/officeDocument/2006/relationships/tags" Target="../tags/tag1032.xml"/><Relationship Id="rId5" Type="http://schemas.openxmlformats.org/officeDocument/2006/relationships/hyperlink" Target="https://www.africahealthexhibition.com/en/home.html" TargetMode="External"/><Relationship Id="rId4" Type="http://schemas.openxmlformats.org/officeDocument/2006/relationships/image" Target="../media/image20.emf"/></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42" Type="http://schemas.openxmlformats.org/officeDocument/2006/relationships/tags" Target="../tags/tag49.xml"/><Relationship Id="rId63" Type="http://schemas.openxmlformats.org/officeDocument/2006/relationships/tags" Target="../tags/tag70.xml"/><Relationship Id="rId84" Type="http://schemas.openxmlformats.org/officeDocument/2006/relationships/tags" Target="../tags/tag91.xml"/><Relationship Id="rId138" Type="http://schemas.openxmlformats.org/officeDocument/2006/relationships/tags" Target="../tags/tag145.xml"/><Relationship Id="rId159" Type="http://schemas.openxmlformats.org/officeDocument/2006/relationships/tags" Target="../tags/tag166.xml"/><Relationship Id="rId170" Type="http://schemas.openxmlformats.org/officeDocument/2006/relationships/tags" Target="../tags/tag177.xml"/><Relationship Id="rId191" Type="http://schemas.openxmlformats.org/officeDocument/2006/relationships/tags" Target="../tags/tag198.xml"/><Relationship Id="rId205" Type="http://schemas.openxmlformats.org/officeDocument/2006/relationships/tags" Target="../tags/tag212.xml"/><Relationship Id="rId226" Type="http://schemas.openxmlformats.org/officeDocument/2006/relationships/chart" Target="../charts/chart2.xml"/><Relationship Id="rId107" Type="http://schemas.openxmlformats.org/officeDocument/2006/relationships/tags" Target="../tags/tag114.xml"/><Relationship Id="rId11" Type="http://schemas.openxmlformats.org/officeDocument/2006/relationships/tags" Target="../tags/tag18.xml"/><Relationship Id="rId32" Type="http://schemas.openxmlformats.org/officeDocument/2006/relationships/tags" Target="../tags/tag39.xml"/><Relationship Id="rId53" Type="http://schemas.openxmlformats.org/officeDocument/2006/relationships/tags" Target="../tags/tag60.xml"/><Relationship Id="rId74" Type="http://schemas.openxmlformats.org/officeDocument/2006/relationships/tags" Target="../tags/tag81.xml"/><Relationship Id="rId128" Type="http://schemas.openxmlformats.org/officeDocument/2006/relationships/tags" Target="../tags/tag135.xml"/><Relationship Id="rId149" Type="http://schemas.openxmlformats.org/officeDocument/2006/relationships/tags" Target="../tags/tag156.xml"/><Relationship Id="rId5" Type="http://schemas.openxmlformats.org/officeDocument/2006/relationships/tags" Target="../tags/tag12.xml"/><Relationship Id="rId95" Type="http://schemas.openxmlformats.org/officeDocument/2006/relationships/tags" Target="../tags/tag102.xml"/><Relationship Id="rId160" Type="http://schemas.openxmlformats.org/officeDocument/2006/relationships/tags" Target="../tags/tag167.xml"/><Relationship Id="rId181" Type="http://schemas.openxmlformats.org/officeDocument/2006/relationships/tags" Target="../tags/tag188.xml"/><Relationship Id="rId216" Type="http://schemas.openxmlformats.org/officeDocument/2006/relationships/tags" Target="../tags/tag223.xml"/><Relationship Id="rId22" Type="http://schemas.openxmlformats.org/officeDocument/2006/relationships/tags" Target="../tags/tag29.xml"/><Relationship Id="rId43" Type="http://schemas.openxmlformats.org/officeDocument/2006/relationships/tags" Target="../tags/tag50.xml"/><Relationship Id="rId64" Type="http://schemas.openxmlformats.org/officeDocument/2006/relationships/tags" Target="../tags/tag71.xml"/><Relationship Id="rId118" Type="http://schemas.openxmlformats.org/officeDocument/2006/relationships/tags" Target="../tags/tag125.xml"/><Relationship Id="rId139" Type="http://schemas.openxmlformats.org/officeDocument/2006/relationships/tags" Target="../tags/tag146.xml"/><Relationship Id="rId85" Type="http://schemas.openxmlformats.org/officeDocument/2006/relationships/tags" Target="../tags/tag92.xml"/><Relationship Id="rId150" Type="http://schemas.openxmlformats.org/officeDocument/2006/relationships/tags" Target="../tags/tag157.xml"/><Relationship Id="rId171" Type="http://schemas.openxmlformats.org/officeDocument/2006/relationships/tags" Target="../tags/tag178.xml"/><Relationship Id="rId192" Type="http://schemas.openxmlformats.org/officeDocument/2006/relationships/tags" Target="../tags/tag199.xml"/><Relationship Id="rId206" Type="http://schemas.openxmlformats.org/officeDocument/2006/relationships/tags" Target="../tags/tag213.xml"/><Relationship Id="rId12" Type="http://schemas.openxmlformats.org/officeDocument/2006/relationships/tags" Target="../tags/tag19.xml"/><Relationship Id="rId33" Type="http://schemas.openxmlformats.org/officeDocument/2006/relationships/tags" Target="../tags/tag40.xml"/><Relationship Id="rId108" Type="http://schemas.openxmlformats.org/officeDocument/2006/relationships/tags" Target="../tags/tag115.xml"/><Relationship Id="rId129" Type="http://schemas.openxmlformats.org/officeDocument/2006/relationships/tags" Target="../tags/tag136.xml"/><Relationship Id="rId54" Type="http://schemas.openxmlformats.org/officeDocument/2006/relationships/tags" Target="../tags/tag61.xml"/><Relationship Id="rId75" Type="http://schemas.openxmlformats.org/officeDocument/2006/relationships/tags" Target="../tags/tag82.xml"/><Relationship Id="rId96" Type="http://schemas.openxmlformats.org/officeDocument/2006/relationships/tags" Target="../tags/tag103.xml"/><Relationship Id="rId140" Type="http://schemas.openxmlformats.org/officeDocument/2006/relationships/tags" Target="../tags/tag147.xml"/><Relationship Id="rId161" Type="http://schemas.openxmlformats.org/officeDocument/2006/relationships/tags" Target="../tags/tag168.xml"/><Relationship Id="rId182" Type="http://schemas.openxmlformats.org/officeDocument/2006/relationships/tags" Target="../tags/tag189.xml"/><Relationship Id="rId217" Type="http://schemas.openxmlformats.org/officeDocument/2006/relationships/tags" Target="../tags/tag224.xml"/><Relationship Id="rId6" Type="http://schemas.openxmlformats.org/officeDocument/2006/relationships/tags" Target="../tags/tag13.xml"/><Relationship Id="rId23" Type="http://schemas.openxmlformats.org/officeDocument/2006/relationships/tags" Target="../tags/tag30.xml"/><Relationship Id="rId119" Type="http://schemas.openxmlformats.org/officeDocument/2006/relationships/tags" Target="../tags/tag126.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13" Type="http://schemas.openxmlformats.org/officeDocument/2006/relationships/tags" Target="../tags/tag20.xml"/><Relationship Id="rId109" Type="http://schemas.openxmlformats.org/officeDocument/2006/relationships/tags" Target="../tags/tag116.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tags" Target="../tags/tag225.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14" Type="http://schemas.openxmlformats.org/officeDocument/2006/relationships/tags" Target="../tags/tag21.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8" Type="http://schemas.openxmlformats.org/officeDocument/2006/relationships/tags" Target="../tags/tag15.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219" Type="http://schemas.openxmlformats.org/officeDocument/2006/relationships/tags" Target="../tags/tag226.xml"/><Relationship Id="rId3" Type="http://schemas.openxmlformats.org/officeDocument/2006/relationships/tags" Target="../tags/tag10.xml"/><Relationship Id="rId214" Type="http://schemas.openxmlformats.org/officeDocument/2006/relationships/tags" Target="../tags/tag221.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79" Type="http://schemas.openxmlformats.org/officeDocument/2006/relationships/tags" Target="../tags/tag186.xml"/><Relationship Id="rId195" Type="http://schemas.openxmlformats.org/officeDocument/2006/relationships/tags" Target="../tags/tag202.xml"/><Relationship Id="rId209" Type="http://schemas.openxmlformats.org/officeDocument/2006/relationships/tags" Target="../tags/tag216.xml"/><Relationship Id="rId190" Type="http://schemas.openxmlformats.org/officeDocument/2006/relationships/tags" Target="../tags/tag197.xml"/><Relationship Id="rId204" Type="http://schemas.openxmlformats.org/officeDocument/2006/relationships/tags" Target="../tags/tag211.xml"/><Relationship Id="rId220" Type="http://schemas.openxmlformats.org/officeDocument/2006/relationships/tags" Target="../tags/tag227.xml"/><Relationship Id="rId225" Type="http://schemas.openxmlformats.org/officeDocument/2006/relationships/chart" Target="../charts/chart1.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78" Type="http://schemas.openxmlformats.org/officeDocument/2006/relationships/tags" Target="../tags/tag85.xml"/><Relationship Id="rId94" Type="http://schemas.openxmlformats.org/officeDocument/2006/relationships/tags" Target="../tags/tag101.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48" Type="http://schemas.openxmlformats.org/officeDocument/2006/relationships/tags" Target="../tags/tag155.xml"/><Relationship Id="rId164" Type="http://schemas.openxmlformats.org/officeDocument/2006/relationships/tags" Target="../tags/tag171.xml"/><Relationship Id="rId169" Type="http://schemas.openxmlformats.org/officeDocument/2006/relationships/tags" Target="../tags/tag176.xml"/><Relationship Id="rId185" Type="http://schemas.openxmlformats.org/officeDocument/2006/relationships/tags" Target="../tags/tag192.xml"/><Relationship Id="rId4" Type="http://schemas.openxmlformats.org/officeDocument/2006/relationships/tags" Target="../tags/tag11.xml"/><Relationship Id="rId9" Type="http://schemas.openxmlformats.org/officeDocument/2006/relationships/tags" Target="../tags/tag16.xml"/><Relationship Id="rId180" Type="http://schemas.openxmlformats.org/officeDocument/2006/relationships/tags" Target="../tags/tag187.xml"/><Relationship Id="rId210" Type="http://schemas.openxmlformats.org/officeDocument/2006/relationships/tags" Target="../tags/tag217.xml"/><Relationship Id="rId215" Type="http://schemas.openxmlformats.org/officeDocument/2006/relationships/tags" Target="../tags/tag222.xml"/><Relationship Id="rId26" Type="http://schemas.openxmlformats.org/officeDocument/2006/relationships/tags" Target="../tags/tag33.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221" Type="http://schemas.openxmlformats.org/officeDocument/2006/relationships/tags" Target="../tags/tag228.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222" Type="http://schemas.openxmlformats.org/officeDocument/2006/relationships/slideLayout" Target="../slideLayouts/slideLayout3.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tags" Target="../tags/tag8.xml"/><Relationship Id="rId212" Type="http://schemas.openxmlformats.org/officeDocument/2006/relationships/tags" Target="../tags/tag219.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223" Type="http://schemas.openxmlformats.org/officeDocument/2006/relationships/oleObject" Target="../embeddings/oleObject6.bin"/><Relationship Id="rId18" Type="http://schemas.openxmlformats.org/officeDocument/2006/relationships/tags" Target="../tags/tag25.xml"/><Relationship Id="rId39" Type="http://schemas.openxmlformats.org/officeDocument/2006/relationships/tags" Target="../tags/tag46.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 Type="http://schemas.openxmlformats.org/officeDocument/2006/relationships/tags" Target="../tags/tag9.xml"/><Relationship Id="rId29" Type="http://schemas.openxmlformats.org/officeDocument/2006/relationships/tags" Target="../tags/tag36.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 Id="rId224" Type="http://schemas.openxmlformats.org/officeDocument/2006/relationships/image" Target="../media/image1.emf"/><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Layout" Target="../slideLayouts/slideLayout3.xml"/><Relationship Id="rId1" Type="http://schemas.openxmlformats.org/officeDocument/2006/relationships/tags" Target="../tags/tag1033.xml"/><Relationship Id="rId4" Type="http://schemas.openxmlformats.org/officeDocument/2006/relationships/image" Target="../media/image20.em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1034.xml"/><Relationship Id="rId4" Type="http://schemas.openxmlformats.org/officeDocument/2006/relationships/image" Target="../media/image20.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1035.xml"/><Relationship Id="rId4" Type="http://schemas.openxmlformats.org/officeDocument/2006/relationships/image" Target="../media/image20.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1036.xml"/><Relationship Id="rId4" Type="http://schemas.openxmlformats.org/officeDocument/2006/relationships/image" Target="../media/image20.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3.xml"/><Relationship Id="rId1" Type="http://schemas.openxmlformats.org/officeDocument/2006/relationships/tags" Target="../tags/tag1037.xml"/><Relationship Id="rId4" Type="http://schemas.openxmlformats.org/officeDocument/2006/relationships/image" Target="../media/image2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3.xml"/><Relationship Id="rId1" Type="http://schemas.openxmlformats.org/officeDocument/2006/relationships/tags" Target="../tags/tag1038.xml"/><Relationship Id="rId4" Type="http://schemas.openxmlformats.org/officeDocument/2006/relationships/image" Target="../media/image20.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1039.xml"/><Relationship Id="rId4" Type="http://schemas.openxmlformats.org/officeDocument/2006/relationships/image" Target="../media/image20.emf"/></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1040.xml"/><Relationship Id="rId4" Type="http://schemas.openxmlformats.org/officeDocument/2006/relationships/image" Target="../media/image20.emf"/></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3.xml"/><Relationship Id="rId1" Type="http://schemas.openxmlformats.org/officeDocument/2006/relationships/tags" Target="../tags/tag1041.xml"/><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 Type="http://schemas.openxmlformats.org/officeDocument/2006/relationships/tags" Target="../tags/tag231.xml"/><Relationship Id="rId21" Type="http://schemas.openxmlformats.org/officeDocument/2006/relationships/tags" Target="../tags/tag249.xml"/><Relationship Id="rId34" Type="http://schemas.openxmlformats.org/officeDocument/2006/relationships/image" Target="../media/image18.emf"/><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oleObject" Target="../embeddings/oleObject7.bin"/><Relationship Id="rId2" Type="http://schemas.openxmlformats.org/officeDocument/2006/relationships/tags" Target="../tags/tag230.xml"/><Relationship Id="rId16" Type="http://schemas.openxmlformats.org/officeDocument/2006/relationships/tags" Target="../tags/tag244.xml"/><Relationship Id="rId20" Type="http://schemas.openxmlformats.org/officeDocument/2006/relationships/tags" Target="../tags/tag248.xml"/><Relationship Id="rId29" Type="http://schemas.openxmlformats.org/officeDocument/2006/relationships/tags" Target="../tags/tag257.xml"/><Relationship Id="rId1" Type="http://schemas.openxmlformats.org/officeDocument/2006/relationships/tags" Target="../tags/tag229.xml"/><Relationship Id="rId6" Type="http://schemas.openxmlformats.org/officeDocument/2006/relationships/tags" Target="../tags/tag23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slideLayout" Target="../slideLayouts/slideLayout3.xml"/><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chart" Target="../charts/chart4.xml"/><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tags" Target="../tags/tag259.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chart" Target="../charts/chart3.xml"/><Relationship Id="rId8" Type="http://schemas.openxmlformats.org/officeDocument/2006/relationships/tags" Target="../tags/tag236.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3.xml"/><Relationship Id="rId1" Type="http://schemas.openxmlformats.org/officeDocument/2006/relationships/tags" Target="../tags/tag1042.xml"/><Relationship Id="rId5" Type="http://schemas.openxmlformats.org/officeDocument/2006/relationships/image" Target="../media/image20.emf"/><Relationship Id="rId4" Type="http://schemas.openxmlformats.org/officeDocument/2006/relationships/oleObject" Target="../embeddings/oleObject66.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45.xml"/><Relationship Id="rId1" Type="http://schemas.openxmlformats.org/officeDocument/2006/relationships/tags" Target="../tags/tag1044.xml"/><Relationship Id="rId5" Type="http://schemas.openxmlformats.org/officeDocument/2006/relationships/image" Target="../media/image20.emf"/><Relationship Id="rId4" Type="http://schemas.openxmlformats.org/officeDocument/2006/relationships/oleObject" Target="../embeddings/oleObject67.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1046.xml"/><Relationship Id="rId4" Type="http://schemas.openxmlformats.org/officeDocument/2006/relationships/image" Target="../media/image33.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1047.xml"/><Relationship Id="rId4" Type="http://schemas.openxmlformats.org/officeDocument/2006/relationships/image" Target="../media/image33.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1048.xml"/><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26" Type="http://schemas.openxmlformats.org/officeDocument/2006/relationships/tags" Target="../tags/tag285.xml"/><Relationship Id="rId21" Type="http://schemas.openxmlformats.org/officeDocument/2006/relationships/tags" Target="../tags/tag280.xml"/><Relationship Id="rId34" Type="http://schemas.openxmlformats.org/officeDocument/2006/relationships/tags" Target="../tags/tag293.xml"/><Relationship Id="rId42" Type="http://schemas.openxmlformats.org/officeDocument/2006/relationships/tags" Target="../tags/tag301.xml"/><Relationship Id="rId47" Type="http://schemas.openxmlformats.org/officeDocument/2006/relationships/tags" Target="../tags/tag306.xml"/><Relationship Id="rId50" Type="http://schemas.openxmlformats.org/officeDocument/2006/relationships/tags" Target="../tags/tag309.xml"/><Relationship Id="rId55" Type="http://schemas.openxmlformats.org/officeDocument/2006/relationships/tags" Target="../tags/tag314.xml"/><Relationship Id="rId63" Type="http://schemas.openxmlformats.org/officeDocument/2006/relationships/oleObject" Target="../embeddings/oleObject8.bin"/><Relationship Id="rId7" Type="http://schemas.openxmlformats.org/officeDocument/2006/relationships/tags" Target="../tags/tag266.xml"/><Relationship Id="rId2" Type="http://schemas.openxmlformats.org/officeDocument/2006/relationships/tags" Target="../tags/tag261.xml"/><Relationship Id="rId16" Type="http://schemas.openxmlformats.org/officeDocument/2006/relationships/tags" Target="../tags/tag275.xml"/><Relationship Id="rId29" Type="http://schemas.openxmlformats.org/officeDocument/2006/relationships/tags" Target="../tags/tag288.xml"/><Relationship Id="rId11" Type="http://schemas.openxmlformats.org/officeDocument/2006/relationships/tags" Target="../tags/tag270.xml"/><Relationship Id="rId24" Type="http://schemas.openxmlformats.org/officeDocument/2006/relationships/tags" Target="../tags/tag283.xml"/><Relationship Id="rId32" Type="http://schemas.openxmlformats.org/officeDocument/2006/relationships/tags" Target="../tags/tag291.xml"/><Relationship Id="rId37" Type="http://schemas.openxmlformats.org/officeDocument/2006/relationships/tags" Target="../tags/tag296.xml"/><Relationship Id="rId40" Type="http://schemas.openxmlformats.org/officeDocument/2006/relationships/tags" Target="../tags/tag299.xml"/><Relationship Id="rId45" Type="http://schemas.openxmlformats.org/officeDocument/2006/relationships/tags" Target="../tags/tag304.xml"/><Relationship Id="rId53" Type="http://schemas.openxmlformats.org/officeDocument/2006/relationships/tags" Target="../tags/tag312.xml"/><Relationship Id="rId58" Type="http://schemas.openxmlformats.org/officeDocument/2006/relationships/tags" Target="../tags/tag317.xml"/><Relationship Id="rId5" Type="http://schemas.openxmlformats.org/officeDocument/2006/relationships/tags" Target="../tags/tag264.xml"/><Relationship Id="rId61" Type="http://schemas.openxmlformats.org/officeDocument/2006/relationships/slideLayout" Target="../slideLayouts/slideLayout3.xml"/><Relationship Id="rId19" Type="http://schemas.openxmlformats.org/officeDocument/2006/relationships/tags" Target="../tags/tag278.xml"/><Relationship Id="rId14" Type="http://schemas.openxmlformats.org/officeDocument/2006/relationships/tags" Target="../tags/tag273.xml"/><Relationship Id="rId22" Type="http://schemas.openxmlformats.org/officeDocument/2006/relationships/tags" Target="../tags/tag281.xml"/><Relationship Id="rId27" Type="http://schemas.openxmlformats.org/officeDocument/2006/relationships/tags" Target="../tags/tag286.xml"/><Relationship Id="rId30" Type="http://schemas.openxmlformats.org/officeDocument/2006/relationships/tags" Target="../tags/tag289.xml"/><Relationship Id="rId35" Type="http://schemas.openxmlformats.org/officeDocument/2006/relationships/tags" Target="../tags/tag294.xml"/><Relationship Id="rId43" Type="http://schemas.openxmlformats.org/officeDocument/2006/relationships/tags" Target="../tags/tag302.xml"/><Relationship Id="rId48" Type="http://schemas.openxmlformats.org/officeDocument/2006/relationships/tags" Target="../tags/tag307.xml"/><Relationship Id="rId56" Type="http://schemas.openxmlformats.org/officeDocument/2006/relationships/tags" Target="../tags/tag315.xml"/><Relationship Id="rId64" Type="http://schemas.openxmlformats.org/officeDocument/2006/relationships/image" Target="../media/image18.emf"/><Relationship Id="rId8" Type="http://schemas.openxmlformats.org/officeDocument/2006/relationships/tags" Target="../tags/tag267.xml"/><Relationship Id="rId51" Type="http://schemas.openxmlformats.org/officeDocument/2006/relationships/tags" Target="../tags/tag310.xml"/><Relationship Id="rId3" Type="http://schemas.openxmlformats.org/officeDocument/2006/relationships/tags" Target="../tags/tag262.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tags" Target="../tags/tag284.xml"/><Relationship Id="rId33" Type="http://schemas.openxmlformats.org/officeDocument/2006/relationships/tags" Target="../tags/tag292.xml"/><Relationship Id="rId38" Type="http://schemas.openxmlformats.org/officeDocument/2006/relationships/tags" Target="../tags/tag297.xml"/><Relationship Id="rId46" Type="http://schemas.openxmlformats.org/officeDocument/2006/relationships/tags" Target="../tags/tag305.xml"/><Relationship Id="rId59" Type="http://schemas.openxmlformats.org/officeDocument/2006/relationships/tags" Target="../tags/tag318.xml"/><Relationship Id="rId20" Type="http://schemas.openxmlformats.org/officeDocument/2006/relationships/tags" Target="../tags/tag279.xml"/><Relationship Id="rId41" Type="http://schemas.openxmlformats.org/officeDocument/2006/relationships/tags" Target="../tags/tag300.xml"/><Relationship Id="rId54" Type="http://schemas.openxmlformats.org/officeDocument/2006/relationships/tags" Target="../tags/tag313.xml"/><Relationship Id="rId62" Type="http://schemas.openxmlformats.org/officeDocument/2006/relationships/chart" Target="../charts/chart5.xml"/><Relationship Id="rId1" Type="http://schemas.openxmlformats.org/officeDocument/2006/relationships/tags" Target="../tags/tag260.xml"/><Relationship Id="rId6" Type="http://schemas.openxmlformats.org/officeDocument/2006/relationships/tags" Target="../tags/tag265.xml"/><Relationship Id="rId15" Type="http://schemas.openxmlformats.org/officeDocument/2006/relationships/tags" Target="../tags/tag274.xml"/><Relationship Id="rId23" Type="http://schemas.openxmlformats.org/officeDocument/2006/relationships/tags" Target="../tags/tag282.xml"/><Relationship Id="rId28" Type="http://schemas.openxmlformats.org/officeDocument/2006/relationships/tags" Target="../tags/tag287.xml"/><Relationship Id="rId36" Type="http://schemas.openxmlformats.org/officeDocument/2006/relationships/tags" Target="../tags/tag295.xml"/><Relationship Id="rId49" Type="http://schemas.openxmlformats.org/officeDocument/2006/relationships/tags" Target="../tags/tag308.xml"/><Relationship Id="rId57" Type="http://schemas.openxmlformats.org/officeDocument/2006/relationships/tags" Target="../tags/tag316.xml"/><Relationship Id="rId10" Type="http://schemas.openxmlformats.org/officeDocument/2006/relationships/tags" Target="../tags/tag269.xml"/><Relationship Id="rId31" Type="http://schemas.openxmlformats.org/officeDocument/2006/relationships/tags" Target="../tags/tag290.xml"/><Relationship Id="rId44" Type="http://schemas.openxmlformats.org/officeDocument/2006/relationships/tags" Target="../tags/tag303.xml"/><Relationship Id="rId52" Type="http://schemas.openxmlformats.org/officeDocument/2006/relationships/tags" Target="../tags/tag311.xml"/><Relationship Id="rId60" Type="http://schemas.openxmlformats.org/officeDocument/2006/relationships/tags" Target="../tags/tag319.xml"/><Relationship Id="rId65" Type="http://schemas.openxmlformats.org/officeDocument/2006/relationships/chart" Target="../charts/chart6.xml"/><Relationship Id="rId4" Type="http://schemas.openxmlformats.org/officeDocument/2006/relationships/tags" Target="../tags/tag263.xml"/><Relationship Id="rId9" Type="http://schemas.openxmlformats.org/officeDocument/2006/relationships/tags" Target="../tags/tag268.xml"/><Relationship Id="rId13" Type="http://schemas.openxmlformats.org/officeDocument/2006/relationships/tags" Target="../tags/tag272.xml"/><Relationship Id="rId18" Type="http://schemas.openxmlformats.org/officeDocument/2006/relationships/tags" Target="../tags/tag277.xml"/><Relationship Id="rId39" Type="http://schemas.openxmlformats.org/officeDocument/2006/relationships/tags" Target="../tags/tag298.xml"/></Relationships>
</file>

<file path=ppt/slides/_rels/slide9.xml.rels><?xml version="1.0" encoding="UTF-8" standalone="yes"?>
<Relationships xmlns="http://schemas.openxmlformats.org/package/2006/relationships"><Relationship Id="rId13" Type="http://schemas.openxmlformats.org/officeDocument/2006/relationships/tags" Target="../tags/tag332.xml"/><Relationship Id="rId18" Type="http://schemas.openxmlformats.org/officeDocument/2006/relationships/tags" Target="../tags/tag337.xml"/><Relationship Id="rId26" Type="http://schemas.openxmlformats.org/officeDocument/2006/relationships/tags" Target="../tags/tag345.xml"/><Relationship Id="rId39" Type="http://schemas.openxmlformats.org/officeDocument/2006/relationships/oleObject" Target="../embeddings/oleObject9.bin"/><Relationship Id="rId21" Type="http://schemas.openxmlformats.org/officeDocument/2006/relationships/tags" Target="../tags/tag340.xml"/><Relationship Id="rId34" Type="http://schemas.openxmlformats.org/officeDocument/2006/relationships/tags" Target="../tags/tag353.xml"/><Relationship Id="rId42" Type="http://schemas.openxmlformats.org/officeDocument/2006/relationships/chart" Target="../charts/chart8.xml"/><Relationship Id="rId7" Type="http://schemas.openxmlformats.org/officeDocument/2006/relationships/tags" Target="../tags/tag326.xml"/><Relationship Id="rId2" Type="http://schemas.openxmlformats.org/officeDocument/2006/relationships/tags" Target="../tags/tag321.xml"/><Relationship Id="rId16" Type="http://schemas.openxmlformats.org/officeDocument/2006/relationships/tags" Target="../tags/tag335.xml"/><Relationship Id="rId29" Type="http://schemas.openxmlformats.org/officeDocument/2006/relationships/tags" Target="../tags/tag348.xml"/><Relationship Id="rId1" Type="http://schemas.openxmlformats.org/officeDocument/2006/relationships/tags" Target="../tags/tag320.xml"/><Relationship Id="rId6" Type="http://schemas.openxmlformats.org/officeDocument/2006/relationships/tags" Target="../tags/tag325.xml"/><Relationship Id="rId11" Type="http://schemas.openxmlformats.org/officeDocument/2006/relationships/tags" Target="../tags/tag330.xml"/><Relationship Id="rId24" Type="http://schemas.openxmlformats.org/officeDocument/2006/relationships/tags" Target="../tags/tag343.xml"/><Relationship Id="rId32" Type="http://schemas.openxmlformats.org/officeDocument/2006/relationships/tags" Target="../tags/tag351.xml"/><Relationship Id="rId37" Type="http://schemas.openxmlformats.org/officeDocument/2006/relationships/slideLayout" Target="../slideLayouts/slideLayout3.xml"/><Relationship Id="rId40" Type="http://schemas.openxmlformats.org/officeDocument/2006/relationships/image" Target="../media/image18.emf"/><Relationship Id="rId45" Type="http://schemas.openxmlformats.org/officeDocument/2006/relationships/chart" Target="../charts/chart11.xml"/><Relationship Id="rId5" Type="http://schemas.openxmlformats.org/officeDocument/2006/relationships/tags" Target="../tags/tag324.xml"/><Relationship Id="rId15" Type="http://schemas.openxmlformats.org/officeDocument/2006/relationships/tags" Target="../tags/tag334.xml"/><Relationship Id="rId23" Type="http://schemas.openxmlformats.org/officeDocument/2006/relationships/tags" Target="../tags/tag342.xml"/><Relationship Id="rId28" Type="http://schemas.openxmlformats.org/officeDocument/2006/relationships/tags" Target="../tags/tag347.xml"/><Relationship Id="rId36" Type="http://schemas.openxmlformats.org/officeDocument/2006/relationships/tags" Target="../tags/tag355.xml"/><Relationship Id="rId10" Type="http://schemas.openxmlformats.org/officeDocument/2006/relationships/tags" Target="../tags/tag329.xml"/><Relationship Id="rId19" Type="http://schemas.openxmlformats.org/officeDocument/2006/relationships/tags" Target="../tags/tag338.xml"/><Relationship Id="rId31" Type="http://schemas.openxmlformats.org/officeDocument/2006/relationships/tags" Target="../tags/tag350.xml"/><Relationship Id="rId44" Type="http://schemas.openxmlformats.org/officeDocument/2006/relationships/chart" Target="../charts/chart10.xml"/><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 Id="rId22" Type="http://schemas.openxmlformats.org/officeDocument/2006/relationships/tags" Target="../tags/tag341.xml"/><Relationship Id="rId27" Type="http://schemas.openxmlformats.org/officeDocument/2006/relationships/tags" Target="../tags/tag346.xml"/><Relationship Id="rId30" Type="http://schemas.openxmlformats.org/officeDocument/2006/relationships/tags" Target="../tags/tag349.xml"/><Relationship Id="rId35" Type="http://schemas.openxmlformats.org/officeDocument/2006/relationships/tags" Target="../tags/tag354.xml"/><Relationship Id="rId43" Type="http://schemas.openxmlformats.org/officeDocument/2006/relationships/chart" Target="../charts/chart9.xml"/><Relationship Id="rId8" Type="http://schemas.openxmlformats.org/officeDocument/2006/relationships/tags" Target="../tags/tag327.xml"/><Relationship Id="rId3" Type="http://schemas.openxmlformats.org/officeDocument/2006/relationships/tags" Target="../tags/tag322.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tags" Target="../tags/tag344.xml"/><Relationship Id="rId33" Type="http://schemas.openxmlformats.org/officeDocument/2006/relationships/tags" Target="../tags/tag352.xml"/><Relationship Id="rId38" Type="http://schemas.openxmlformats.org/officeDocument/2006/relationships/notesSlide" Target="../notesSlides/notesSlide4.xml"/><Relationship Id="rId46" Type="http://schemas.openxmlformats.org/officeDocument/2006/relationships/chart" Target="../charts/chart12.xml"/><Relationship Id="rId20" Type="http://schemas.openxmlformats.org/officeDocument/2006/relationships/tags" Target="../tags/tag339.xml"/><Relationship Id="rId41"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4</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南アフリカ共和国</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143">
            <a:extLst>
              <a:ext uri="{FF2B5EF4-FFF2-40B4-BE49-F238E27FC236}">
                <a16:creationId xmlns:a16="http://schemas.microsoft.com/office/drawing/2014/main" id="{8415B282-290A-8B7E-12D5-E8A48763FF58}"/>
              </a:ext>
            </a:extLst>
          </p:cNvPr>
          <p:cNvGraphicFramePr/>
          <p:nvPr>
            <p:custDataLst>
              <p:tags r:id="rId1"/>
            </p:custDataLst>
            <p:extLst>
              <p:ext uri="{D42A27DB-BD31-4B8C-83A1-F6EECF244321}">
                <p14:modId xmlns:p14="http://schemas.microsoft.com/office/powerpoint/2010/main" val="2603678665"/>
              </p:ext>
            </p:extLst>
          </p:nvPr>
        </p:nvGraphicFramePr>
        <p:xfrm>
          <a:off x="-77788" y="2393950"/>
          <a:ext cx="4948237" cy="3748088"/>
        </p:xfrm>
        <a:graphic>
          <a:graphicData uri="http://schemas.openxmlformats.org/drawingml/2006/chart">
            <c:chart xmlns:c="http://schemas.openxmlformats.org/drawingml/2006/chart" xmlns:r="http://schemas.openxmlformats.org/officeDocument/2006/relationships" r:id="rId80"/>
          </a:graphicData>
        </a:graphic>
      </p:graphicFrame>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3856025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360" imgH="360" progId="TCLayout.ActiveDocument.1">
                  <p:embed/>
                </p:oleObj>
              </mc:Choice>
              <mc:Fallback>
                <p:oleObj name="think-cell Slide" r:id="rId81" imgW="360" imgH="360" progId="TCLayout.ActiveDocument.1">
                  <p:embed/>
                  <p:pic>
                    <p:nvPicPr>
                      <p:cNvPr id="7" name="Object 6" hidden="1"/>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 Archive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南アフリカ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るが、近年は上昇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円との為替レー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円安傾向に動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3920885" y="2359665"/>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56" name="Chart 155">
            <a:extLst>
              <a:ext uri="{FF2B5EF4-FFF2-40B4-BE49-F238E27FC236}">
                <a16:creationId xmlns:a16="http://schemas.microsoft.com/office/drawing/2014/main" id="{7F6A54A9-95EC-4E8E-AE2B-C8FEDC97EDD7}"/>
              </a:ext>
            </a:extLst>
          </p:cNvPr>
          <p:cNvGraphicFramePr/>
          <p:nvPr>
            <p:custDataLst>
              <p:tags r:id="rId4"/>
            </p:custDataLst>
            <p:extLst>
              <p:ext uri="{D42A27DB-BD31-4B8C-83A1-F6EECF244321}">
                <p14:modId xmlns:p14="http://schemas.microsoft.com/office/powerpoint/2010/main" val="3931295629"/>
              </p:ext>
            </p:extLst>
          </p:nvPr>
        </p:nvGraphicFramePr>
        <p:xfrm>
          <a:off x="4895850" y="2393950"/>
          <a:ext cx="4943475" cy="3748088"/>
        </p:xfrm>
        <a:graphic>
          <a:graphicData uri="http://schemas.openxmlformats.org/drawingml/2006/chart">
            <c:chart xmlns:c="http://schemas.openxmlformats.org/drawingml/2006/chart" xmlns:r="http://schemas.openxmlformats.org/officeDocument/2006/relationships" r:id="rId83"/>
          </a:graphicData>
        </a:graphic>
      </p:graphicFrame>
      <p:sp>
        <p:nvSpPr>
          <p:cNvPr id="107" name="Text Placeholder 12"/>
          <p:cNvSpPr>
            <a:spLocks noGrp="1"/>
          </p:cNvSpPr>
          <p:nvPr>
            <p:custDataLst>
              <p:tags r:id="rId5"/>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p:nvSpPr>
          <p:cNvPr id="116" name="Text Placeholder 12"/>
          <p:cNvSpPr>
            <a:spLocks noGrp="1"/>
          </p:cNvSpPr>
          <p:nvPr>
            <p:custDataLst>
              <p:tags r:id="rId6"/>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p:nvSpPr>
          <p:cNvPr id="121" name="Text Placeholder 12"/>
          <p:cNvSpPr>
            <a:spLocks noGrp="1"/>
          </p:cNvSpPr>
          <p:nvPr>
            <p:custDataLst>
              <p:tags r:id="rId7"/>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p:nvSpPr>
          <p:cNvPr id="126" name="Text Placeholder 12"/>
          <p:cNvSpPr>
            <a:spLocks noGrp="1"/>
          </p:cNvSpPr>
          <p:nvPr>
            <p:custDataLst>
              <p:tags r:id="rId8"/>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p:nvSpPr>
          <p:cNvPr id="122" name="Text Placeholder 12"/>
          <p:cNvSpPr>
            <a:spLocks noGrp="1"/>
          </p:cNvSpPr>
          <p:nvPr>
            <p:custDataLst>
              <p:tags r:id="rId9"/>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p:nvSpPr>
          <p:cNvPr id="118" name="Text Placeholder 12"/>
          <p:cNvSpPr>
            <a:spLocks noGrp="1"/>
          </p:cNvSpPr>
          <p:nvPr>
            <p:custDataLst>
              <p:tags r:id="rId10"/>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p:nvSpPr>
          <p:cNvPr id="128" name="Text Placeholder 12"/>
          <p:cNvSpPr>
            <a:spLocks noGrp="1"/>
          </p:cNvSpPr>
          <p:nvPr>
            <p:custDataLst>
              <p:tags r:id="rId11"/>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17" name="Text Placeholder 12"/>
          <p:cNvSpPr>
            <a:spLocks noGrp="1"/>
          </p:cNvSpPr>
          <p:nvPr>
            <p:custDataLst>
              <p:tags r:id="rId12"/>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p:nvSpPr>
          <p:cNvPr id="115" name="Text Placeholder 12"/>
          <p:cNvSpPr>
            <a:spLocks noGrp="1"/>
          </p:cNvSpPr>
          <p:nvPr>
            <p:custDataLst>
              <p:tags r:id="rId13"/>
            </p:custDataLst>
          </p:nvPr>
        </p:nvSpPr>
        <p:spPr bwMode="auto">
          <a:xfrm>
            <a:off x="4987924" y="2162175"/>
            <a:ext cx="5921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ランド）</a:t>
            </a:r>
          </a:p>
        </p:txBody>
      </p:sp>
      <p:sp useBgFill="1">
        <p:nvSpPr>
          <p:cNvPr id="103" name="テキスト プレースホルダ 9"/>
          <p:cNvSpPr>
            <a:spLocks noGrp="1"/>
          </p:cNvSpPr>
          <p:nvPr>
            <p:custDataLst>
              <p:tags r:id="rId14"/>
            </p:custDataLst>
          </p:nvPr>
        </p:nvSpPr>
        <p:spPr bwMode="gray">
          <a:xfrm>
            <a:off x="5418138" y="41116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CA3DA9-393A-43E7-8A87-B38A17AFB04E}" type="datetime'''''''''''1''''''4''''''''''''''.''3'''''''''''">
              <a:rPr lang="en-US" altLang="en-US" sz="1000" smtClean="0">
                <a:effectLst/>
              </a:rPr>
              <a:pPr/>
              <a:t>14.3</a:t>
            </a:fld>
            <a:endParaRPr kumimoji="0" lang="ja-JP" altLang="en-US" sz="1000" dirty="0">
              <a:sym typeface="+mn-lt"/>
            </a:endParaRPr>
          </a:p>
        </p:txBody>
      </p:sp>
      <p:sp>
        <p:nvSpPr>
          <p:cNvPr id="119" name="Text Placeholder 12"/>
          <p:cNvSpPr>
            <a:spLocks noGrp="1"/>
          </p:cNvSpPr>
          <p:nvPr>
            <p:custDataLst>
              <p:tags r:id="rId15"/>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20" name="Text Placeholder 12"/>
          <p:cNvSpPr>
            <a:spLocks noGrp="1"/>
          </p:cNvSpPr>
          <p:nvPr>
            <p:custDataLst>
              <p:tags r:id="rId16"/>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p:nvSpPr>
          <p:cNvPr id="123" name="Text Placeholder 12"/>
          <p:cNvSpPr>
            <a:spLocks noGrp="1"/>
          </p:cNvSpPr>
          <p:nvPr>
            <p:custDataLst>
              <p:tags r:id="rId17"/>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124" name="Text Placeholder 12"/>
          <p:cNvSpPr>
            <a:spLocks noGrp="1"/>
          </p:cNvSpPr>
          <p:nvPr>
            <p:custDataLst>
              <p:tags r:id="rId18"/>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25" name="Text Placeholder 12"/>
          <p:cNvSpPr>
            <a:spLocks noGrp="1"/>
          </p:cNvSpPr>
          <p:nvPr>
            <p:custDataLst>
              <p:tags r:id="rId19"/>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27" name="Text Placeholder 12"/>
          <p:cNvSpPr>
            <a:spLocks noGrp="1"/>
          </p:cNvSpPr>
          <p:nvPr>
            <p:custDataLst>
              <p:tags r:id="rId20"/>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09" name="Text Placeholder 12"/>
          <p:cNvSpPr>
            <a:spLocks noGrp="1"/>
          </p:cNvSpPr>
          <p:nvPr>
            <p:custDataLst>
              <p:tags r:id="rId21"/>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p:nvSpPr>
          <p:cNvPr id="108" name="Text Placeholder 12"/>
          <p:cNvSpPr>
            <a:spLocks noGrp="1"/>
          </p:cNvSpPr>
          <p:nvPr>
            <p:custDataLst>
              <p:tags r:id="rId22"/>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useBgFill="1">
        <p:nvSpPr>
          <p:cNvPr id="131" name="Text Placeholder 12"/>
          <p:cNvSpPr>
            <a:spLocks noGrp="1"/>
          </p:cNvSpPr>
          <p:nvPr>
            <p:custDataLst>
              <p:tags r:id="rId23"/>
            </p:custDataLst>
          </p:nvPr>
        </p:nvSpPr>
        <p:spPr bwMode="gray">
          <a:xfrm>
            <a:off x="8416925" y="47434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1AF33A-883C-481A-B9B8-F34D35F741F1}" type="datetime'''''''''''''7''''''''.''''''''''''''4'''''''''''">
              <a:rPr lang="en-US" altLang="en-US" sz="1000" b="0" smtClean="0">
                <a:effectLst/>
              </a:rPr>
              <a:pPr/>
              <a:t>7.4</a:t>
            </a:fld>
            <a:endParaRPr kumimoji="0" lang="ja-JP" altLang="en-US" sz="1000" b="0" dirty="0">
              <a:sym typeface="+mn-lt"/>
            </a:endParaRPr>
          </a:p>
        </p:txBody>
      </p:sp>
      <p:sp>
        <p:nvSpPr>
          <p:cNvPr id="140" name="Text Placeholder 12"/>
          <p:cNvSpPr>
            <a:spLocks noGrp="1"/>
          </p:cNvSpPr>
          <p:nvPr>
            <p:custDataLst>
              <p:tags r:id="rId24"/>
            </p:custDataLst>
          </p:nvPr>
        </p:nvSpPr>
        <p:spPr bwMode="auto">
          <a:xfrm>
            <a:off x="9629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endParaRPr kumimoji="0" lang="ja-JP" altLang="en-US" sz="1000" b="0" dirty="0">
              <a:sym typeface="+mn-lt"/>
            </a:endParaRPr>
          </a:p>
        </p:txBody>
      </p:sp>
      <p:sp>
        <p:nvSpPr>
          <p:cNvPr id="110" name="Text Placeholder 12"/>
          <p:cNvSpPr>
            <a:spLocks noGrp="1"/>
          </p:cNvSpPr>
          <p:nvPr>
            <p:custDataLst>
              <p:tags r:id="rId25"/>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26"/>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p:nvSpPr>
          <p:cNvPr id="112" name="Text Placeholder 12"/>
          <p:cNvSpPr>
            <a:spLocks noGrp="1"/>
          </p:cNvSpPr>
          <p:nvPr>
            <p:custDataLst>
              <p:tags r:id="rId27"/>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p:nvSpPr>
          <p:cNvPr id="113" name="Text Placeholder 12"/>
          <p:cNvSpPr>
            <a:spLocks noGrp="1"/>
          </p:cNvSpPr>
          <p:nvPr>
            <p:custDataLst>
              <p:tags r:id="rId28"/>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14" name="Text Placeholder 12"/>
          <p:cNvSpPr>
            <a:spLocks noGrp="1"/>
          </p:cNvSpPr>
          <p:nvPr>
            <p:custDataLst>
              <p:tags r:id="rId29"/>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p:nvSpPr>
          <p:cNvPr id="139" name="Text Placeholder 12"/>
          <p:cNvSpPr>
            <a:spLocks noGrp="1"/>
          </p:cNvSpPr>
          <p:nvPr>
            <p:custDataLst>
              <p:tags r:id="rId30"/>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99" name="テキスト プレースホルダ 9">
            <a:extLst>
              <a:ext uri="{FF2B5EF4-FFF2-40B4-BE49-F238E27FC236}">
                <a16:creationId xmlns:a16="http://schemas.microsoft.com/office/drawing/2014/main" id="{C32E3FB8-598F-4AA0-80C1-75DC7CFA80D0}"/>
              </a:ext>
            </a:extLst>
          </p:cNvPr>
          <p:cNvSpPr>
            <a:spLocks noGrp="1"/>
          </p:cNvSpPr>
          <p:nvPr>
            <p:custDataLst>
              <p:tags r:id="rId31"/>
            </p:custDataLst>
          </p:nvPr>
        </p:nvSpPr>
        <p:spPr bwMode="gray">
          <a:xfrm>
            <a:off x="5392738" y="392430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4E42B-364D-454D-B2E5-0129B6140C5C}" type="datetime'''''''''''''''''15''''''''.''''''''''6'''">
              <a:rPr lang="en-US" altLang="en-US" sz="1000" smtClean="0">
                <a:effectLst/>
                <a:sym typeface="+mn-lt"/>
              </a:rPr>
              <a:pPr marL="0" indent="0" algn="ctr">
                <a:spcBef>
                  <a:spcPct val="0"/>
                </a:spcBef>
                <a:buNone/>
              </a:pPr>
              <a:t>15.6</a:t>
            </a:fld>
            <a:endParaRPr lang="ja-JP" altLang="en-US" sz="1000" dirty="0">
              <a:sym typeface="+mn-lt"/>
            </a:endParaRPr>
          </a:p>
        </p:txBody>
      </p:sp>
      <p:sp useBgFill="1">
        <p:nvSpPr>
          <p:cNvPr id="100" name="テキスト プレースホルダ 9">
            <a:extLst>
              <a:ext uri="{FF2B5EF4-FFF2-40B4-BE49-F238E27FC236}">
                <a16:creationId xmlns:a16="http://schemas.microsoft.com/office/drawing/2014/main" id="{277F00A3-BD83-45EC-B941-2FD1D5334F5A}"/>
              </a:ext>
            </a:extLst>
          </p:cNvPr>
          <p:cNvSpPr>
            <a:spLocks noGrp="1"/>
          </p:cNvSpPr>
          <p:nvPr>
            <p:custDataLst>
              <p:tags r:id="rId32"/>
            </p:custDataLst>
          </p:nvPr>
        </p:nvSpPr>
        <p:spPr bwMode="gray">
          <a:xfrm>
            <a:off x="5543550" y="40941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7E2F4C0-068F-4461-AE5F-0C831716E689}" type="datetime'''''''1''''''1''''''''.''''''''''''''''''''''''''''''9'''''''">
              <a:rPr lang="en-US" altLang="en-US" sz="1000" smtClean="0">
                <a:effectLst/>
                <a:sym typeface="+mn-lt"/>
              </a:rPr>
              <a:pPr marL="0" indent="0">
                <a:spcBef>
                  <a:spcPct val="0"/>
                </a:spcBef>
                <a:buNone/>
              </a:pPr>
              <a:t>11.9</a:t>
            </a:fld>
            <a:endParaRPr lang="ja-JP" altLang="en-US" sz="1000" dirty="0">
              <a:sym typeface="+mn-lt"/>
            </a:endParaRPr>
          </a:p>
        </p:txBody>
      </p:sp>
      <p:sp useBgFill="1">
        <p:nvSpPr>
          <p:cNvPr id="143" name="テキスト プレースホルダ 9">
            <a:extLst>
              <a:ext uri="{FF2B5EF4-FFF2-40B4-BE49-F238E27FC236}">
                <a16:creationId xmlns:a16="http://schemas.microsoft.com/office/drawing/2014/main" id="{C3524261-0894-425F-AFF0-EA23B76AB9AA}"/>
              </a:ext>
            </a:extLst>
          </p:cNvPr>
          <p:cNvSpPr>
            <a:spLocks noGrp="1"/>
          </p:cNvSpPr>
          <p:nvPr>
            <p:custDataLst>
              <p:tags r:id="rId33"/>
            </p:custDataLst>
          </p:nvPr>
        </p:nvSpPr>
        <p:spPr bwMode="gray">
          <a:xfrm>
            <a:off x="5813425" y="36099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1E8D35-2D25-4311-9648-0AE34A4C4EE6}" type="datetime'''''''''''''''''1''''''''''''''''''5.''''''''4'''">
              <a:rPr lang="en-US" altLang="en-US" sz="1000" smtClean="0">
                <a:effectLst/>
                <a:sym typeface="+mn-lt"/>
              </a:rPr>
              <a:pPr marL="0" indent="0" algn="ctr">
                <a:spcBef>
                  <a:spcPct val="0"/>
                </a:spcBef>
                <a:buNone/>
              </a:pPr>
              <a:t>15.4</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2DC09E77-AE94-4169-B483-F8FF03C1B99F}"/>
              </a:ext>
            </a:extLst>
          </p:cNvPr>
          <p:cNvSpPr>
            <a:spLocks noGrp="1"/>
          </p:cNvSpPr>
          <p:nvPr>
            <p:custDataLst>
              <p:tags r:id="rId34"/>
            </p:custDataLst>
          </p:nvPr>
        </p:nvSpPr>
        <p:spPr bwMode="gray">
          <a:xfrm>
            <a:off x="6011863" y="37544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45A634-A7AA-42AB-85AF-F1C3C637DC71}" type="datetime'''''''''''''''''1''''''''''''6.''''''''''''''8'''''''''''">
              <a:rPr lang="en-US" altLang="en-US" sz="1000" smtClean="0">
                <a:effectLst/>
                <a:sym typeface="+mn-lt"/>
              </a:rPr>
              <a:pPr marL="0" indent="0" algn="ctr">
                <a:spcBef>
                  <a:spcPct val="0"/>
                </a:spcBef>
                <a:buNone/>
              </a:pPr>
              <a:t>16.8</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78B741E8-5BE8-4431-BBB3-0B13C6233C21}"/>
              </a:ext>
            </a:extLst>
          </p:cNvPr>
          <p:cNvSpPr>
            <a:spLocks noGrp="1"/>
          </p:cNvSpPr>
          <p:nvPr>
            <p:custDataLst>
              <p:tags r:id="rId35"/>
            </p:custDataLst>
          </p:nvPr>
        </p:nvSpPr>
        <p:spPr bwMode="gray">
          <a:xfrm>
            <a:off x="6604000" y="376396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9D72E7-1F52-4B62-92D0-2F92216ED2B1}" type="datetime'''''''''''''1''''''''''''''6''''''''''''''''''''''.''''7'">
              <a:rPr lang="en-US" altLang="en-US" sz="1000" smtClean="0">
                <a:effectLst/>
                <a:sym typeface="+mn-lt"/>
              </a:rPr>
              <a:pPr marL="0" indent="0" algn="ctr">
                <a:spcBef>
                  <a:spcPct val="0"/>
                </a:spcBef>
                <a:buNone/>
              </a:pPr>
              <a:t>16.7</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A1B40C3B-D725-4816-B0C1-0D5C0811E09E}"/>
              </a:ext>
            </a:extLst>
          </p:cNvPr>
          <p:cNvSpPr>
            <a:spLocks noGrp="1"/>
          </p:cNvSpPr>
          <p:nvPr>
            <p:custDataLst>
              <p:tags r:id="rId36"/>
            </p:custDataLst>
          </p:nvPr>
        </p:nvSpPr>
        <p:spPr bwMode="gray">
          <a:xfrm>
            <a:off x="6800850" y="39862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416B27-0A24-4830-9143-166FE27C7A7A}" type="datetime'''''''''''''1''''2''''''''''''.''''''''''''''''''''7'">
              <a:rPr lang="en-US" altLang="en-US" sz="1000" smtClean="0">
                <a:effectLst/>
                <a:sym typeface="+mn-lt"/>
              </a:rPr>
              <a:pPr marL="0" indent="0" algn="ctr">
                <a:spcBef>
                  <a:spcPct val="0"/>
                </a:spcBef>
                <a:buNone/>
              </a:pPr>
              <a:t>12.7</a:t>
            </a:fld>
            <a:endParaRPr lang="ja-JP" altLang="en-US" sz="1000" dirty="0">
              <a:sym typeface="+mn-lt"/>
            </a:endParaRPr>
          </a:p>
        </p:txBody>
      </p:sp>
      <p:sp useBgFill="1">
        <p:nvSpPr>
          <p:cNvPr id="150" name="テキスト プレースホルダ 9">
            <a:extLst>
              <a:ext uri="{FF2B5EF4-FFF2-40B4-BE49-F238E27FC236}">
                <a16:creationId xmlns:a16="http://schemas.microsoft.com/office/drawing/2014/main" id="{6FC4B1AF-CC02-472A-97AF-7A52D1CE5990}"/>
              </a:ext>
            </a:extLst>
          </p:cNvPr>
          <p:cNvSpPr>
            <a:spLocks noGrp="1"/>
          </p:cNvSpPr>
          <p:nvPr>
            <p:custDataLst>
              <p:tags r:id="rId37"/>
            </p:custDataLst>
          </p:nvPr>
        </p:nvSpPr>
        <p:spPr bwMode="gray">
          <a:xfrm>
            <a:off x="7394575" y="45672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4313EF-1F69-4A9D-AB09-E3B8948FD48E}" type="datetime'''''1''1''''''.''''''''''''''''''''''''''1'''''''''''">
              <a:rPr lang="en-US" altLang="en-US" sz="1000" smtClean="0">
                <a:effectLst/>
                <a:sym typeface="+mn-lt"/>
              </a:rPr>
              <a:pPr marL="0" indent="0" algn="ctr">
                <a:spcBef>
                  <a:spcPct val="0"/>
                </a:spcBef>
                <a:buNone/>
              </a:pPr>
              <a:t>11.1</a:t>
            </a:fld>
            <a:endParaRPr lang="ja-JP" altLang="en-US" sz="1000" dirty="0">
              <a:sym typeface="+mn-lt"/>
            </a:endParaRPr>
          </a:p>
        </p:txBody>
      </p:sp>
      <p:sp useBgFill="1">
        <p:nvSpPr>
          <p:cNvPr id="9" name="Text Placeholder 12">
            <a:extLst>
              <a:ext uri="{FF2B5EF4-FFF2-40B4-BE49-F238E27FC236}">
                <a16:creationId xmlns:a16="http://schemas.microsoft.com/office/drawing/2014/main" id="{F58150C8-FE5B-4577-3824-A4EAE6D5F2AF}"/>
              </a:ext>
            </a:extLst>
          </p:cNvPr>
          <p:cNvSpPr>
            <a:spLocks noGrp="1"/>
          </p:cNvSpPr>
          <p:nvPr>
            <p:custDataLst>
              <p:tags r:id="rId38"/>
            </p:custDataLst>
          </p:nvPr>
        </p:nvSpPr>
        <p:spPr bwMode="gray">
          <a:xfrm>
            <a:off x="804863" y="37877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4F0691-CEF0-4CC4-8B7B-C3864ACE3A0C}" type="datetime'''''''''''''''''''''''''''''''''''5''.''''9'''''''''">
              <a:rPr lang="en-US" altLang="en-US" sz="1000" b="0" smtClean="0"/>
              <a:pPr/>
              <a:t>5.9</a:t>
            </a:fld>
            <a:endParaRPr kumimoji="0" lang="ja-JP" altLang="en-US" sz="800" b="0" dirty="0">
              <a:sym typeface="+mn-lt"/>
            </a:endParaRPr>
          </a:p>
        </p:txBody>
      </p:sp>
      <p:sp useBgFill="1">
        <p:nvSpPr>
          <p:cNvPr id="10" name="Text Placeholder 12">
            <a:extLst>
              <a:ext uri="{FF2B5EF4-FFF2-40B4-BE49-F238E27FC236}">
                <a16:creationId xmlns:a16="http://schemas.microsoft.com/office/drawing/2014/main" id="{1D85A5AA-5370-78C8-2721-D8F26CB699DC}"/>
              </a:ext>
            </a:extLst>
          </p:cNvPr>
          <p:cNvSpPr>
            <a:spLocks noGrp="1"/>
          </p:cNvSpPr>
          <p:nvPr>
            <p:custDataLst>
              <p:tags r:id="rId39"/>
            </p:custDataLst>
          </p:nvPr>
        </p:nvSpPr>
        <p:spPr bwMode="gray">
          <a:xfrm>
            <a:off x="2022475" y="42211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312AA9A-80B8-4169-9745-346FA822894D}" type="datetime'''''''''''''''4.''''''''''''2'''''''''''''''''''''''''''''''''">
              <a:rPr lang="en-US" altLang="en-US" sz="1000" b="0" smtClean="0"/>
              <a:pPr/>
              <a:t>4.2</a:t>
            </a:fld>
            <a:endParaRPr kumimoji="0" lang="ja-JP" altLang="en-US" sz="800" b="0" dirty="0">
              <a:sym typeface="+mn-lt"/>
            </a:endParaRPr>
          </a:p>
        </p:txBody>
      </p:sp>
      <p:sp>
        <p:nvSpPr>
          <p:cNvPr id="11" name="Text Placeholder 12">
            <a:extLst>
              <a:ext uri="{FF2B5EF4-FFF2-40B4-BE49-F238E27FC236}">
                <a16:creationId xmlns:a16="http://schemas.microsoft.com/office/drawing/2014/main" id="{7BB5EF8B-0974-58BC-D129-2F788942C8F4}"/>
              </a:ext>
            </a:extLst>
          </p:cNvPr>
          <p:cNvSpPr>
            <a:spLocks noGrp="1"/>
          </p:cNvSpPr>
          <p:nvPr>
            <p:custDataLst>
              <p:tags r:id="rId40"/>
            </p:custDataLst>
          </p:nvPr>
        </p:nvSpPr>
        <p:spPr bwMode="auto">
          <a:xfrm>
            <a:off x="14288"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a:t>
            </a:r>
          </a:p>
        </p:txBody>
      </p:sp>
      <p:sp useBgFill="1">
        <p:nvSpPr>
          <p:cNvPr id="12" name="テキスト プレースホルダ 9">
            <a:extLst>
              <a:ext uri="{FF2B5EF4-FFF2-40B4-BE49-F238E27FC236}">
                <a16:creationId xmlns:a16="http://schemas.microsoft.com/office/drawing/2014/main" id="{C34A2D6B-22CD-C7E8-5A6C-332C90DD9C26}"/>
              </a:ext>
            </a:extLst>
          </p:cNvPr>
          <p:cNvSpPr>
            <a:spLocks noGrp="1"/>
          </p:cNvSpPr>
          <p:nvPr>
            <p:custDataLst>
              <p:tags r:id="rId41"/>
            </p:custDataLst>
          </p:nvPr>
        </p:nvSpPr>
        <p:spPr bwMode="gray">
          <a:xfrm>
            <a:off x="3937000" y="41338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FDC7EA-62D8-4273-BDDE-84B81D3F7B81}" type="datetime'''''''''''''''''''''4''.''''''''''''''''''''''''''''6'">
              <a:rPr lang="en-US" altLang="en-US" sz="1000" smtClean="0"/>
              <a:pPr marL="0" indent="0" algn="ctr">
                <a:spcBef>
                  <a:spcPct val="0"/>
                </a:spcBef>
                <a:buNone/>
              </a:pPr>
              <a:t>4.6</a:t>
            </a:fld>
            <a:endParaRPr lang="ja-JP" altLang="en-US" sz="800" dirty="0">
              <a:sym typeface="+mn-lt"/>
            </a:endParaRPr>
          </a:p>
        </p:txBody>
      </p:sp>
      <p:sp useBgFill="1">
        <p:nvSpPr>
          <p:cNvPr id="13" name="テキスト プレースホルダ 9">
            <a:extLst>
              <a:ext uri="{FF2B5EF4-FFF2-40B4-BE49-F238E27FC236}">
                <a16:creationId xmlns:a16="http://schemas.microsoft.com/office/drawing/2014/main" id="{50F6AFDA-2DAA-9B24-9277-0C7F6B70348E}"/>
              </a:ext>
            </a:extLst>
          </p:cNvPr>
          <p:cNvSpPr>
            <a:spLocks noGrp="1"/>
          </p:cNvSpPr>
          <p:nvPr>
            <p:custDataLst>
              <p:tags r:id="rId42"/>
            </p:custDataLst>
          </p:nvPr>
        </p:nvSpPr>
        <p:spPr bwMode="gray">
          <a:xfrm>
            <a:off x="977900" y="49371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3EB1A3-6106-4B8B-8B7C-92694A35374C}" type="datetime'1''''''''''''''''''''''''''''''''.''''''''''4'''''''''''''''">
              <a:rPr lang="en-US" altLang="en-US" sz="1000" smtClean="0"/>
              <a:pPr marL="0" indent="0" algn="ctr">
                <a:spcBef>
                  <a:spcPct val="0"/>
                </a:spcBef>
                <a:buNone/>
              </a:pPr>
              <a:t>1.4</a:t>
            </a:fld>
            <a:endParaRPr lang="ja-JP" altLang="en-US" sz="800" dirty="0">
              <a:sym typeface="+mn-lt"/>
            </a:endParaRPr>
          </a:p>
        </p:txBody>
      </p:sp>
      <p:sp useBgFill="1">
        <p:nvSpPr>
          <p:cNvPr id="14" name="テキスト プレースホルダ 9">
            <a:extLst>
              <a:ext uri="{FF2B5EF4-FFF2-40B4-BE49-F238E27FC236}">
                <a16:creationId xmlns:a16="http://schemas.microsoft.com/office/drawing/2014/main" id="{E2195982-9CB2-30C5-3AFC-DA9E2C453DA5}"/>
              </a:ext>
            </a:extLst>
          </p:cNvPr>
          <p:cNvSpPr>
            <a:spLocks noGrp="1"/>
          </p:cNvSpPr>
          <p:nvPr>
            <p:custDataLst>
              <p:tags r:id="rId43"/>
            </p:custDataLst>
          </p:nvPr>
        </p:nvSpPr>
        <p:spPr bwMode="gray">
          <a:xfrm>
            <a:off x="457200" y="38417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DF5C85-D6F1-4427-AE7F-BEC79445F5F0}" type="datetime'''''''''''''5''''''''''.''''7'''''''''''''''''''''''''">
              <a:rPr lang="en-US" altLang="en-US" sz="1000" smtClean="0"/>
              <a:pPr marL="0" indent="0" algn="ctr">
                <a:spcBef>
                  <a:spcPct val="0"/>
                </a:spcBef>
                <a:buNone/>
              </a:pPr>
              <a:t>5.7</a:t>
            </a:fld>
            <a:endParaRPr lang="ja-JP" altLang="en-US" sz="800" dirty="0">
              <a:sym typeface="+mn-lt"/>
            </a:endParaRPr>
          </a:p>
        </p:txBody>
      </p:sp>
      <p:sp useBgFill="1">
        <p:nvSpPr>
          <p:cNvPr id="15" name="Text Placeholder 12">
            <a:extLst>
              <a:ext uri="{FF2B5EF4-FFF2-40B4-BE49-F238E27FC236}">
                <a16:creationId xmlns:a16="http://schemas.microsoft.com/office/drawing/2014/main" id="{36F006A3-21D2-FC24-C2DE-FA5B807C77C8}"/>
              </a:ext>
            </a:extLst>
          </p:cNvPr>
          <p:cNvSpPr>
            <a:spLocks noGrp="1"/>
          </p:cNvSpPr>
          <p:nvPr>
            <p:custDataLst>
              <p:tags r:id="rId44"/>
            </p:custDataLst>
          </p:nvPr>
        </p:nvSpPr>
        <p:spPr bwMode="gray">
          <a:xfrm>
            <a:off x="434177" y="42211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7CBC019-FB60-4EED-87AE-D8F5D28E34C6}" type="datetime'''5''''''''''''''''''''''''''''''''''''.''''''''3'''''''''">
              <a:rPr lang="en-US" altLang="en-US" sz="1000" b="0" smtClean="0"/>
              <a:pPr/>
              <a:t>5.3</a:t>
            </a:fld>
            <a:endParaRPr kumimoji="0" lang="ja-JP" altLang="en-US" sz="800" b="0" dirty="0">
              <a:sym typeface="+mn-lt"/>
            </a:endParaRPr>
          </a:p>
        </p:txBody>
      </p:sp>
      <p:sp>
        <p:nvSpPr>
          <p:cNvPr id="16" name="Text Placeholder 12">
            <a:extLst>
              <a:ext uri="{FF2B5EF4-FFF2-40B4-BE49-F238E27FC236}">
                <a16:creationId xmlns:a16="http://schemas.microsoft.com/office/drawing/2014/main" id="{1FDDB02B-5E93-5205-4223-D4AE65C8168E}"/>
              </a:ext>
            </a:extLst>
          </p:cNvPr>
          <p:cNvSpPr>
            <a:spLocks noGrp="1"/>
          </p:cNvSpPr>
          <p:nvPr>
            <p:custDataLst>
              <p:tags r:id="rId45"/>
            </p:custDataLst>
          </p:nvPr>
        </p:nvSpPr>
        <p:spPr bwMode="auto">
          <a:xfrm>
            <a:off x="8334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800" b="0" dirty="0">
              <a:sym typeface="+mn-lt"/>
            </a:endParaRPr>
          </a:p>
        </p:txBody>
      </p:sp>
      <p:sp>
        <p:nvSpPr>
          <p:cNvPr id="17" name="Text Placeholder 12">
            <a:extLst>
              <a:ext uri="{FF2B5EF4-FFF2-40B4-BE49-F238E27FC236}">
                <a16:creationId xmlns:a16="http://schemas.microsoft.com/office/drawing/2014/main" id="{322F42D8-C3DF-CD70-3CED-D5D47D4002B5}"/>
              </a:ext>
            </a:extLst>
          </p:cNvPr>
          <p:cNvSpPr>
            <a:spLocks noGrp="1"/>
          </p:cNvSpPr>
          <p:nvPr>
            <p:custDataLst>
              <p:tags r:id="rId46"/>
            </p:custDataLst>
          </p:nvPr>
        </p:nvSpPr>
        <p:spPr bwMode="auto">
          <a:xfrm>
            <a:off x="241300"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800" b="0" dirty="0">
              <a:sym typeface="+mn-lt"/>
            </a:endParaRPr>
          </a:p>
        </p:txBody>
      </p:sp>
      <p:sp>
        <p:nvSpPr>
          <p:cNvPr id="18" name="Text Placeholder 12">
            <a:extLst>
              <a:ext uri="{FF2B5EF4-FFF2-40B4-BE49-F238E27FC236}">
                <a16:creationId xmlns:a16="http://schemas.microsoft.com/office/drawing/2014/main" id="{D808C4AB-86E1-53F0-6DCA-F328C59D6396}"/>
              </a:ext>
            </a:extLst>
          </p:cNvPr>
          <p:cNvSpPr>
            <a:spLocks noGrp="1"/>
          </p:cNvSpPr>
          <p:nvPr>
            <p:custDataLst>
              <p:tags r:id="rId47"/>
            </p:custDataLst>
          </p:nvPr>
        </p:nvSpPr>
        <p:spPr bwMode="auto">
          <a:xfrm>
            <a:off x="6588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800" b="0" dirty="0">
              <a:sym typeface="+mn-lt"/>
            </a:endParaRPr>
          </a:p>
        </p:txBody>
      </p:sp>
      <p:sp>
        <p:nvSpPr>
          <p:cNvPr id="19" name="Text Placeholder 12">
            <a:extLst>
              <a:ext uri="{FF2B5EF4-FFF2-40B4-BE49-F238E27FC236}">
                <a16:creationId xmlns:a16="http://schemas.microsoft.com/office/drawing/2014/main" id="{1F01C474-9B2D-7A16-92E3-2F5B37F9A96F}"/>
              </a:ext>
            </a:extLst>
          </p:cNvPr>
          <p:cNvSpPr>
            <a:spLocks noGrp="1"/>
          </p:cNvSpPr>
          <p:nvPr>
            <p:custDataLst>
              <p:tags r:id="rId48"/>
            </p:custDataLst>
          </p:nvPr>
        </p:nvSpPr>
        <p:spPr bwMode="auto">
          <a:xfrm>
            <a:off x="27463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800" b="0" dirty="0">
              <a:sym typeface="+mn-lt"/>
            </a:endParaRPr>
          </a:p>
        </p:txBody>
      </p:sp>
      <p:sp>
        <p:nvSpPr>
          <p:cNvPr id="20" name="Text Placeholder 12">
            <a:extLst>
              <a:ext uri="{FF2B5EF4-FFF2-40B4-BE49-F238E27FC236}">
                <a16:creationId xmlns:a16="http://schemas.microsoft.com/office/drawing/2014/main" id="{EACE615C-CAAF-6765-4FF5-6C586A50920E}"/>
              </a:ext>
            </a:extLst>
          </p:cNvPr>
          <p:cNvSpPr>
            <a:spLocks noGrp="1"/>
          </p:cNvSpPr>
          <p:nvPr>
            <p:custDataLst>
              <p:tags r:id="rId49"/>
            </p:custDataLst>
          </p:nvPr>
        </p:nvSpPr>
        <p:spPr bwMode="auto">
          <a:xfrm>
            <a:off x="485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800" b="0" dirty="0">
              <a:sym typeface="+mn-lt"/>
            </a:endParaRPr>
          </a:p>
        </p:txBody>
      </p:sp>
      <p:sp>
        <p:nvSpPr>
          <p:cNvPr id="21" name="Text Placeholder 12">
            <a:extLst>
              <a:ext uri="{FF2B5EF4-FFF2-40B4-BE49-F238E27FC236}">
                <a16:creationId xmlns:a16="http://schemas.microsoft.com/office/drawing/2014/main" id="{EE97D4E1-99F6-D54C-356E-058887CDDFDF}"/>
              </a:ext>
            </a:extLst>
          </p:cNvPr>
          <p:cNvSpPr>
            <a:spLocks noGrp="1"/>
          </p:cNvSpPr>
          <p:nvPr>
            <p:custDataLst>
              <p:tags r:id="rId50"/>
            </p:custDataLst>
          </p:nvPr>
        </p:nvSpPr>
        <p:spPr bwMode="auto">
          <a:xfrm>
            <a:off x="10064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800" b="0" dirty="0">
              <a:sym typeface="+mn-lt"/>
            </a:endParaRPr>
          </a:p>
        </p:txBody>
      </p:sp>
      <p:sp>
        <p:nvSpPr>
          <p:cNvPr id="22" name="Text Placeholder 12">
            <a:extLst>
              <a:ext uri="{FF2B5EF4-FFF2-40B4-BE49-F238E27FC236}">
                <a16:creationId xmlns:a16="http://schemas.microsoft.com/office/drawing/2014/main" id="{D96EECB5-D7CD-2845-4FCA-9C1085756FA6}"/>
              </a:ext>
            </a:extLst>
          </p:cNvPr>
          <p:cNvSpPr>
            <a:spLocks noGrp="1"/>
          </p:cNvSpPr>
          <p:nvPr>
            <p:custDataLst>
              <p:tags r:id="rId51"/>
            </p:custDataLst>
          </p:nvPr>
        </p:nvSpPr>
        <p:spPr bwMode="auto">
          <a:xfrm>
            <a:off x="22256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800" b="0" dirty="0">
              <a:sym typeface="+mn-lt"/>
            </a:endParaRPr>
          </a:p>
        </p:txBody>
      </p:sp>
      <p:sp useBgFill="1">
        <p:nvSpPr>
          <p:cNvPr id="23" name="Text Placeholder 12">
            <a:extLst>
              <a:ext uri="{FF2B5EF4-FFF2-40B4-BE49-F238E27FC236}">
                <a16:creationId xmlns:a16="http://schemas.microsoft.com/office/drawing/2014/main" id="{7548BF85-664D-B36D-2814-EEB23F9D4144}"/>
              </a:ext>
            </a:extLst>
          </p:cNvPr>
          <p:cNvSpPr>
            <a:spLocks noGrp="1"/>
          </p:cNvSpPr>
          <p:nvPr>
            <p:custDataLst>
              <p:tags r:id="rId52"/>
            </p:custDataLst>
          </p:nvPr>
        </p:nvSpPr>
        <p:spPr bwMode="gray">
          <a:xfrm>
            <a:off x="1152525" y="44354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3EEDDBE-EA6B-42CA-A9E8-11B58A49CA3A}" type="datetime'''''''''''''3.''''''''''''''''''''4'''''''''''''''">
              <a:rPr lang="en-US" altLang="en-US" sz="1000" b="0" smtClean="0"/>
              <a:pPr/>
              <a:t>3.4</a:t>
            </a:fld>
            <a:endParaRPr kumimoji="0" lang="ja-JP" altLang="en-US" sz="800" b="0" dirty="0">
              <a:sym typeface="+mn-lt"/>
            </a:endParaRPr>
          </a:p>
        </p:txBody>
      </p:sp>
      <p:sp>
        <p:nvSpPr>
          <p:cNvPr id="24" name="Text Placeholder 12">
            <a:extLst>
              <a:ext uri="{FF2B5EF4-FFF2-40B4-BE49-F238E27FC236}">
                <a16:creationId xmlns:a16="http://schemas.microsoft.com/office/drawing/2014/main" id="{A0498B3E-BBD7-9F6E-C960-450240B4F430}"/>
              </a:ext>
            </a:extLst>
          </p:cNvPr>
          <p:cNvSpPr>
            <a:spLocks noGrp="1"/>
          </p:cNvSpPr>
          <p:nvPr>
            <p:custDataLst>
              <p:tags r:id="rId53"/>
            </p:custDataLst>
          </p:nvPr>
        </p:nvSpPr>
        <p:spPr bwMode="auto">
          <a:xfrm>
            <a:off x="11811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800" b="0" dirty="0">
              <a:sym typeface="+mn-lt"/>
            </a:endParaRPr>
          </a:p>
        </p:txBody>
      </p:sp>
      <p:sp>
        <p:nvSpPr>
          <p:cNvPr id="32" name="Text Placeholder 12">
            <a:extLst>
              <a:ext uri="{FF2B5EF4-FFF2-40B4-BE49-F238E27FC236}">
                <a16:creationId xmlns:a16="http://schemas.microsoft.com/office/drawing/2014/main" id="{966C46BF-3F63-E51D-433E-EDB9AE429C65}"/>
              </a:ext>
            </a:extLst>
          </p:cNvPr>
          <p:cNvSpPr>
            <a:spLocks noGrp="1"/>
          </p:cNvSpPr>
          <p:nvPr>
            <p:custDataLst>
              <p:tags r:id="rId54"/>
            </p:custDataLst>
          </p:nvPr>
        </p:nvSpPr>
        <p:spPr bwMode="auto">
          <a:xfrm>
            <a:off x="30956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800" b="0" dirty="0">
              <a:sym typeface="+mn-lt"/>
            </a:endParaRPr>
          </a:p>
        </p:txBody>
      </p:sp>
      <p:sp useBgFill="1">
        <p:nvSpPr>
          <p:cNvPr id="34" name="Text Placeholder 12">
            <a:extLst>
              <a:ext uri="{FF2B5EF4-FFF2-40B4-BE49-F238E27FC236}">
                <a16:creationId xmlns:a16="http://schemas.microsoft.com/office/drawing/2014/main" id="{2C8BA264-6908-7BAD-176B-7803D31754F2}"/>
              </a:ext>
            </a:extLst>
          </p:cNvPr>
          <p:cNvSpPr>
            <a:spLocks noGrp="1"/>
          </p:cNvSpPr>
          <p:nvPr>
            <p:custDataLst>
              <p:tags r:id="rId55"/>
            </p:custDataLst>
          </p:nvPr>
        </p:nvSpPr>
        <p:spPr bwMode="gray">
          <a:xfrm>
            <a:off x="1327150" y="41068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C3126A-5A18-4D6B-A5FA-4971D57AD591}" type="datetime'''''''''''''''''''''''''''''''''''''''''''''''''4''''''''.7'">
              <a:rPr lang="en-US" altLang="en-US" sz="1000" b="0" smtClean="0"/>
              <a:pPr/>
              <a:t>4.7</a:t>
            </a:fld>
            <a:endParaRPr kumimoji="0" lang="ja-JP" altLang="en-US" sz="800" b="0" dirty="0">
              <a:sym typeface="+mn-lt"/>
            </a:endParaRPr>
          </a:p>
        </p:txBody>
      </p:sp>
      <p:sp useBgFill="1">
        <p:nvSpPr>
          <p:cNvPr id="35" name="テキスト プレースホルダ 9">
            <a:extLst>
              <a:ext uri="{FF2B5EF4-FFF2-40B4-BE49-F238E27FC236}">
                <a16:creationId xmlns:a16="http://schemas.microsoft.com/office/drawing/2014/main" id="{368AF848-9AC2-7BF2-524C-49A9C8CBD7BA}"/>
              </a:ext>
            </a:extLst>
          </p:cNvPr>
          <p:cNvSpPr>
            <a:spLocks noGrp="1"/>
          </p:cNvSpPr>
          <p:nvPr>
            <p:custDataLst>
              <p:tags r:id="rId56"/>
            </p:custDataLst>
          </p:nvPr>
        </p:nvSpPr>
        <p:spPr bwMode="gray">
          <a:xfrm>
            <a:off x="3240088" y="3949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9C00791-1B1F-4D82-A213-FD056376D3D3}" type="datetime'''''''''''5''''''''.''''3'''''''''''''''''''''''''''''">
              <a:rPr lang="en-US" altLang="en-US" sz="1000" smtClean="0"/>
              <a:pPr marL="0" indent="0" algn="ctr">
                <a:spcBef>
                  <a:spcPct val="0"/>
                </a:spcBef>
                <a:buNone/>
              </a:pPr>
              <a:t>5.3</a:t>
            </a:fld>
            <a:endParaRPr lang="ja-JP" altLang="en-US" sz="800" dirty="0">
              <a:sym typeface="+mn-lt"/>
            </a:endParaRPr>
          </a:p>
        </p:txBody>
      </p:sp>
      <p:sp>
        <p:nvSpPr>
          <p:cNvPr id="36" name="Text Placeholder 12">
            <a:extLst>
              <a:ext uri="{FF2B5EF4-FFF2-40B4-BE49-F238E27FC236}">
                <a16:creationId xmlns:a16="http://schemas.microsoft.com/office/drawing/2014/main" id="{3C73FD14-2B7D-798B-BFA7-B729AABD6D2E}"/>
              </a:ext>
            </a:extLst>
          </p:cNvPr>
          <p:cNvSpPr>
            <a:spLocks noGrp="1"/>
          </p:cNvSpPr>
          <p:nvPr>
            <p:custDataLst>
              <p:tags r:id="rId57"/>
            </p:custDataLst>
          </p:nvPr>
        </p:nvSpPr>
        <p:spPr bwMode="auto">
          <a:xfrm>
            <a:off x="13557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800" b="0" dirty="0">
              <a:sym typeface="+mn-lt"/>
            </a:endParaRPr>
          </a:p>
        </p:txBody>
      </p:sp>
      <p:sp useBgFill="1">
        <p:nvSpPr>
          <p:cNvPr id="37" name="Text Placeholder 12">
            <a:extLst>
              <a:ext uri="{FF2B5EF4-FFF2-40B4-BE49-F238E27FC236}">
                <a16:creationId xmlns:a16="http://schemas.microsoft.com/office/drawing/2014/main" id="{6DF389DE-88E1-6D33-0E24-C407AE119A82}"/>
              </a:ext>
            </a:extLst>
          </p:cNvPr>
          <p:cNvSpPr>
            <a:spLocks noGrp="1"/>
          </p:cNvSpPr>
          <p:nvPr>
            <p:custDataLst>
              <p:tags r:id="rId58"/>
            </p:custDataLst>
          </p:nvPr>
        </p:nvSpPr>
        <p:spPr bwMode="gray">
          <a:xfrm>
            <a:off x="1500188" y="34782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5B8C08-44AE-48AD-9F22-90F12901BD7F}" type="datetime'''7''.''''''''''''''''''''''''''''''''1'''''''''''''''''''''''">
              <a:rPr lang="en-US" altLang="en-US" sz="1000" b="0" smtClean="0"/>
              <a:pPr/>
              <a:t>7.1</a:t>
            </a:fld>
            <a:endParaRPr kumimoji="0" lang="ja-JP" altLang="en-US" sz="800" b="0" dirty="0">
              <a:sym typeface="+mn-lt"/>
            </a:endParaRPr>
          </a:p>
        </p:txBody>
      </p:sp>
      <p:sp>
        <p:nvSpPr>
          <p:cNvPr id="38" name="Text Placeholder 12">
            <a:extLst>
              <a:ext uri="{FF2B5EF4-FFF2-40B4-BE49-F238E27FC236}">
                <a16:creationId xmlns:a16="http://schemas.microsoft.com/office/drawing/2014/main" id="{19E2EBE9-E173-7EFA-FD45-3C2465711EDE}"/>
              </a:ext>
            </a:extLst>
          </p:cNvPr>
          <p:cNvSpPr>
            <a:spLocks noGrp="1"/>
          </p:cNvSpPr>
          <p:nvPr>
            <p:custDataLst>
              <p:tags r:id="rId59"/>
            </p:custDataLst>
          </p:nvPr>
        </p:nvSpPr>
        <p:spPr bwMode="auto">
          <a:xfrm>
            <a:off x="15287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800" b="0" dirty="0">
              <a:sym typeface="+mn-lt"/>
            </a:endParaRPr>
          </a:p>
        </p:txBody>
      </p:sp>
      <p:sp useBgFill="1">
        <p:nvSpPr>
          <p:cNvPr id="39" name="テキスト プレースホルダ 9">
            <a:extLst>
              <a:ext uri="{FF2B5EF4-FFF2-40B4-BE49-F238E27FC236}">
                <a16:creationId xmlns:a16="http://schemas.microsoft.com/office/drawing/2014/main" id="{6457D1FA-5E6E-BAA4-00B0-A5FDCE70B5E3}"/>
              </a:ext>
            </a:extLst>
          </p:cNvPr>
          <p:cNvSpPr>
            <a:spLocks noGrp="1"/>
          </p:cNvSpPr>
          <p:nvPr>
            <p:custDataLst>
              <p:tags r:id="rId60"/>
            </p:custDataLst>
          </p:nvPr>
        </p:nvSpPr>
        <p:spPr bwMode="gray">
          <a:xfrm>
            <a:off x="3762375" y="4457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9BDEAB7-E0D8-4D27-9648-620CDB6A0CC5}" type="datetime'''''''''''''''3''''''.''''''''''''''''''''''''''''''''''''3'''">
              <a:rPr lang="en-US" altLang="en-US" sz="1000" smtClean="0"/>
              <a:pPr marL="0" indent="0" algn="ctr">
                <a:spcBef>
                  <a:spcPct val="0"/>
                </a:spcBef>
                <a:buNone/>
              </a:pPr>
              <a:t>3.3</a:t>
            </a:fld>
            <a:endParaRPr lang="ja-JP" altLang="en-US" sz="800" dirty="0">
              <a:sym typeface="+mn-lt"/>
            </a:endParaRPr>
          </a:p>
        </p:txBody>
      </p:sp>
      <p:sp>
        <p:nvSpPr>
          <p:cNvPr id="43" name="Text Placeholder 12">
            <a:extLst>
              <a:ext uri="{FF2B5EF4-FFF2-40B4-BE49-F238E27FC236}">
                <a16:creationId xmlns:a16="http://schemas.microsoft.com/office/drawing/2014/main" id="{BE26CE68-CAAC-926F-858B-1E1F45B9BD59}"/>
              </a:ext>
            </a:extLst>
          </p:cNvPr>
          <p:cNvSpPr>
            <a:spLocks noGrp="1"/>
          </p:cNvSpPr>
          <p:nvPr>
            <p:custDataLst>
              <p:tags r:id="rId61"/>
            </p:custDataLst>
          </p:nvPr>
        </p:nvSpPr>
        <p:spPr bwMode="auto">
          <a:xfrm>
            <a:off x="17033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800" b="0" dirty="0">
              <a:sym typeface="+mn-lt"/>
            </a:endParaRPr>
          </a:p>
        </p:txBody>
      </p:sp>
      <p:sp>
        <p:nvSpPr>
          <p:cNvPr id="44" name="Text Placeholder 12">
            <a:extLst>
              <a:ext uri="{FF2B5EF4-FFF2-40B4-BE49-F238E27FC236}">
                <a16:creationId xmlns:a16="http://schemas.microsoft.com/office/drawing/2014/main" id="{3105585C-5F06-088B-2C89-69F2A0559F73}"/>
              </a:ext>
            </a:extLst>
          </p:cNvPr>
          <p:cNvSpPr>
            <a:spLocks noGrp="1"/>
          </p:cNvSpPr>
          <p:nvPr>
            <p:custDataLst>
              <p:tags r:id="rId62"/>
            </p:custDataLst>
          </p:nvPr>
        </p:nvSpPr>
        <p:spPr bwMode="auto">
          <a:xfrm>
            <a:off x="32686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800" b="0" dirty="0">
              <a:sym typeface="+mn-lt"/>
            </a:endParaRPr>
          </a:p>
        </p:txBody>
      </p:sp>
      <p:sp useBgFill="1">
        <p:nvSpPr>
          <p:cNvPr id="45" name="Text Placeholder 12">
            <a:extLst>
              <a:ext uri="{FF2B5EF4-FFF2-40B4-BE49-F238E27FC236}">
                <a16:creationId xmlns:a16="http://schemas.microsoft.com/office/drawing/2014/main" id="{E3296853-12D6-FFE4-B62F-93F6223EB95E}"/>
              </a:ext>
            </a:extLst>
          </p:cNvPr>
          <p:cNvSpPr>
            <a:spLocks noGrp="1"/>
          </p:cNvSpPr>
          <p:nvPr>
            <p:custDataLst>
              <p:tags r:id="rId63"/>
            </p:custDataLst>
          </p:nvPr>
        </p:nvSpPr>
        <p:spPr bwMode="gray">
          <a:xfrm>
            <a:off x="1847850" y="34686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DD25D48-FD15-4201-BC9B-FB0F1A538579}" type="datetime'''''''''''''''''''''''''''7''.''''''''2'">
              <a:rPr lang="en-US" altLang="en-US" sz="1000" b="0" smtClean="0"/>
              <a:pPr/>
              <a:t>7.2</a:t>
            </a:fld>
            <a:endParaRPr kumimoji="0" lang="ja-JP" altLang="en-US" sz="800" b="0" dirty="0">
              <a:sym typeface="+mn-lt"/>
            </a:endParaRPr>
          </a:p>
        </p:txBody>
      </p:sp>
      <p:sp>
        <p:nvSpPr>
          <p:cNvPr id="46" name="Text Placeholder 12">
            <a:extLst>
              <a:ext uri="{FF2B5EF4-FFF2-40B4-BE49-F238E27FC236}">
                <a16:creationId xmlns:a16="http://schemas.microsoft.com/office/drawing/2014/main" id="{0BE42EBE-C6F4-BFA5-E183-7F43003A5CEC}"/>
              </a:ext>
            </a:extLst>
          </p:cNvPr>
          <p:cNvSpPr>
            <a:spLocks noGrp="1"/>
          </p:cNvSpPr>
          <p:nvPr>
            <p:custDataLst>
              <p:tags r:id="rId64"/>
            </p:custDataLst>
          </p:nvPr>
        </p:nvSpPr>
        <p:spPr bwMode="auto">
          <a:xfrm>
            <a:off x="18764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800" b="0" dirty="0">
              <a:sym typeface="+mn-lt"/>
            </a:endParaRPr>
          </a:p>
        </p:txBody>
      </p:sp>
      <p:sp>
        <p:nvSpPr>
          <p:cNvPr id="47" name="Text Placeholder 12">
            <a:extLst>
              <a:ext uri="{FF2B5EF4-FFF2-40B4-BE49-F238E27FC236}">
                <a16:creationId xmlns:a16="http://schemas.microsoft.com/office/drawing/2014/main" id="{0FDB20A8-9899-37BA-B0F4-E2854F636EE4}"/>
              </a:ext>
            </a:extLst>
          </p:cNvPr>
          <p:cNvSpPr>
            <a:spLocks noGrp="1"/>
          </p:cNvSpPr>
          <p:nvPr>
            <p:custDataLst>
              <p:tags r:id="rId65"/>
            </p:custDataLst>
          </p:nvPr>
        </p:nvSpPr>
        <p:spPr bwMode="auto">
          <a:xfrm>
            <a:off x="20510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800" b="0" dirty="0">
              <a:sym typeface="+mn-lt"/>
            </a:endParaRPr>
          </a:p>
        </p:txBody>
      </p:sp>
      <p:sp>
        <p:nvSpPr>
          <p:cNvPr id="48" name="Text Placeholder 12">
            <a:extLst>
              <a:ext uri="{FF2B5EF4-FFF2-40B4-BE49-F238E27FC236}">
                <a16:creationId xmlns:a16="http://schemas.microsoft.com/office/drawing/2014/main" id="{92771463-10AC-9167-33C9-36F18942A85C}"/>
              </a:ext>
            </a:extLst>
          </p:cNvPr>
          <p:cNvSpPr>
            <a:spLocks noGrp="1"/>
          </p:cNvSpPr>
          <p:nvPr>
            <p:custDataLst>
              <p:tags r:id="rId66"/>
            </p:custDataLst>
          </p:nvPr>
        </p:nvSpPr>
        <p:spPr bwMode="auto">
          <a:xfrm>
            <a:off x="23987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800" b="0" dirty="0">
              <a:sym typeface="+mn-lt"/>
            </a:endParaRPr>
          </a:p>
        </p:txBody>
      </p:sp>
      <p:sp>
        <p:nvSpPr>
          <p:cNvPr id="49" name="Text Placeholder 12">
            <a:extLst>
              <a:ext uri="{FF2B5EF4-FFF2-40B4-BE49-F238E27FC236}">
                <a16:creationId xmlns:a16="http://schemas.microsoft.com/office/drawing/2014/main" id="{3D57D484-50FB-EC32-01A6-FD64DEBEE9F7}"/>
              </a:ext>
            </a:extLst>
          </p:cNvPr>
          <p:cNvSpPr>
            <a:spLocks noGrp="1"/>
          </p:cNvSpPr>
          <p:nvPr>
            <p:custDataLst>
              <p:tags r:id="rId67"/>
            </p:custDataLst>
          </p:nvPr>
        </p:nvSpPr>
        <p:spPr bwMode="auto">
          <a:xfrm>
            <a:off x="41386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800" b="0" dirty="0">
              <a:sym typeface="+mn-lt"/>
            </a:endParaRPr>
          </a:p>
        </p:txBody>
      </p:sp>
      <p:sp>
        <p:nvSpPr>
          <p:cNvPr id="50" name="Text Placeholder 12">
            <a:extLst>
              <a:ext uri="{FF2B5EF4-FFF2-40B4-BE49-F238E27FC236}">
                <a16:creationId xmlns:a16="http://schemas.microsoft.com/office/drawing/2014/main" id="{6B2CA695-B1EE-26AA-7BA4-A48BFCA979EC}"/>
              </a:ext>
            </a:extLst>
          </p:cNvPr>
          <p:cNvSpPr>
            <a:spLocks noGrp="1"/>
          </p:cNvSpPr>
          <p:nvPr>
            <p:custDataLst>
              <p:tags r:id="rId68"/>
            </p:custDataLst>
          </p:nvPr>
        </p:nvSpPr>
        <p:spPr bwMode="auto">
          <a:xfrm>
            <a:off x="25733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800" b="0" dirty="0">
              <a:sym typeface="+mn-lt"/>
            </a:endParaRPr>
          </a:p>
        </p:txBody>
      </p:sp>
      <p:sp useBgFill="1">
        <p:nvSpPr>
          <p:cNvPr id="51" name="テキスト プレースホルダ 9">
            <a:extLst>
              <a:ext uri="{FF2B5EF4-FFF2-40B4-BE49-F238E27FC236}">
                <a16:creationId xmlns:a16="http://schemas.microsoft.com/office/drawing/2014/main" id="{6107AA06-02ED-D765-78B7-D0E83829BB42}"/>
              </a:ext>
            </a:extLst>
          </p:cNvPr>
          <p:cNvSpPr>
            <a:spLocks noGrp="1"/>
          </p:cNvSpPr>
          <p:nvPr>
            <p:custDataLst>
              <p:tags r:id="rId69"/>
            </p:custDataLst>
          </p:nvPr>
        </p:nvSpPr>
        <p:spPr bwMode="gray">
          <a:xfrm>
            <a:off x="2892425" y="41243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D45650-99DC-4C4B-B16E-2C7C1FC81CF7}" type="datetime'''''''4''''''''''''''''''''.''6'''''''''''''''''''''''''''">
              <a:rPr lang="en-US" altLang="en-US" sz="1000" smtClean="0"/>
              <a:pPr marL="0" indent="0" algn="ctr">
                <a:spcBef>
                  <a:spcPct val="0"/>
                </a:spcBef>
                <a:buNone/>
              </a:pPr>
              <a:t>4.6</a:t>
            </a:fld>
            <a:endParaRPr lang="ja-JP" altLang="en-US" sz="800" dirty="0">
              <a:sym typeface="+mn-lt"/>
            </a:endParaRPr>
          </a:p>
        </p:txBody>
      </p:sp>
      <p:sp>
        <p:nvSpPr>
          <p:cNvPr id="52" name="Text Placeholder 12">
            <a:extLst>
              <a:ext uri="{FF2B5EF4-FFF2-40B4-BE49-F238E27FC236}">
                <a16:creationId xmlns:a16="http://schemas.microsoft.com/office/drawing/2014/main" id="{6B98D7D1-9187-864E-5618-F3DA6BB3A76C}"/>
              </a:ext>
            </a:extLst>
          </p:cNvPr>
          <p:cNvSpPr>
            <a:spLocks noGrp="1"/>
          </p:cNvSpPr>
          <p:nvPr>
            <p:custDataLst>
              <p:tags r:id="rId70"/>
            </p:custDataLst>
          </p:nvPr>
        </p:nvSpPr>
        <p:spPr bwMode="auto">
          <a:xfrm>
            <a:off x="39655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800" b="0" dirty="0">
              <a:sym typeface="+mn-lt"/>
            </a:endParaRPr>
          </a:p>
        </p:txBody>
      </p:sp>
      <p:sp>
        <p:nvSpPr>
          <p:cNvPr id="53" name="Text Placeholder 12">
            <a:extLst>
              <a:ext uri="{FF2B5EF4-FFF2-40B4-BE49-F238E27FC236}">
                <a16:creationId xmlns:a16="http://schemas.microsoft.com/office/drawing/2014/main" id="{E182B8E5-4326-76DA-5FEE-7937B0F39996}"/>
              </a:ext>
            </a:extLst>
          </p:cNvPr>
          <p:cNvSpPr>
            <a:spLocks noGrp="1"/>
          </p:cNvSpPr>
          <p:nvPr>
            <p:custDataLst>
              <p:tags r:id="rId71"/>
            </p:custDataLst>
          </p:nvPr>
        </p:nvSpPr>
        <p:spPr bwMode="auto">
          <a:xfrm>
            <a:off x="29210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800" b="0" dirty="0">
              <a:sym typeface="+mn-lt"/>
            </a:endParaRPr>
          </a:p>
        </p:txBody>
      </p:sp>
      <p:sp>
        <p:nvSpPr>
          <p:cNvPr id="54" name="Text Placeholder 12">
            <a:extLst>
              <a:ext uri="{FF2B5EF4-FFF2-40B4-BE49-F238E27FC236}">
                <a16:creationId xmlns:a16="http://schemas.microsoft.com/office/drawing/2014/main" id="{D8674CF2-A9D1-E509-D741-B97E9020B632}"/>
              </a:ext>
            </a:extLst>
          </p:cNvPr>
          <p:cNvSpPr>
            <a:spLocks noGrp="1"/>
          </p:cNvSpPr>
          <p:nvPr>
            <p:custDataLst>
              <p:tags r:id="rId72"/>
            </p:custDataLst>
          </p:nvPr>
        </p:nvSpPr>
        <p:spPr bwMode="auto">
          <a:xfrm>
            <a:off x="34432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800" b="0" dirty="0">
              <a:sym typeface="+mn-lt"/>
            </a:endParaRPr>
          </a:p>
        </p:txBody>
      </p:sp>
      <p:sp>
        <p:nvSpPr>
          <p:cNvPr id="55" name="Text Placeholder 12">
            <a:extLst>
              <a:ext uri="{FF2B5EF4-FFF2-40B4-BE49-F238E27FC236}">
                <a16:creationId xmlns:a16="http://schemas.microsoft.com/office/drawing/2014/main" id="{30104AD3-9EC7-82DF-CAFE-AE15B31D3282}"/>
              </a:ext>
            </a:extLst>
          </p:cNvPr>
          <p:cNvSpPr>
            <a:spLocks noGrp="1"/>
          </p:cNvSpPr>
          <p:nvPr>
            <p:custDataLst>
              <p:tags r:id="rId73"/>
            </p:custDataLst>
          </p:nvPr>
        </p:nvSpPr>
        <p:spPr bwMode="auto">
          <a:xfrm>
            <a:off x="36163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800" b="0" dirty="0">
              <a:sym typeface="+mn-lt"/>
            </a:endParaRPr>
          </a:p>
        </p:txBody>
      </p:sp>
      <p:sp>
        <p:nvSpPr>
          <p:cNvPr id="56" name="Text Placeholder 12">
            <a:extLst>
              <a:ext uri="{FF2B5EF4-FFF2-40B4-BE49-F238E27FC236}">
                <a16:creationId xmlns:a16="http://schemas.microsoft.com/office/drawing/2014/main" id="{CA4A69AE-5F4A-2929-9DA5-2DD2F02A4831}"/>
              </a:ext>
            </a:extLst>
          </p:cNvPr>
          <p:cNvSpPr>
            <a:spLocks noGrp="1"/>
          </p:cNvSpPr>
          <p:nvPr>
            <p:custDataLst>
              <p:tags r:id="rId74"/>
            </p:custDataLst>
          </p:nvPr>
        </p:nvSpPr>
        <p:spPr bwMode="auto">
          <a:xfrm>
            <a:off x="37909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800" b="0" dirty="0">
              <a:sym typeface="+mn-lt"/>
            </a:endParaRPr>
          </a:p>
        </p:txBody>
      </p:sp>
      <p:sp useBgFill="1">
        <p:nvSpPr>
          <p:cNvPr id="57" name="テキスト プレースホルダ 9">
            <a:extLst>
              <a:ext uri="{FF2B5EF4-FFF2-40B4-BE49-F238E27FC236}">
                <a16:creationId xmlns:a16="http://schemas.microsoft.com/office/drawing/2014/main" id="{1681DFAE-26A4-41AD-286D-6B4A6FA6A2CE}"/>
              </a:ext>
            </a:extLst>
          </p:cNvPr>
          <p:cNvSpPr>
            <a:spLocks noGrp="1"/>
          </p:cNvSpPr>
          <p:nvPr>
            <p:custDataLst>
              <p:tags r:id="rId75"/>
            </p:custDataLst>
          </p:nvPr>
        </p:nvSpPr>
        <p:spPr bwMode="gray">
          <a:xfrm>
            <a:off x="4284663" y="39846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6E4E3ED-CFDE-4094-AB30-41CF0D469336}" type="datetime'''''''''''''''''''5''''.''''''''''''''''''''1'''''''">
              <a:rPr lang="en-US" altLang="en-US" sz="1000" smtClean="0"/>
              <a:pPr marL="0" indent="0" algn="ctr">
                <a:spcBef>
                  <a:spcPct val="0"/>
                </a:spcBef>
                <a:buNone/>
              </a:pPr>
              <a:t>5.1</a:t>
            </a:fld>
            <a:endParaRPr lang="ja-JP" altLang="en-US" sz="800" dirty="0">
              <a:sym typeface="+mn-lt"/>
            </a:endParaRPr>
          </a:p>
        </p:txBody>
      </p:sp>
      <p:sp>
        <p:nvSpPr>
          <p:cNvPr id="58" name="Text Placeholder 12">
            <a:extLst>
              <a:ext uri="{FF2B5EF4-FFF2-40B4-BE49-F238E27FC236}">
                <a16:creationId xmlns:a16="http://schemas.microsoft.com/office/drawing/2014/main" id="{3341973B-3281-0D51-AA35-DFBD59E3623C}"/>
              </a:ext>
            </a:extLst>
          </p:cNvPr>
          <p:cNvSpPr>
            <a:spLocks noGrp="1"/>
          </p:cNvSpPr>
          <p:nvPr>
            <p:custDataLst>
              <p:tags r:id="rId76"/>
            </p:custDataLst>
          </p:nvPr>
        </p:nvSpPr>
        <p:spPr bwMode="auto">
          <a:xfrm>
            <a:off x="43132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25B1003-D505-4E84-9924-53F66E13B192}" type="datetime'''''''''''''''''''''''''''2''''''''3'''''''''''''''''">
              <a:rPr kumimoji="0" lang="en-US" altLang="en-US" sz="1000" b="0" smtClean="0"/>
              <a:pPr/>
              <a:t>23</a:t>
            </a:fld>
            <a:endParaRPr kumimoji="0" lang="ja-JP" altLang="en-US" sz="800" b="0" dirty="0">
              <a:sym typeface="+mn-lt"/>
            </a:endParaRPr>
          </a:p>
        </p:txBody>
      </p:sp>
      <p:sp>
        <p:nvSpPr>
          <p:cNvPr id="59" name="Text Placeholder 12">
            <a:extLst>
              <a:ext uri="{FF2B5EF4-FFF2-40B4-BE49-F238E27FC236}">
                <a16:creationId xmlns:a16="http://schemas.microsoft.com/office/drawing/2014/main" id="{9BCE250D-7F2E-06EC-76B9-C41B4CA8F93A}"/>
              </a:ext>
            </a:extLst>
          </p:cNvPr>
          <p:cNvSpPr>
            <a:spLocks noGrp="1"/>
          </p:cNvSpPr>
          <p:nvPr>
            <p:custDataLst>
              <p:tags r:id="rId77"/>
            </p:custDataLst>
          </p:nvPr>
        </p:nvSpPr>
        <p:spPr bwMode="auto">
          <a:xfrm>
            <a:off x="44862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D65151E-D4D6-4A23-98CA-2C256F8A4653}" type="datetime'''''''24'''''''''''''''''''">
              <a:rPr kumimoji="0" lang="en-US" altLang="en-US" sz="1000" b="0" smtClean="0"/>
              <a:pPr/>
              <a:t>24</a:t>
            </a:fld>
            <a:endParaRPr kumimoji="0" lang="ja-JP" altLang="en-US" sz="800" b="0" dirty="0">
              <a:sym typeface="+mn-lt"/>
            </a:endParaRPr>
          </a:p>
        </p:txBody>
      </p:sp>
      <p:sp>
        <p:nvSpPr>
          <p:cNvPr id="60" name="Text Placeholder 12">
            <a:extLst>
              <a:ext uri="{FF2B5EF4-FFF2-40B4-BE49-F238E27FC236}">
                <a16:creationId xmlns:a16="http://schemas.microsoft.com/office/drawing/2014/main" id="{34277B8C-1E4E-E41C-FA04-D8C4AB7B77FF}"/>
              </a:ext>
            </a:extLst>
          </p:cNvPr>
          <p:cNvSpPr>
            <a:spLocks noGrp="1"/>
          </p:cNvSpPr>
          <p:nvPr>
            <p:custDataLst>
              <p:tags r:id="rId78"/>
            </p:custDataLst>
          </p:nvPr>
        </p:nvSpPr>
        <p:spPr bwMode="auto">
          <a:xfrm>
            <a:off x="46609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F3C50B-02A4-4CB4-921E-E9371203B981}" type="datetime'''''''''''''''''''''''2''''''5'''''">
              <a:rPr kumimoji="0" lang="en-US" altLang="en-US" sz="1000" b="0" smtClean="0"/>
              <a:pPr/>
              <a:t>25</a:t>
            </a:fld>
            <a:endParaRPr kumimoji="0" lang="ja-JP" altLang="en-US" sz="800" b="0" dirty="0">
              <a:sym typeface="+mn-lt"/>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DA4179-5295-436E-816C-7A373D6A2E32}"/>
              </a:ext>
            </a:extLst>
          </p:cNvPr>
          <p:cNvGraphicFramePr>
            <a:graphicFrameLocks noChangeAspect="1"/>
          </p:cNvGraphicFramePr>
          <p:nvPr>
            <p:custDataLst>
              <p:tags r:id="rId1"/>
            </p:custDataLst>
            <p:extLst>
              <p:ext uri="{D42A27DB-BD31-4B8C-83A1-F6EECF244321}">
                <p14:modId xmlns:p14="http://schemas.microsoft.com/office/powerpoint/2010/main" val="330934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9ADA4179-5295-436E-816C-7A373D6A2E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3180879330"/>
              </p:ext>
            </p:extLst>
          </p:nvPr>
        </p:nvGraphicFramePr>
        <p:xfrm>
          <a:off x="200025" y="1930032"/>
          <a:ext cx="9217023" cy="3429984"/>
        </p:xfrm>
        <a:graphic>
          <a:graphicData uri="http://schemas.openxmlformats.org/drawingml/2006/table">
            <a:tbl>
              <a:tblPr firstRow="1" bandRow="1">
                <a:tableStyleId>{5C22544A-7EE6-4342-B048-85BDC9FD1C3A}</a:tableStyleId>
              </a:tblPr>
              <a:tblGrid>
                <a:gridCol w="1187041">
                  <a:extLst>
                    <a:ext uri="{9D8B030D-6E8A-4147-A177-3AD203B41FA5}">
                      <a16:colId xmlns:a16="http://schemas.microsoft.com/office/drawing/2014/main" val="20000"/>
                    </a:ext>
                  </a:extLst>
                </a:gridCol>
                <a:gridCol w="8029982">
                  <a:extLst>
                    <a:ext uri="{9D8B030D-6E8A-4147-A177-3AD203B41FA5}">
                      <a16:colId xmlns:a16="http://schemas.microsoft.com/office/drawing/2014/main" val="20001"/>
                    </a:ext>
                  </a:extLst>
                </a:gridCol>
              </a:tblGrid>
              <a:tr h="122400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0" dirty="0">
                          <a:solidFill>
                            <a:srgbClr val="000000"/>
                          </a:solidFill>
                          <a:ea typeface="ＭＳ Ｐゴシック" charset="-128"/>
                          <a:cs typeface="Arial" pitchFamily="34" charset="0"/>
                        </a:rPr>
                        <a:t>一部の業種については、規制官庁による許可および外資出資比率の上限が定められている</a:t>
                      </a:r>
                      <a:endParaRPr lang="en-US" altLang="ja-JP" sz="1000" b="0"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による銀行・保険などの金融業への投資には、政府の認可が必要。また外国人による新設銀行の株式保有は、</a:t>
                      </a:r>
                      <a:r>
                        <a:rPr kumimoji="1" lang="en-US" altLang="ja-JP" sz="1000" b="0" kern="1200" dirty="0">
                          <a:solidFill>
                            <a:srgbClr val="000000"/>
                          </a:solidFill>
                          <a:latin typeface="+mn-lt"/>
                          <a:ea typeface="ＭＳ Ｐゴシック" charset="-128"/>
                          <a:cs typeface="Arial" pitchFamily="34" charset="0"/>
                        </a:rPr>
                        <a:t>15</a:t>
                      </a:r>
                      <a:r>
                        <a:rPr kumimoji="1" lang="ja-JP" altLang="en-US" sz="1000" b="0" kern="1200" dirty="0">
                          <a:solidFill>
                            <a:srgbClr val="000000"/>
                          </a:solidFill>
                          <a:latin typeface="+mn-lt"/>
                          <a:ea typeface="ＭＳ Ｐゴシック" charset="-128"/>
                          <a:cs typeface="Arial" pitchFamily="34" charset="0"/>
                        </a:rPr>
                        <a:t>％に制限されてい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通信事業への投資は、南アフリカ独立通信庁（</a:t>
                      </a:r>
                      <a:r>
                        <a:rPr kumimoji="1" lang="en-US" altLang="ja-JP" sz="1000" b="0" kern="1200" dirty="0">
                          <a:solidFill>
                            <a:srgbClr val="000000"/>
                          </a:solidFill>
                          <a:latin typeface="+mn-lt"/>
                          <a:ea typeface="ＭＳ Ｐゴシック" charset="-128"/>
                          <a:cs typeface="Arial" pitchFamily="34" charset="0"/>
                        </a:rPr>
                        <a:t>Independent Communications Authority of South Afric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ICASA</a:t>
                      </a:r>
                      <a:r>
                        <a:rPr kumimoji="1" lang="ja-JP" altLang="en-US" sz="1000" b="0" kern="1200" dirty="0">
                          <a:solidFill>
                            <a:srgbClr val="000000"/>
                          </a:solidFill>
                          <a:latin typeface="+mn-lt"/>
                          <a:ea typeface="ＭＳ Ｐゴシック" charset="-128"/>
                          <a:cs typeface="Arial" pitchFamily="34" charset="0"/>
                        </a:rPr>
                        <a:t>）の認可が必要。</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メディア業への外資出資比率の上限は</a:t>
                      </a:r>
                      <a:r>
                        <a:rPr kumimoji="1" lang="en-US" altLang="ja-JP" sz="1000" b="0" kern="1200" dirty="0">
                          <a:solidFill>
                            <a:srgbClr val="000000"/>
                          </a:solidFill>
                          <a:latin typeface="+mn-lt"/>
                          <a:ea typeface="ＭＳ Ｐゴシック" charset="-128"/>
                          <a:cs typeface="Arial" pitchFamily="34" charset="0"/>
                        </a:rPr>
                        <a:t>20%</a:t>
                      </a:r>
                      <a:r>
                        <a:rPr kumimoji="1" lang="ja-JP" altLang="en-US" sz="1000" b="0" kern="1200" dirty="0">
                          <a:solidFill>
                            <a:srgbClr val="000000"/>
                          </a:solidFill>
                          <a:latin typeface="+mn-lt"/>
                          <a:ea typeface="ＭＳ Ｐゴシック" charset="-128"/>
                          <a:cs typeface="Arial" pitchFamily="34" charset="0"/>
                        </a:rPr>
                        <a:t>と定められ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鉱業については、鉱物資源省（</a:t>
                      </a:r>
                      <a:r>
                        <a:rPr kumimoji="1" lang="en-US" altLang="ja-JP" sz="1000" b="0" kern="1200" dirty="0">
                          <a:solidFill>
                            <a:srgbClr val="000000"/>
                          </a:solidFill>
                          <a:latin typeface="+mn-lt"/>
                          <a:ea typeface="ＭＳ Ｐゴシック" charset="-128"/>
                          <a:cs typeface="Arial" pitchFamily="34" charset="0"/>
                        </a:rPr>
                        <a:t>Department of Mineral Resources</a:t>
                      </a:r>
                      <a:r>
                        <a:rPr kumimoji="1" lang="ja-JP" altLang="en-US" sz="1000" b="0" kern="1200" dirty="0">
                          <a:solidFill>
                            <a:srgbClr val="000000"/>
                          </a:solidFill>
                          <a:latin typeface="+mn-lt"/>
                          <a:ea typeface="ＭＳ Ｐゴシック" charset="-128"/>
                          <a:cs typeface="Arial" pitchFamily="34" charset="0"/>
                        </a:rPr>
                        <a:t>）の認可が必要。</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27784">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一部の業種を除き、合弁企業設立時の出資比率に関する規制はない。</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主な例外は鉱業で、全ての鉱業関連企業は、黒人資本参加比率（黒人女性を含む、直接保有比率）を</a:t>
                      </a:r>
                      <a:r>
                        <a:rPr kumimoji="1" lang="en-US" altLang="ja-JP" sz="1000" b="0" kern="1200" dirty="0">
                          <a:solidFill>
                            <a:srgbClr val="000000"/>
                          </a:solidFill>
                          <a:latin typeface="+mn-lt"/>
                          <a:ea typeface="ＭＳ Ｐゴシック" charset="-128"/>
                          <a:cs typeface="Arial" pitchFamily="34" charset="0"/>
                        </a:rPr>
                        <a:t>26</a:t>
                      </a:r>
                      <a:r>
                        <a:rPr kumimoji="1" lang="ja-JP" altLang="en-US" sz="1000" b="0" kern="1200" dirty="0">
                          <a:solidFill>
                            <a:srgbClr val="000000"/>
                          </a:solidFill>
                          <a:latin typeface="+mn-lt"/>
                          <a:ea typeface="ＭＳ Ｐゴシック" charset="-128"/>
                          <a:cs typeface="Arial" pitchFamily="34" charset="0"/>
                        </a:rPr>
                        <a:t>％以上にしなければならない。また、</a:t>
                      </a:r>
                      <a:r>
                        <a:rPr kumimoji="1" lang="en-US" altLang="ja-JP" sz="1000" b="0" kern="1200" dirty="0">
                          <a:solidFill>
                            <a:srgbClr val="000000"/>
                          </a:solidFill>
                          <a:latin typeface="+mn-lt"/>
                          <a:ea typeface="ＭＳ Ｐゴシック" charset="-128"/>
                          <a:cs typeface="Arial" pitchFamily="34" charset="0"/>
                        </a:rPr>
                        <a:t>2018</a:t>
                      </a:r>
                      <a:r>
                        <a:rPr kumimoji="1" lang="ja-JP" altLang="en-US" sz="1000" b="0" kern="1200" dirty="0">
                          <a:solidFill>
                            <a:srgbClr val="000000"/>
                          </a:solidFill>
                          <a:latin typeface="+mn-lt"/>
                          <a:ea typeface="ＭＳ Ｐゴシック" charset="-128"/>
                          <a:cs typeface="Arial" pitchFamily="34" charset="0"/>
                        </a:rPr>
                        <a:t>年の鉱業憲章により新規の投資については</a:t>
                      </a:r>
                      <a:r>
                        <a:rPr kumimoji="1" lang="en-US" altLang="ja-JP" sz="1000" b="0" kern="1200" dirty="0">
                          <a:solidFill>
                            <a:srgbClr val="000000"/>
                          </a:solidFill>
                          <a:latin typeface="+mn-lt"/>
                          <a:ea typeface="ＭＳ Ｐゴシック" charset="-128"/>
                          <a:cs typeface="Arial" pitchFamily="34" charset="0"/>
                        </a:rPr>
                        <a:t>30</a:t>
                      </a:r>
                      <a:r>
                        <a:rPr kumimoji="1" lang="ja-JP" altLang="en-US" sz="1000" b="0" kern="1200" dirty="0">
                          <a:solidFill>
                            <a:srgbClr val="000000"/>
                          </a:solidFill>
                          <a:latin typeface="+mn-lt"/>
                          <a:ea typeface="ＭＳ Ｐゴシック" charset="-128"/>
                          <a:cs typeface="Arial" pitchFamily="34" charset="0"/>
                        </a:rPr>
                        <a:t>％以上が必要となった。</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特になし</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土地の売買は全て土地譲渡法（</a:t>
                      </a:r>
                      <a:r>
                        <a:rPr lang="en-US" altLang="ja-JP" sz="1000" dirty="0"/>
                        <a:t>Alienation of Land Act</a:t>
                      </a:r>
                      <a:r>
                        <a:rPr lang="ja-JP" altLang="en-US" sz="1000" dirty="0"/>
                        <a:t>）で規制されてい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企業による土地所有は可能であるが、購入には、場合によって下記の</a:t>
                      </a:r>
                      <a:r>
                        <a:rPr kumimoji="1" lang="ja-JP" altLang="en-US" sz="1000" b="0" kern="1200" dirty="0">
                          <a:solidFill>
                            <a:srgbClr val="000000"/>
                          </a:solidFill>
                          <a:latin typeface="+mn-lt"/>
                          <a:ea typeface="ＭＳ Ｐゴシック" charset="-128"/>
                          <a:cs typeface="Arial" pitchFamily="34" charset="0"/>
                        </a:rPr>
                        <a:t>付属条件がつく</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　購入登録企業者が、現地事業体として認可されていること。</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　　－　購入登録企業の株の所有者が南ア居住者でない場合は、南ア国民である公証人（</a:t>
                      </a:r>
                      <a:r>
                        <a:rPr kumimoji="1" lang="en-US" altLang="ja-JP" sz="1000" b="0" kern="1200" dirty="0">
                          <a:solidFill>
                            <a:srgbClr val="000000"/>
                          </a:solidFill>
                          <a:latin typeface="+mn-lt"/>
                          <a:ea typeface="ＭＳ Ｐゴシック" charset="-128"/>
                          <a:cs typeface="Arial" pitchFamily="34" charset="0"/>
                        </a:rPr>
                        <a:t>public-officer</a:t>
                      </a:r>
                      <a:r>
                        <a:rPr kumimoji="1" lang="ja-JP" altLang="en-US" sz="1000" b="0" kern="1200" dirty="0">
                          <a:solidFill>
                            <a:srgbClr val="000000"/>
                          </a:solidFill>
                          <a:latin typeface="+mn-lt"/>
                          <a:ea typeface="ＭＳ Ｐゴシック" charset="-128"/>
                          <a:cs typeface="Arial" pitchFamily="34" charset="0"/>
                        </a:rPr>
                        <a:t>）に仲介を委任することが必須。）</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 name="Rectangle 6"/>
          <p:cNvSpPr>
            <a:spLocks noChangeArrowheads="1"/>
          </p:cNvSpPr>
          <p:nvPr/>
        </p:nvSpPr>
        <p:spPr bwMode="auto">
          <a:xfrm>
            <a:off x="200472" y="1642000"/>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4">
            <a:extLst>
              <a:ext uri="{FF2B5EF4-FFF2-40B4-BE49-F238E27FC236}">
                <a16:creationId xmlns:a16="http://schemas.microsoft.com/office/drawing/2014/main" id="{3057204E-5B32-4926-8287-6D548CDB5172}"/>
              </a:ext>
            </a:extLst>
          </p:cNvPr>
          <p:cNvSpPr txBox="1"/>
          <p:nvPr/>
        </p:nvSpPr>
        <p:spPr>
          <a:xfrm>
            <a:off x="215505" y="10829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部の業種を除けば、外資の参入規制は特にない。</a:t>
            </a: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1"/>
            </p:custDataLst>
            <p:extLst>
              <p:ext uri="{D42A27DB-BD31-4B8C-83A1-F6EECF244321}">
                <p14:modId xmlns:p14="http://schemas.microsoft.com/office/powerpoint/2010/main" val="240480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217023" cy="71821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南アフリカに事業拠点を作る場合、「現地法人」もしくは「外部会社」（</a:t>
            </a:r>
            <a:r>
              <a:rPr lang="en-US" altLang="ja-JP" dirty="0"/>
              <a:t>External Company</a:t>
            </a:r>
            <a:r>
              <a:rPr lang="ja-JP" altLang="en-US" dirty="0"/>
              <a:t>）の形態をとることができる。</a:t>
            </a:r>
          </a:p>
          <a:p>
            <a:r>
              <a:rPr lang="ja-JP" altLang="en-US" dirty="0"/>
              <a:t>南ア独特の政策として、歴史的に不利益を受けてきた黒人等に対する差別を是正するための雇用関連規制がある。</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IP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iz Por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 name="表 3">
            <a:extLst>
              <a:ext uri="{FF2B5EF4-FFF2-40B4-BE49-F238E27FC236}">
                <a16:creationId xmlns:a16="http://schemas.microsoft.com/office/drawing/2014/main" id="{E920BD42-1B0E-4A9C-9D75-BF428C7668FF}"/>
              </a:ext>
            </a:extLst>
          </p:cNvPr>
          <p:cNvGraphicFramePr>
            <a:graphicFrameLocks noGrp="1"/>
          </p:cNvGraphicFramePr>
          <p:nvPr>
            <p:extLst>
              <p:ext uri="{D42A27DB-BD31-4B8C-83A1-F6EECF244321}">
                <p14:modId xmlns:p14="http://schemas.microsoft.com/office/powerpoint/2010/main" val="3853841458"/>
              </p:ext>
            </p:extLst>
          </p:nvPr>
        </p:nvGraphicFramePr>
        <p:xfrm>
          <a:off x="200025" y="2313320"/>
          <a:ext cx="9217023" cy="3919968"/>
        </p:xfrm>
        <a:graphic>
          <a:graphicData uri="http://schemas.openxmlformats.org/drawingml/2006/table">
            <a:tbl>
              <a:tblPr firstRow="1" bandRow="1">
                <a:tableStyleId>{5C22544A-7EE6-4342-B048-85BDC9FD1C3A}</a:tableStyleId>
              </a:tblPr>
              <a:tblGrid>
                <a:gridCol w="1296591">
                  <a:extLst>
                    <a:ext uri="{9D8B030D-6E8A-4147-A177-3AD203B41FA5}">
                      <a16:colId xmlns:a16="http://schemas.microsoft.com/office/drawing/2014/main" val="20000"/>
                    </a:ext>
                  </a:extLst>
                </a:gridCol>
                <a:gridCol w="7920432">
                  <a:extLst>
                    <a:ext uri="{9D8B030D-6E8A-4147-A177-3AD203B41FA5}">
                      <a16:colId xmlns:a16="http://schemas.microsoft.com/office/drawing/2014/main" val="20001"/>
                    </a:ext>
                  </a:extLst>
                </a:gridCol>
              </a:tblGrid>
              <a:tr h="467608">
                <a:tc>
                  <a:txBody>
                    <a:bodyPr/>
                    <a:lstStyle/>
                    <a:p>
                      <a:r>
                        <a:rPr kumimoji="1" lang="ja-JP" altLang="en-US" sz="1100" b="1" dirty="0">
                          <a:solidFill>
                            <a:schemeClr val="bg1"/>
                          </a:solidFill>
                        </a:rPr>
                        <a:t>管轄官庁</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0" dirty="0">
                          <a:solidFill>
                            <a:srgbClr val="000000"/>
                          </a:solidFill>
                          <a:ea typeface="ＭＳ Ｐゴシック" charset="-128"/>
                          <a:cs typeface="Arial" pitchFamily="34" charset="0"/>
                        </a:rPr>
                        <a:t>企業・知的所有権登録局（</a:t>
                      </a:r>
                      <a:r>
                        <a:rPr lang="en-US" altLang="ja-JP" sz="1000" b="0" dirty="0">
                          <a:solidFill>
                            <a:srgbClr val="000000"/>
                          </a:solidFill>
                          <a:ea typeface="ＭＳ Ｐゴシック" charset="-128"/>
                          <a:cs typeface="Arial" pitchFamily="34" charset="0"/>
                        </a:rPr>
                        <a:t>Companies and Intellectual Property Commission, CIPC)</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27784">
                <a:tc>
                  <a:txBody>
                    <a:bodyPr/>
                    <a:lstStyle/>
                    <a:p>
                      <a:r>
                        <a:rPr kumimoji="1" lang="ja-JP" altLang="en-US" sz="1100" b="1" dirty="0">
                          <a:solidFill>
                            <a:schemeClr val="bg1"/>
                          </a:solidFill>
                        </a:rPr>
                        <a:t>進出形態と特徴</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現地法人</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現地法人（子会社）には、公開会社（</a:t>
                      </a:r>
                      <a:r>
                        <a:rPr kumimoji="1" lang="en-US" altLang="ja-JP" sz="1000" b="0" kern="1200" dirty="0">
                          <a:solidFill>
                            <a:srgbClr val="000000"/>
                          </a:solidFill>
                          <a:latin typeface="+mn-lt"/>
                          <a:ea typeface="ＭＳ Ｐゴシック" charset="-128"/>
                          <a:cs typeface="Arial" pitchFamily="34" charset="0"/>
                        </a:rPr>
                        <a:t>Public company</a:t>
                      </a:r>
                      <a:r>
                        <a:rPr kumimoji="1" lang="ja-JP" altLang="en-US" sz="1000" b="0" kern="1200" dirty="0">
                          <a:solidFill>
                            <a:srgbClr val="000000"/>
                          </a:solidFill>
                          <a:latin typeface="+mn-lt"/>
                          <a:ea typeface="ＭＳ Ｐゴシック" charset="-128"/>
                          <a:cs typeface="Arial" pitchFamily="34" charset="0"/>
                        </a:rPr>
                        <a:t>）と非公開会社（</a:t>
                      </a:r>
                      <a:r>
                        <a:rPr kumimoji="1" lang="en-US" altLang="ja-JP" sz="1000" b="0" kern="1200" dirty="0">
                          <a:solidFill>
                            <a:srgbClr val="000000"/>
                          </a:solidFill>
                          <a:latin typeface="+mn-lt"/>
                          <a:ea typeface="ＭＳ Ｐゴシック" charset="-128"/>
                          <a:cs typeface="Arial" pitchFamily="34" charset="0"/>
                        </a:rPr>
                        <a:t>Private company</a:t>
                      </a:r>
                      <a:r>
                        <a:rPr kumimoji="1" lang="ja-JP" altLang="en-US" sz="1000" b="0" kern="1200" dirty="0">
                          <a:solidFill>
                            <a:srgbClr val="000000"/>
                          </a:solidFill>
                          <a:latin typeface="+mn-lt"/>
                          <a:ea typeface="ＭＳ Ｐゴシック" charset="-128"/>
                          <a:cs typeface="Arial" pitchFamily="34" charset="0"/>
                        </a:rPr>
                        <a:t>）の</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種類があ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公開会社と非公開会社は、法律上は南アの独立した企業として経営され、かつ税金に関しても独立した企業としてみなされる。</a:t>
                      </a:r>
                    </a:p>
                    <a:p>
                      <a:pPr marL="0" lvl="1" indent="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ja-JP" altLang="en-US" sz="1000" b="0" kern="1200" dirty="0">
                          <a:solidFill>
                            <a:srgbClr val="000000"/>
                          </a:solidFill>
                          <a:latin typeface="+mn-lt"/>
                          <a:ea typeface="ＭＳ Ｐゴシック" charset="-128"/>
                          <a:cs typeface="Arial" pitchFamily="34" charset="0"/>
                        </a:rPr>
                        <a:t>外部会社</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南ア国外で設立された組織のうち、南ア国内で営利活動または非営利活動を行っている企業。支店や駐在員事務所がこれにあた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支店は営利活動が行えるが、税金に関しては独立した個別の企業とみなされ、会社法に基づいた財務諸表の作成が必要とな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駐在員事務所は営利活動を行うことができない</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参加・買収</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外国為替管理当局の承認を得ること以外の規制はない</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設立手続き</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 </a:t>
                      </a:r>
                      <a:r>
                        <a:rPr kumimoji="1" lang="en-US" altLang="ja-JP" sz="1000" b="0" kern="1200" dirty="0" err="1">
                          <a:solidFill>
                            <a:srgbClr val="000000"/>
                          </a:solidFill>
                          <a:latin typeface="+mn-lt"/>
                          <a:ea typeface="ＭＳ Ｐゴシック" charset="-128"/>
                          <a:cs typeface="Arial" pitchFamily="34" charset="0"/>
                        </a:rPr>
                        <a:t>BizPortal</a:t>
                      </a:r>
                      <a:r>
                        <a:rPr kumimoji="1" lang="ja-JP" altLang="en-US" sz="1000" b="0" kern="1200" dirty="0">
                          <a:solidFill>
                            <a:srgbClr val="000000"/>
                          </a:solidFill>
                          <a:latin typeface="+mn-lt"/>
                          <a:ea typeface="ＭＳ Ｐゴシック" charset="-128"/>
                          <a:cs typeface="Arial" pitchFamily="34" charset="0"/>
                        </a:rPr>
                        <a:t>というプラットフォームから</a:t>
                      </a:r>
                      <a:r>
                        <a:rPr kumimoji="1" lang="en-US" altLang="ja-JP" sz="1000" b="0" kern="1200" dirty="0">
                          <a:solidFill>
                            <a:srgbClr val="000000"/>
                          </a:solidFill>
                          <a:latin typeface="+mn-lt"/>
                          <a:ea typeface="ＭＳ Ｐゴシック" charset="-128"/>
                          <a:cs typeface="Arial" pitchFamily="34" charset="0"/>
                        </a:rPr>
                        <a:t>CIPC</a:t>
                      </a:r>
                      <a:r>
                        <a:rPr kumimoji="1" lang="ja-JP" altLang="en-US" sz="1000" b="0" kern="1200" dirty="0">
                          <a:solidFill>
                            <a:srgbClr val="000000"/>
                          </a:solidFill>
                          <a:latin typeface="+mn-lt"/>
                          <a:ea typeface="ＭＳ Ｐゴシック" charset="-128"/>
                          <a:cs typeface="Arial" pitchFamily="34" charset="0"/>
                        </a:rPr>
                        <a:t>に必要書類を提出することで、ワンストップで設立登記が完了す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費用は</a:t>
                      </a:r>
                      <a:r>
                        <a:rPr kumimoji="1" lang="en-US" altLang="ja-JP" sz="1000" b="0" kern="1200" dirty="0">
                          <a:solidFill>
                            <a:srgbClr val="000000"/>
                          </a:solidFill>
                          <a:latin typeface="+mn-lt"/>
                          <a:ea typeface="ＭＳ Ｐゴシック" charset="-128"/>
                          <a:cs typeface="Arial" pitchFamily="34" charset="0"/>
                        </a:rPr>
                        <a:t>175</a:t>
                      </a:r>
                      <a:r>
                        <a:rPr kumimoji="1" lang="ja-JP" altLang="en-US" sz="1000" b="0" kern="1200" dirty="0">
                          <a:solidFill>
                            <a:srgbClr val="000000"/>
                          </a:solidFill>
                          <a:latin typeface="+mn-lt"/>
                          <a:ea typeface="ＭＳ Ｐゴシック" charset="-128"/>
                          <a:cs typeface="Arial" pitchFamily="34" charset="0"/>
                        </a:rPr>
                        <a:t>ランド（約</a:t>
                      </a:r>
                      <a:r>
                        <a:rPr kumimoji="1" lang="en-US" altLang="ja-JP" sz="1000" b="0" kern="1200" dirty="0">
                          <a:solidFill>
                            <a:srgbClr val="000000"/>
                          </a:solidFill>
                          <a:latin typeface="+mn-lt"/>
                          <a:ea typeface="ＭＳ Ｐゴシック" charset="-128"/>
                          <a:cs typeface="Arial" pitchFamily="34" charset="0"/>
                        </a:rPr>
                        <a:t>1,500</a:t>
                      </a:r>
                      <a:r>
                        <a:rPr kumimoji="1" lang="ja-JP" altLang="en-US" sz="1000" b="0" kern="1200" dirty="0">
                          <a:solidFill>
                            <a:srgbClr val="000000"/>
                          </a:solidFill>
                          <a:latin typeface="+mn-lt"/>
                          <a:ea typeface="ＭＳ Ｐゴシック" charset="-128"/>
                          <a:cs typeface="Arial" pitchFamily="34" charset="0"/>
                        </a:rPr>
                        <a:t>円）で、書類等に不備がなければ</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日で完了す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40000">
                <a:tc>
                  <a:txBody>
                    <a:bodyPr/>
                    <a:lstStyle/>
                    <a:p>
                      <a:r>
                        <a:rPr kumimoji="1" lang="ja-JP" altLang="en-US" sz="1100" b="1" dirty="0">
                          <a:solidFill>
                            <a:schemeClr val="bg1"/>
                          </a:solidFill>
                        </a:rPr>
                        <a:t>雇用関連規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政府調達に際しては、黒人、カラード、女性など歴史的に不利益を受けてきた南ア国民（</a:t>
                      </a:r>
                      <a:r>
                        <a:rPr kumimoji="1" lang="en-US" altLang="ja-JP" sz="1000" b="0" kern="1200" dirty="0">
                          <a:solidFill>
                            <a:srgbClr val="000000"/>
                          </a:solidFill>
                          <a:latin typeface="+mn-lt"/>
                          <a:ea typeface="ＭＳ Ｐゴシック" charset="-128"/>
                          <a:cs typeface="Arial" pitchFamily="34" charset="0"/>
                        </a:rPr>
                        <a:t>Historically Disadvantaged South Africans</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HDSA</a:t>
                      </a:r>
                      <a:r>
                        <a:rPr kumimoji="1" lang="ja-JP" altLang="en-US" sz="1000" b="0" kern="1200" dirty="0">
                          <a:solidFill>
                            <a:srgbClr val="000000"/>
                          </a:solidFill>
                          <a:latin typeface="+mn-lt"/>
                          <a:ea typeface="ＭＳ Ｐゴシック" charset="-128"/>
                          <a:cs typeface="Arial" pitchFamily="34" charset="0"/>
                        </a:rPr>
                        <a:t>）の雇用割合が入札時の評価に加えられている他、</a:t>
                      </a:r>
                      <a:r>
                        <a:rPr kumimoji="1" lang="en-US" altLang="ja-JP" sz="1000" b="0" kern="1200" dirty="0">
                          <a:solidFill>
                            <a:srgbClr val="000000"/>
                          </a:solidFill>
                          <a:latin typeface="+mn-lt"/>
                          <a:ea typeface="ＭＳ Ｐゴシック" charset="-128"/>
                          <a:cs typeface="Arial" pitchFamily="34" charset="0"/>
                        </a:rPr>
                        <a:t>1998</a:t>
                      </a:r>
                      <a:r>
                        <a:rPr kumimoji="1" lang="ja-JP" altLang="en-US" sz="1000" b="0" kern="1200" dirty="0">
                          <a:solidFill>
                            <a:srgbClr val="000000"/>
                          </a:solidFill>
                          <a:latin typeface="+mn-lt"/>
                          <a:ea typeface="ＭＳ Ｐゴシック" charset="-128"/>
                          <a:cs typeface="Arial" pitchFamily="34" charset="0"/>
                        </a:rPr>
                        <a:t>年に制定された雇用均等法によって、企業に平等な雇用を義務付けてい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また従業員が</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人以上、あるいは一定の売上高（製造業の場合</a:t>
                      </a:r>
                      <a:r>
                        <a:rPr kumimoji="1" lang="en-US" altLang="ja-JP" sz="1000" b="0" kern="1200" dirty="0">
                          <a:solidFill>
                            <a:srgbClr val="000000"/>
                          </a:solidFill>
                          <a:latin typeface="+mn-lt"/>
                          <a:ea typeface="ＭＳ Ｐゴシック" charset="-128"/>
                          <a:cs typeface="Arial" pitchFamily="34" charset="0"/>
                        </a:rPr>
                        <a:t>3,000</a:t>
                      </a:r>
                      <a:r>
                        <a:rPr kumimoji="1" lang="ja-JP" altLang="en-US" sz="1000" b="0" kern="1200" dirty="0">
                          <a:solidFill>
                            <a:srgbClr val="000000"/>
                          </a:solidFill>
                          <a:latin typeface="+mn-lt"/>
                          <a:ea typeface="ＭＳ Ｐゴシック" charset="-128"/>
                          <a:cs typeface="Arial" pitchFamily="34" charset="0"/>
                        </a:rPr>
                        <a:t>万ランド以上）がある企業に対しては、一定の割合での</a:t>
                      </a:r>
                      <a:r>
                        <a:rPr kumimoji="1" lang="en-US" altLang="ja-JP" sz="1000" b="0" kern="1200" dirty="0">
                          <a:solidFill>
                            <a:srgbClr val="000000"/>
                          </a:solidFill>
                          <a:latin typeface="+mn-lt"/>
                          <a:ea typeface="ＭＳ Ｐゴシック" charset="-128"/>
                          <a:cs typeface="Arial" pitchFamily="34" charset="0"/>
                        </a:rPr>
                        <a:t>HDSA</a:t>
                      </a:r>
                      <a:r>
                        <a:rPr kumimoji="1" lang="ja-JP" altLang="en-US" sz="1000" b="0" kern="1200" dirty="0">
                          <a:solidFill>
                            <a:srgbClr val="000000"/>
                          </a:solidFill>
                          <a:latin typeface="+mn-lt"/>
                          <a:ea typeface="ＭＳ Ｐゴシック" charset="-128"/>
                          <a:cs typeface="Arial" pitchFamily="34" charset="0"/>
                        </a:rPr>
                        <a:t>雇用が、雇用均等法に基づいて求められる。さらに、社内において雇用均等に関する従業員との協議が求められる他、従業員が</a:t>
                      </a:r>
                      <a:r>
                        <a:rPr kumimoji="1" lang="en-US" altLang="ja-JP" sz="1000" b="0" kern="1200" dirty="0">
                          <a:solidFill>
                            <a:srgbClr val="000000"/>
                          </a:solidFill>
                          <a:latin typeface="+mn-lt"/>
                          <a:ea typeface="ＭＳ Ｐゴシック" charset="-128"/>
                          <a:cs typeface="Arial" pitchFamily="34" charset="0"/>
                        </a:rPr>
                        <a:t>150</a:t>
                      </a:r>
                      <a:r>
                        <a:rPr kumimoji="1" lang="ja-JP" altLang="en-US" sz="1000" b="0" kern="1200" dirty="0">
                          <a:solidFill>
                            <a:srgbClr val="000000"/>
                          </a:solidFill>
                          <a:latin typeface="+mn-lt"/>
                          <a:ea typeface="ＭＳ Ｐゴシック" charset="-128"/>
                          <a:cs typeface="Arial" pitchFamily="34" charset="0"/>
                        </a:rPr>
                        <a:t>人未満の場合、雇用機会計画の策定や雇用機会均等に関する</a:t>
                      </a:r>
                      <a:r>
                        <a:rPr kumimoji="1" lang="en-US" altLang="ja-JP" sz="1000" b="0" kern="1200" dirty="0">
                          <a:solidFill>
                            <a:srgbClr val="000000"/>
                          </a:solidFill>
                          <a:latin typeface="+mn-lt"/>
                          <a:ea typeface="ＭＳ Ｐゴシック" charset="-128"/>
                          <a:cs typeface="Arial" pitchFamily="34" charset="0"/>
                        </a:rPr>
                        <a:t>2</a:t>
                      </a:r>
                      <a:r>
                        <a:rPr kumimoji="1" lang="ja-JP" altLang="en-US" sz="1000" b="0" kern="1200" dirty="0">
                          <a:solidFill>
                            <a:srgbClr val="000000"/>
                          </a:solidFill>
                          <a:latin typeface="+mn-lt"/>
                          <a:ea typeface="ＭＳ Ｐゴシック" charset="-128"/>
                          <a:cs typeface="Arial" pitchFamily="34" charset="0"/>
                        </a:rPr>
                        <a:t>年ごとの報告書の労働省への提出が必要とな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456454"/>
                  </a:ext>
                </a:extLst>
              </a:tr>
            </a:tbl>
          </a:graphicData>
        </a:graphic>
      </p:graphicFrame>
      <p:sp>
        <p:nvSpPr>
          <p:cNvPr id="16" name="Rectangle 6">
            <a:extLst>
              <a:ext uri="{FF2B5EF4-FFF2-40B4-BE49-F238E27FC236}">
                <a16:creationId xmlns:a16="http://schemas.microsoft.com/office/drawing/2014/main" id="{72617D03-D1D4-4063-A58B-179C91688EF5}"/>
              </a:ext>
            </a:extLst>
          </p:cNvPr>
          <p:cNvSpPr>
            <a:spLocks noChangeArrowheads="1"/>
          </p:cNvSpPr>
          <p:nvPr/>
        </p:nvSpPr>
        <p:spPr bwMode="auto">
          <a:xfrm>
            <a:off x="200593" y="202528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南アでの拠点設立に伴う法規制</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E9A0E-2740-4E3B-BBEA-DD6E5AFB0ABB}"/>
              </a:ext>
            </a:extLst>
          </p:cNvPr>
          <p:cNvGraphicFramePr>
            <a:graphicFrameLocks noChangeAspect="1"/>
          </p:cNvGraphicFramePr>
          <p:nvPr>
            <p:custDataLst>
              <p:tags r:id="rId1"/>
            </p:custDataLst>
            <p:extLst>
              <p:ext uri="{D42A27DB-BD31-4B8C-83A1-F6EECF244321}">
                <p14:modId xmlns:p14="http://schemas.microsoft.com/office/powerpoint/2010/main" val="3438094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932E9A0E-2740-4E3B-BBEA-DD6E5AFB0A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Freeform 26">
            <a:extLst>
              <a:ext uri="{FF2B5EF4-FFF2-40B4-BE49-F238E27FC236}">
                <a16:creationId xmlns:a16="http://schemas.microsoft.com/office/drawing/2014/main" id="{E38D98E3-5689-484D-A16C-825A4A60A45E}"/>
              </a:ext>
            </a:extLst>
          </p:cNvPr>
          <p:cNvSpPr>
            <a:spLocks noEditPoints="1"/>
          </p:cNvSpPr>
          <p:nvPr/>
        </p:nvSpPr>
        <p:spPr bwMode="gray">
          <a:xfrm>
            <a:off x="6245378" y="3012962"/>
            <a:ext cx="2878158" cy="1836184"/>
          </a:xfrm>
          <a:custGeom>
            <a:avLst/>
            <a:gdLst>
              <a:gd name="T0" fmla="*/ 3352 w 4280"/>
              <a:gd name="T1" fmla="*/ 1936 h 3383"/>
              <a:gd name="T2" fmla="*/ 3236 w 4280"/>
              <a:gd name="T3" fmla="*/ 1777 h 3383"/>
              <a:gd name="T4" fmla="*/ 3031 w 4280"/>
              <a:gd name="T5" fmla="*/ 1757 h 3383"/>
              <a:gd name="T6" fmla="*/ 2878 w 4280"/>
              <a:gd name="T7" fmla="*/ 1874 h 3383"/>
              <a:gd name="T8" fmla="*/ 2738 w 4280"/>
              <a:gd name="T9" fmla="*/ 2017 h 3383"/>
              <a:gd name="T10" fmla="*/ 2825 w 4280"/>
              <a:gd name="T11" fmla="*/ 2182 h 3383"/>
              <a:gd name="T12" fmla="*/ 3019 w 4280"/>
              <a:gd name="T13" fmla="*/ 2227 h 3383"/>
              <a:gd name="T14" fmla="*/ 3190 w 4280"/>
              <a:gd name="T15" fmla="*/ 2123 h 3383"/>
              <a:gd name="T16" fmla="*/ 4045 w 4280"/>
              <a:gd name="T17" fmla="*/ 1288 h 3383"/>
              <a:gd name="T18" fmla="*/ 4278 w 4280"/>
              <a:gd name="T19" fmla="*/ 1271 h 3383"/>
              <a:gd name="T20" fmla="*/ 4185 w 4280"/>
              <a:gd name="T21" fmla="*/ 1567 h 3383"/>
              <a:gd name="T22" fmla="*/ 4039 w 4280"/>
              <a:gd name="T23" fmla="*/ 1777 h 3383"/>
              <a:gd name="T24" fmla="*/ 3836 w 4280"/>
              <a:gd name="T25" fmla="*/ 1948 h 3383"/>
              <a:gd name="T26" fmla="*/ 3716 w 4280"/>
              <a:gd name="T27" fmla="*/ 2121 h 3383"/>
              <a:gd name="T28" fmla="*/ 3556 w 4280"/>
              <a:gd name="T29" fmla="*/ 2356 h 3383"/>
              <a:gd name="T30" fmla="*/ 3357 w 4280"/>
              <a:gd name="T31" fmla="*/ 2533 h 3383"/>
              <a:gd name="T32" fmla="*/ 3144 w 4280"/>
              <a:gd name="T33" fmla="*/ 2728 h 3383"/>
              <a:gd name="T34" fmla="*/ 2934 w 4280"/>
              <a:gd name="T35" fmla="*/ 2890 h 3383"/>
              <a:gd name="T36" fmla="*/ 2721 w 4280"/>
              <a:gd name="T37" fmla="*/ 3023 h 3383"/>
              <a:gd name="T38" fmla="*/ 2419 w 4280"/>
              <a:gd name="T39" fmla="*/ 3082 h 3383"/>
              <a:gd name="T40" fmla="*/ 2228 w 4280"/>
              <a:gd name="T41" fmla="*/ 3155 h 3383"/>
              <a:gd name="T42" fmla="*/ 1970 w 4280"/>
              <a:gd name="T43" fmla="*/ 3183 h 3383"/>
              <a:gd name="T44" fmla="*/ 1718 w 4280"/>
              <a:gd name="T45" fmla="*/ 3188 h 3383"/>
              <a:gd name="T46" fmla="*/ 1422 w 4280"/>
              <a:gd name="T47" fmla="*/ 3198 h 3383"/>
              <a:gd name="T48" fmla="*/ 1225 w 4280"/>
              <a:gd name="T49" fmla="*/ 3273 h 3383"/>
              <a:gd name="T50" fmla="*/ 962 w 4280"/>
              <a:gd name="T51" fmla="*/ 3324 h 3383"/>
              <a:gd name="T52" fmla="*/ 731 w 4280"/>
              <a:gd name="T53" fmla="*/ 3325 h 3383"/>
              <a:gd name="T54" fmla="*/ 581 w 4280"/>
              <a:gd name="T55" fmla="*/ 3218 h 3383"/>
              <a:gd name="T56" fmla="*/ 459 w 4280"/>
              <a:gd name="T57" fmla="*/ 3193 h 3383"/>
              <a:gd name="T58" fmla="*/ 428 w 4280"/>
              <a:gd name="T59" fmla="*/ 3001 h 3383"/>
              <a:gd name="T60" fmla="*/ 375 w 4280"/>
              <a:gd name="T61" fmla="*/ 2895 h 3383"/>
              <a:gd name="T62" fmla="*/ 445 w 4280"/>
              <a:gd name="T63" fmla="*/ 2805 h 3383"/>
              <a:gd name="T64" fmla="*/ 440 w 4280"/>
              <a:gd name="T65" fmla="*/ 2560 h 3383"/>
              <a:gd name="T66" fmla="*/ 285 w 4280"/>
              <a:gd name="T67" fmla="*/ 2341 h 3383"/>
              <a:gd name="T68" fmla="*/ 170 w 4280"/>
              <a:gd name="T69" fmla="*/ 2082 h 3383"/>
              <a:gd name="T70" fmla="*/ 83 w 4280"/>
              <a:gd name="T71" fmla="*/ 1846 h 3383"/>
              <a:gd name="T72" fmla="*/ 93 w 4280"/>
              <a:gd name="T73" fmla="*/ 1660 h 3383"/>
              <a:gd name="T74" fmla="*/ 229 w 4280"/>
              <a:gd name="T75" fmla="*/ 1624 h 3383"/>
              <a:gd name="T76" fmla="*/ 353 w 4280"/>
              <a:gd name="T77" fmla="*/ 1766 h 3383"/>
              <a:gd name="T78" fmla="*/ 618 w 4280"/>
              <a:gd name="T79" fmla="*/ 1789 h 3383"/>
              <a:gd name="T80" fmla="*/ 812 w 4280"/>
              <a:gd name="T81" fmla="*/ 1704 h 3383"/>
              <a:gd name="T82" fmla="*/ 936 w 4280"/>
              <a:gd name="T83" fmla="*/ 927 h 3383"/>
              <a:gd name="T84" fmla="*/ 1081 w 4280"/>
              <a:gd name="T85" fmla="*/ 842 h 3383"/>
              <a:gd name="T86" fmla="*/ 1144 w 4280"/>
              <a:gd name="T87" fmla="*/ 1010 h 3383"/>
              <a:gd name="T88" fmla="*/ 1099 w 4280"/>
              <a:gd name="T89" fmla="*/ 1247 h 3383"/>
              <a:gd name="T90" fmla="*/ 1361 w 4280"/>
              <a:gd name="T91" fmla="*/ 1262 h 3383"/>
              <a:gd name="T92" fmla="*/ 1547 w 4280"/>
              <a:gd name="T93" fmla="*/ 1117 h 3383"/>
              <a:gd name="T94" fmla="*/ 1671 w 4280"/>
              <a:gd name="T95" fmla="*/ 949 h 3383"/>
              <a:gd name="T96" fmla="*/ 1829 w 4280"/>
              <a:gd name="T97" fmla="*/ 849 h 3383"/>
              <a:gd name="T98" fmla="*/ 1995 w 4280"/>
              <a:gd name="T99" fmla="*/ 934 h 3383"/>
              <a:gd name="T100" fmla="*/ 2191 w 4280"/>
              <a:gd name="T101" fmla="*/ 983 h 3383"/>
              <a:gd name="T102" fmla="*/ 2420 w 4280"/>
              <a:gd name="T103" fmla="*/ 866 h 3383"/>
              <a:gd name="T104" fmla="*/ 2619 w 4280"/>
              <a:gd name="T105" fmla="*/ 663 h 3383"/>
              <a:gd name="T106" fmla="*/ 2762 w 4280"/>
              <a:gd name="T107" fmla="*/ 466 h 3383"/>
              <a:gd name="T108" fmla="*/ 2883 w 4280"/>
              <a:gd name="T109" fmla="*/ 343 h 3383"/>
              <a:gd name="T110" fmla="*/ 3054 w 4280"/>
              <a:gd name="T111" fmla="*/ 189 h 3383"/>
              <a:gd name="T112" fmla="*/ 3301 w 4280"/>
              <a:gd name="T113" fmla="*/ 59 h 3383"/>
              <a:gd name="T114" fmla="*/ 3563 w 4280"/>
              <a:gd name="T115" fmla="*/ 24 h 3383"/>
              <a:gd name="T116" fmla="*/ 3857 w 4280"/>
              <a:gd name="T117" fmla="*/ 59 h 3383"/>
              <a:gd name="T118" fmla="*/ 4076 w 4280"/>
              <a:gd name="T119" fmla="*/ 813 h 3383"/>
              <a:gd name="T120" fmla="*/ 3921 w 4280"/>
              <a:gd name="T121" fmla="*/ 964 h 3383"/>
              <a:gd name="T122" fmla="*/ 3738 w 4280"/>
              <a:gd name="T123" fmla="*/ 1243 h 3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0" h="3383">
                <a:moveTo>
                  <a:pt x="3240" y="2097"/>
                </a:moveTo>
                <a:lnTo>
                  <a:pt x="3245" y="2092"/>
                </a:lnTo>
                <a:lnTo>
                  <a:pt x="3253" y="2089"/>
                </a:lnTo>
                <a:lnTo>
                  <a:pt x="3258" y="2084"/>
                </a:lnTo>
                <a:lnTo>
                  <a:pt x="3263" y="2087"/>
                </a:lnTo>
                <a:lnTo>
                  <a:pt x="3265" y="2080"/>
                </a:lnTo>
                <a:lnTo>
                  <a:pt x="3277" y="2077"/>
                </a:lnTo>
                <a:lnTo>
                  <a:pt x="3280" y="2073"/>
                </a:lnTo>
                <a:lnTo>
                  <a:pt x="3279" y="2065"/>
                </a:lnTo>
                <a:lnTo>
                  <a:pt x="3274" y="2063"/>
                </a:lnTo>
                <a:lnTo>
                  <a:pt x="3274" y="2060"/>
                </a:lnTo>
                <a:lnTo>
                  <a:pt x="3263" y="2056"/>
                </a:lnTo>
                <a:lnTo>
                  <a:pt x="3272" y="2050"/>
                </a:lnTo>
                <a:lnTo>
                  <a:pt x="3270" y="2045"/>
                </a:lnTo>
                <a:lnTo>
                  <a:pt x="3272" y="2036"/>
                </a:lnTo>
                <a:lnTo>
                  <a:pt x="3270" y="2034"/>
                </a:lnTo>
                <a:lnTo>
                  <a:pt x="3279" y="2026"/>
                </a:lnTo>
                <a:lnTo>
                  <a:pt x="3277" y="2021"/>
                </a:lnTo>
                <a:lnTo>
                  <a:pt x="3280" y="2019"/>
                </a:lnTo>
                <a:lnTo>
                  <a:pt x="3280" y="2012"/>
                </a:lnTo>
                <a:lnTo>
                  <a:pt x="3289" y="2009"/>
                </a:lnTo>
                <a:lnTo>
                  <a:pt x="3291" y="2005"/>
                </a:lnTo>
                <a:lnTo>
                  <a:pt x="3301" y="2000"/>
                </a:lnTo>
                <a:lnTo>
                  <a:pt x="3313" y="2002"/>
                </a:lnTo>
                <a:lnTo>
                  <a:pt x="3316" y="1992"/>
                </a:lnTo>
                <a:lnTo>
                  <a:pt x="3314" y="1985"/>
                </a:lnTo>
                <a:lnTo>
                  <a:pt x="3323" y="1985"/>
                </a:lnTo>
                <a:lnTo>
                  <a:pt x="3325" y="1982"/>
                </a:lnTo>
                <a:lnTo>
                  <a:pt x="3320" y="1978"/>
                </a:lnTo>
                <a:lnTo>
                  <a:pt x="3321" y="1973"/>
                </a:lnTo>
                <a:lnTo>
                  <a:pt x="3316" y="1968"/>
                </a:lnTo>
                <a:lnTo>
                  <a:pt x="3321" y="1966"/>
                </a:lnTo>
                <a:lnTo>
                  <a:pt x="3318" y="1961"/>
                </a:lnTo>
                <a:lnTo>
                  <a:pt x="3325" y="1960"/>
                </a:lnTo>
                <a:lnTo>
                  <a:pt x="3326" y="1956"/>
                </a:lnTo>
                <a:lnTo>
                  <a:pt x="3335" y="1956"/>
                </a:lnTo>
                <a:lnTo>
                  <a:pt x="3347" y="1949"/>
                </a:lnTo>
                <a:lnTo>
                  <a:pt x="3352" y="1941"/>
                </a:lnTo>
                <a:lnTo>
                  <a:pt x="3352" y="1936"/>
                </a:lnTo>
                <a:lnTo>
                  <a:pt x="3359" y="1931"/>
                </a:lnTo>
                <a:lnTo>
                  <a:pt x="3357" y="1922"/>
                </a:lnTo>
                <a:lnTo>
                  <a:pt x="3360" y="1920"/>
                </a:lnTo>
                <a:lnTo>
                  <a:pt x="3357" y="1912"/>
                </a:lnTo>
                <a:lnTo>
                  <a:pt x="3357" y="1902"/>
                </a:lnTo>
                <a:lnTo>
                  <a:pt x="3352" y="1898"/>
                </a:lnTo>
                <a:lnTo>
                  <a:pt x="3354" y="1897"/>
                </a:lnTo>
                <a:lnTo>
                  <a:pt x="3350" y="1886"/>
                </a:lnTo>
                <a:lnTo>
                  <a:pt x="3338" y="1885"/>
                </a:lnTo>
                <a:lnTo>
                  <a:pt x="3333" y="1880"/>
                </a:lnTo>
                <a:lnTo>
                  <a:pt x="3335" y="1871"/>
                </a:lnTo>
                <a:lnTo>
                  <a:pt x="3338" y="1864"/>
                </a:lnTo>
                <a:lnTo>
                  <a:pt x="3330" y="1857"/>
                </a:lnTo>
                <a:lnTo>
                  <a:pt x="3326" y="1851"/>
                </a:lnTo>
                <a:lnTo>
                  <a:pt x="3318" y="1851"/>
                </a:lnTo>
                <a:lnTo>
                  <a:pt x="3311" y="1854"/>
                </a:lnTo>
                <a:lnTo>
                  <a:pt x="3304" y="1847"/>
                </a:lnTo>
                <a:lnTo>
                  <a:pt x="3304" y="1844"/>
                </a:lnTo>
                <a:lnTo>
                  <a:pt x="3301" y="1842"/>
                </a:lnTo>
                <a:lnTo>
                  <a:pt x="3303" y="1837"/>
                </a:lnTo>
                <a:lnTo>
                  <a:pt x="3292" y="1830"/>
                </a:lnTo>
                <a:lnTo>
                  <a:pt x="3287" y="1830"/>
                </a:lnTo>
                <a:lnTo>
                  <a:pt x="3284" y="1825"/>
                </a:lnTo>
                <a:lnTo>
                  <a:pt x="3279" y="1825"/>
                </a:lnTo>
                <a:lnTo>
                  <a:pt x="3280" y="1820"/>
                </a:lnTo>
                <a:lnTo>
                  <a:pt x="3272" y="1813"/>
                </a:lnTo>
                <a:lnTo>
                  <a:pt x="3267" y="1813"/>
                </a:lnTo>
                <a:lnTo>
                  <a:pt x="3269" y="1808"/>
                </a:lnTo>
                <a:lnTo>
                  <a:pt x="3258" y="1808"/>
                </a:lnTo>
                <a:lnTo>
                  <a:pt x="3253" y="1798"/>
                </a:lnTo>
                <a:lnTo>
                  <a:pt x="3252" y="1803"/>
                </a:lnTo>
                <a:lnTo>
                  <a:pt x="3243" y="1808"/>
                </a:lnTo>
                <a:lnTo>
                  <a:pt x="3236" y="1798"/>
                </a:lnTo>
                <a:lnTo>
                  <a:pt x="3238" y="1795"/>
                </a:lnTo>
                <a:lnTo>
                  <a:pt x="3233" y="1793"/>
                </a:lnTo>
                <a:lnTo>
                  <a:pt x="3236" y="1791"/>
                </a:lnTo>
                <a:lnTo>
                  <a:pt x="3235" y="1784"/>
                </a:lnTo>
                <a:lnTo>
                  <a:pt x="3228" y="1781"/>
                </a:lnTo>
                <a:lnTo>
                  <a:pt x="3236" y="1777"/>
                </a:lnTo>
                <a:lnTo>
                  <a:pt x="3231" y="1774"/>
                </a:lnTo>
                <a:lnTo>
                  <a:pt x="3235" y="1772"/>
                </a:lnTo>
                <a:lnTo>
                  <a:pt x="3224" y="1766"/>
                </a:lnTo>
                <a:lnTo>
                  <a:pt x="3216" y="1769"/>
                </a:lnTo>
                <a:lnTo>
                  <a:pt x="3212" y="1766"/>
                </a:lnTo>
                <a:lnTo>
                  <a:pt x="3202" y="1771"/>
                </a:lnTo>
                <a:lnTo>
                  <a:pt x="3201" y="1769"/>
                </a:lnTo>
                <a:lnTo>
                  <a:pt x="3197" y="1762"/>
                </a:lnTo>
                <a:lnTo>
                  <a:pt x="3201" y="1754"/>
                </a:lnTo>
                <a:lnTo>
                  <a:pt x="3192" y="1750"/>
                </a:lnTo>
                <a:lnTo>
                  <a:pt x="3187" y="1745"/>
                </a:lnTo>
                <a:lnTo>
                  <a:pt x="3178" y="1747"/>
                </a:lnTo>
                <a:lnTo>
                  <a:pt x="3173" y="1743"/>
                </a:lnTo>
                <a:lnTo>
                  <a:pt x="3172" y="1735"/>
                </a:lnTo>
                <a:lnTo>
                  <a:pt x="3173" y="1728"/>
                </a:lnTo>
                <a:lnTo>
                  <a:pt x="3168" y="1721"/>
                </a:lnTo>
                <a:lnTo>
                  <a:pt x="3161" y="1716"/>
                </a:lnTo>
                <a:lnTo>
                  <a:pt x="3153" y="1718"/>
                </a:lnTo>
                <a:lnTo>
                  <a:pt x="3144" y="1726"/>
                </a:lnTo>
                <a:lnTo>
                  <a:pt x="3133" y="1725"/>
                </a:lnTo>
                <a:lnTo>
                  <a:pt x="3129" y="1726"/>
                </a:lnTo>
                <a:lnTo>
                  <a:pt x="3127" y="1725"/>
                </a:lnTo>
                <a:lnTo>
                  <a:pt x="3124" y="1728"/>
                </a:lnTo>
                <a:lnTo>
                  <a:pt x="3114" y="1725"/>
                </a:lnTo>
                <a:lnTo>
                  <a:pt x="3109" y="1728"/>
                </a:lnTo>
                <a:lnTo>
                  <a:pt x="3100" y="1732"/>
                </a:lnTo>
                <a:lnTo>
                  <a:pt x="3095" y="1730"/>
                </a:lnTo>
                <a:lnTo>
                  <a:pt x="3095" y="1735"/>
                </a:lnTo>
                <a:lnTo>
                  <a:pt x="3087" y="1742"/>
                </a:lnTo>
                <a:lnTo>
                  <a:pt x="3087" y="1745"/>
                </a:lnTo>
                <a:lnTo>
                  <a:pt x="3082" y="1752"/>
                </a:lnTo>
                <a:lnTo>
                  <a:pt x="3070" y="1749"/>
                </a:lnTo>
                <a:lnTo>
                  <a:pt x="3065" y="1754"/>
                </a:lnTo>
                <a:lnTo>
                  <a:pt x="3058" y="1750"/>
                </a:lnTo>
                <a:lnTo>
                  <a:pt x="3051" y="1749"/>
                </a:lnTo>
                <a:lnTo>
                  <a:pt x="3042" y="1754"/>
                </a:lnTo>
                <a:lnTo>
                  <a:pt x="3039" y="1749"/>
                </a:lnTo>
                <a:lnTo>
                  <a:pt x="3032" y="1759"/>
                </a:lnTo>
                <a:lnTo>
                  <a:pt x="3031" y="1757"/>
                </a:lnTo>
                <a:lnTo>
                  <a:pt x="3024" y="1762"/>
                </a:lnTo>
                <a:lnTo>
                  <a:pt x="3022" y="1760"/>
                </a:lnTo>
                <a:lnTo>
                  <a:pt x="3022" y="1766"/>
                </a:lnTo>
                <a:lnTo>
                  <a:pt x="3017" y="1769"/>
                </a:lnTo>
                <a:lnTo>
                  <a:pt x="3015" y="1772"/>
                </a:lnTo>
                <a:lnTo>
                  <a:pt x="3008" y="1781"/>
                </a:lnTo>
                <a:lnTo>
                  <a:pt x="3003" y="1781"/>
                </a:lnTo>
                <a:lnTo>
                  <a:pt x="3003" y="1788"/>
                </a:lnTo>
                <a:lnTo>
                  <a:pt x="2995" y="1793"/>
                </a:lnTo>
                <a:lnTo>
                  <a:pt x="2997" y="1798"/>
                </a:lnTo>
                <a:lnTo>
                  <a:pt x="2988" y="1796"/>
                </a:lnTo>
                <a:lnTo>
                  <a:pt x="2986" y="1800"/>
                </a:lnTo>
                <a:lnTo>
                  <a:pt x="2981" y="1796"/>
                </a:lnTo>
                <a:lnTo>
                  <a:pt x="2973" y="1789"/>
                </a:lnTo>
                <a:lnTo>
                  <a:pt x="2968" y="1793"/>
                </a:lnTo>
                <a:lnTo>
                  <a:pt x="2968" y="1798"/>
                </a:lnTo>
                <a:lnTo>
                  <a:pt x="2961" y="1798"/>
                </a:lnTo>
                <a:lnTo>
                  <a:pt x="2959" y="1808"/>
                </a:lnTo>
                <a:lnTo>
                  <a:pt x="2954" y="1808"/>
                </a:lnTo>
                <a:lnTo>
                  <a:pt x="2951" y="1805"/>
                </a:lnTo>
                <a:lnTo>
                  <a:pt x="2947" y="1808"/>
                </a:lnTo>
                <a:lnTo>
                  <a:pt x="2946" y="1805"/>
                </a:lnTo>
                <a:lnTo>
                  <a:pt x="2940" y="1810"/>
                </a:lnTo>
                <a:lnTo>
                  <a:pt x="2937" y="1808"/>
                </a:lnTo>
                <a:lnTo>
                  <a:pt x="2925" y="1803"/>
                </a:lnTo>
                <a:lnTo>
                  <a:pt x="2927" y="1813"/>
                </a:lnTo>
                <a:lnTo>
                  <a:pt x="2917" y="1817"/>
                </a:lnTo>
                <a:lnTo>
                  <a:pt x="2917" y="1823"/>
                </a:lnTo>
                <a:lnTo>
                  <a:pt x="2912" y="1825"/>
                </a:lnTo>
                <a:lnTo>
                  <a:pt x="2913" y="1834"/>
                </a:lnTo>
                <a:lnTo>
                  <a:pt x="2906" y="1832"/>
                </a:lnTo>
                <a:lnTo>
                  <a:pt x="2903" y="1842"/>
                </a:lnTo>
                <a:lnTo>
                  <a:pt x="2895" y="1842"/>
                </a:lnTo>
                <a:lnTo>
                  <a:pt x="2903" y="1851"/>
                </a:lnTo>
                <a:lnTo>
                  <a:pt x="2895" y="1852"/>
                </a:lnTo>
                <a:lnTo>
                  <a:pt x="2895" y="1861"/>
                </a:lnTo>
                <a:lnTo>
                  <a:pt x="2883" y="1866"/>
                </a:lnTo>
                <a:lnTo>
                  <a:pt x="2886" y="1874"/>
                </a:lnTo>
                <a:lnTo>
                  <a:pt x="2878" y="1874"/>
                </a:lnTo>
                <a:lnTo>
                  <a:pt x="2876" y="1880"/>
                </a:lnTo>
                <a:lnTo>
                  <a:pt x="2869" y="1883"/>
                </a:lnTo>
                <a:lnTo>
                  <a:pt x="2866" y="1888"/>
                </a:lnTo>
                <a:lnTo>
                  <a:pt x="2861" y="1890"/>
                </a:lnTo>
                <a:lnTo>
                  <a:pt x="2862" y="1895"/>
                </a:lnTo>
                <a:lnTo>
                  <a:pt x="2869" y="1895"/>
                </a:lnTo>
                <a:lnTo>
                  <a:pt x="2866" y="1900"/>
                </a:lnTo>
                <a:lnTo>
                  <a:pt x="2859" y="1905"/>
                </a:lnTo>
                <a:lnTo>
                  <a:pt x="2854" y="1905"/>
                </a:lnTo>
                <a:lnTo>
                  <a:pt x="2852" y="1910"/>
                </a:lnTo>
                <a:lnTo>
                  <a:pt x="2844" y="1908"/>
                </a:lnTo>
                <a:lnTo>
                  <a:pt x="2849" y="1915"/>
                </a:lnTo>
                <a:lnTo>
                  <a:pt x="2838" y="1919"/>
                </a:lnTo>
                <a:lnTo>
                  <a:pt x="2837" y="1929"/>
                </a:lnTo>
                <a:lnTo>
                  <a:pt x="2830" y="1927"/>
                </a:lnTo>
                <a:lnTo>
                  <a:pt x="2835" y="1937"/>
                </a:lnTo>
                <a:lnTo>
                  <a:pt x="2827" y="1939"/>
                </a:lnTo>
                <a:lnTo>
                  <a:pt x="2823" y="1948"/>
                </a:lnTo>
                <a:lnTo>
                  <a:pt x="2816" y="1951"/>
                </a:lnTo>
                <a:lnTo>
                  <a:pt x="2818" y="1960"/>
                </a:lnTo>
                <a:lnTo>
                  <a:pt x="2810" y="1958"/>
                </a:lnTo>
                <a:lnTo>
                  <a:pt x="2803" y="1963"/>
                </a:lnTo>
                <a:lnTo>
                  <a:pt x="2803" y="1971"/>
                </a:lnTo>
                <a:lnTo>
                  <a:pt x="2796" y="1970"/>
                </a:lnTo>
                <a:lnTo>
                  <a:pt x="2786" y="1978"/>
                </a:lnTo>
                <a:lnTo>
                  <a:pt x="2781" y="1975"/>
                </a:lnTo>
                <a:lnTo>
                  <a:pt x="2776" y="1982"/>
                </a:lnTo>
                <a:lnTo>
                  <a:pt x="2764" y="1980"/>
                </a:lnTo>
                <a:lnTo>
                  <a:pt x="2753" y="1983"/>
                </a:lnTo>
                <a:lnTo>
                  <a:pt x="2750" y="1990"/>
                </a:lnTo>
                <a:lnTo>
                  <a:pt x="2745" y="1994"/>
                </a:lnTo>
                <a:lnTo>
                  <a:pt x="2740" y="1988"/>
                </a:lnTo>
                <a:lnTo>
                  <a:pt x="2738" y="2000"/>
                </a:lnTo>
                <a:lnTo>
                  <a:pt x="2731" y="1994"/>
                </a:lnTo>
                <a:lnTo>
                  <a:pt x="2728" y="1995"/>
                </a:lnTo>
                <a:lnTo>
                  <a:pt x="2730" y="2000"/>
                </a:lnTo>
                <a:lnTo>
                  <a:pt x="2726" y="2005"/>
                </a:lnTo>
                <a:lnTo>
                  <a:pt x="2731" y="2011"/>
                </a:lnTo>
                <a:lnTo>
                  <a:pt x="2738" y="2017"/>
                </a:lnTo>
                <a:lnTo>
                  <a:pt x="2745" y="2022"/>
                </a:lnTo>
                <a:lnTo>
                  <a:pt x="2743" y="2022"/>
                </a:lnTo>
                <a:lnTo>
                  <a:pt x="2747" y="2024"/>
                </a:lnTo>
                <a:lnTo>
                  <a:pt x="2750" y="2031"/>
                </a:lnTo>
                <a:lnTo>
                  <a:pt x="2750" y="2033"/>
                </a:lnTo>
                <a:lnTo>
                  <a:pt x="2755" y="2046"/>
                </a:lnTo>
                <a:lnTo>
                  <a:pt x="2757" y="2050"/>
                </a:lnTo>
                <a:lnTo>
                  <a:pt x="2762" y="2060"/>
                </a:lnTo>
                <a:lnTo>
                  <a:pt x="2765" y="2070"/>
                </a:lnTo>
                <a:lnTo>
                  <a:pt x="2767" y="2072"/>
                </a:lnTo>
                <a:lnTo>
                  <a:pt x="2770" y="2080"/>
                </a:lnTo>
                <a:lnTo>
                  <a:pt x="2770" y="2082"/>
                </a:lnTo>
                <a:lnTo>
                  <a:pt x="2776" y="2092"/>
                </a:lnTo>
                <a:lnTo>
                  <a:pt x="2777" y="2096"/>
                </a:lnTo>
                <a:lnTo>
                  <a:pt x="2776" y="2099"/>
                </a:lnTo>
                <a:lnTo>
                  <a:pt x="2779" y="2099"/>
                </a:lnTo>
                <a:lnTo>
                  <a:pt x="2787" y="2104"/>
                </a:lnTo>
                <a:lnTo>
                  <a:pt x="2787" y="2108"/>
                </a:lnTo>
                <a:lnTo>
                  <a:pt x="2794" y="2111"/>
                </a:lnTo>
                <a:lnTo>
                  <a:pt x="2801" y="2133"/>
                </a:lnTo>
                <a:lnTo>
                  <a:pt x="2801" y="2136"/>
                </a:lnTo>
                <a:lnTo>
                  <a:pt x="2806" y="2135"/>
                </a:lnTo>
                <a:lnTo>
                  <a:pt x="2818" y="2135"/>
                </a:lnTo>
                <a:lnTo>
                  <a:pt x="2821" y="2133"/>
                </a:lnTo>
                <a:lnTo>
                  <a:pt x="2823" y="2135"/>
                </a:lnTo>
                <a:lnTo>
                  <a:pt x="2816" y="2143"/>
                </a:lnTo>
                <a:lnTo>
                  <a:pt x="2816" y="2148"/>
                </a:lnTo>
                <a:lnTo>
                  <a:pt x="2811" y="2148"/>
                </a:lnTo>
                <a:lnTo>
                  <a:pt x="2815" y="2150"/>
                </a:lnTo>
                <a:lnTo>
                  <a:pt x="2811" y="2155"/>
                </a:lnTo>
                <a:lnTo>
                  <a:pt x="2813" y="2157"/>
                </a:lnTo>
                <a:lnTo>
                  <a:pt x="2811" y="2167"/>
                </a:lnTo>
                <a:lnTo>
                  <a:pt x="2811" y="2169"/>
                </a:lnTo>
                <a:lnTo>
                  <a:pt x="2816" y="2172"/>
                </a:lnTo>
                <a:lnTo>
                  <a:pt x="2815" y="2176"/>
                </a:lnTo>
                <a:lnTo>
                  <a:pt x="2818" y="2179"/>
                </a:lnTo>
                <a:lnTo>
                  <a:pt x="2813" y="2184"/>
                </a:lnTo>
                <a:lnTo>
                  <a:pt x="2816" y="2187"/>
                </a:lnTo>
                <a:lnTo>
                  <a:pt x="2825" y="2182"/>
                </a:lnTo>
                <a:lnTo>
                  <a:pt x="2833" y="2179"/>
                </a:lnTo>
                <a:lnTo>
                  <a:pt x="2838" y="2182"/>
                </a:lnTo>
                <a:lnTo>
                  <a:pt x="2838" y="2191"/>
                </a:lnTo>
                <a:lnTo>
                  <a:pt x="2842" y="2196"/>
                </a:lnTo>
                <a:lnTo>
                  <a:pt x="2845" y="2199"/>
                </a:lnTo>
                <a:lnTo>
                  <a:pt x="2852" y="2199"/>
                </a:lnTo>
                <a:lnTo>
                  <a:pt x="2857" y="2203"/>
                </a:lnTo>
                <a:lnTo>
                  <a:pt x="2862" y="2210"/>
                </a:lnTo>
                <a:lnTo>
                  <a:pt x="2861" y="2215"/>
                </a:lnTo>
                <a:lnTo>
                  <a:pt x="2871" y="2215"/>
                </a:lnTo>
                <a:lnTo>
                  <a:pt x="2872" y="2223"/>
                </a:lnTo>
                <a:lnTo>
                  <a:pt x="2871" y="2228"/>
                </a:lnTo>
                <a:lnTo>
                  <a:pt x="2874" y="2228"/>
                </a:lnTo>
                <a:lnTo>
                  <a:pt x="2874" y="2232"/>
                </a:lnTo>
                <a:lnTo>
                  <a:pt x="2883" y="2233"/>
                </a:lnTo>
                <a:lnTo>
                  <a:pt x="2891" y="2240"/>
                </a:lnTo>
                <a:lnTo>
                  <a:pt x="2893" y="2245"/>
                </a:lnTo>
                <a:lnTo>
                  <a:pt x="2898" y="2247"/>
                </a:lnTo>
                <a:lnTo>
                  <a:pt x="2905" y="2257"/>
                </a:lnTo>
                <a:lnTo>
                  <a:pt x="2915" y="2261"/>
                </a:lnTo>
                <a:lnTo>
                  <a:pt x="2918" y="2261"/>
                </a:lnTo>
                <a:lnTo>
                  <a:pt x="2927" y="2259"/>
                </a:lnTo>
                <a:lnTo>
                  <a:pt x="2940" y="2259"/>
                </a:lnTo>
                <a:lnTo>
                  <a:pt x="2949" y="2257"/>
                </a:lnTo>
                <a:lnTo>
                  <a:pt x="2951" y="2262"/>
                </a:lnTo>
                <a:lnTo>
                  <a:pt x="2956" y="2267"/>
                </a:lnTo>
                <a:lnTo>
                  <a:pt x="2968" y="2269"/>
                </a:lnTo>
                <a:lnTo>
                  <a:pt x="2971" y="2273"/>
                </a:lnTo>
                <a:lnTo>
                  <a:pt x="2983" y="2271"/>
                </a:lnTo>
                <a:lnTo>
                  <a:pt x="2991" y="2271"/>
                </a:lnTo>
                <a:lnTo>
                  <a:pt x="3000" y="2276"/>
                </a:lnTo>
                <a:lnTo>
                  <a:pt x="3002" y="2273"/>
                </a:lnTo>
                <a:lnTo>
                  <a:pt x="3002" y="2262"/>
                </a:lnTo>
                <a:lnTo>
                  <a:pt x="3000" y="2259"/>
                </a:lnTo>
                <a:lnTo>
                  <a:pt x="3000" y="2256"/>
                </a:lnTo>
                <a:lnTo>
                  <a:pt x="3010" y="2252"/>
                </a:lnTo>
                <a:lnTo>
                  <a:pt x="3012" y="2242"/>
                </a:lnTo>
                <a:lnTo>
                  <a:pt x="3017" y="2237"/>
                </a:lnTo>
                <a:lnTo>
                  <a:pt x="3019" y="2227"/>
                </a:lnTo>
                <a:lnTo>
                  <a:pt x="3012" y="2220"/>
                </a:lnTo>
                <a:lnTo>
                  <a:pt x="3020" y="2213"/>
                </a:lnTo>
                <a:lnTo>
                  <a:pt x="3032" y="2211"/>
                </a:lnTo>
                <a:lnTo>
                  <a:pt x="3034" y="2206"/>
                </a:lnTo>
                <a:lnTo>
                  <a:pt x="3039" y="2208"/>
                </a:lnTo>
                <a:lnTo>
                  <a:pt x="3039" y="2204"/>
                </a:lnTo>
                <a:lnTo>
                  <a:pt x="3042" y="2199"/>
                </a:lnTo>
                <a:lnTo>
                  <a:pt x="3042" y="2191"/>
                </a:lnTo>
                <a:lnTo>
                  <a:pt x="3039" y="2187"/>
                </a:lnTo>
                <a:lnTo>
                  <a:pt x="3041" y="2182"/>
                </a:lnTo>
                <a:lnTo>
                  <a:pt x="3029" y="2177"/>
                </a:lnTo>
                <a:lnTo>
                  <a:pt x="3027" y="2174"/>
                </a:lnTo>
                <a:lnTo>
                  <a:pt x="3036" y="2165"/>
                </a:lnTo>
                <a:lnTo>
                  <a:pt x="3042" y="2164"/>
                </a:lnTo>
                <a:lnTo>
                  <a:pt x="3053" y="2165"/>
                </a:lnTo>
                <a:lnTo>
                  <a:pt x="3059" y="2157"/>
                </a:lnTo>
                <a:lnTo>
                  <a:pt x="3065" y="2159"/>
                </a:lnTo>
                <a:lnTo>
                  <a:pt x="3065" y="2153"/>
                </a:lnTo>
                <a:lnTo>
                  <a:pt x="3068" y="2148"/>
                </a:lnTo>
                <a:lnTo>
                  <a:pt x="3070" y="2142"/>
                </a:lnTo>
                <a:lnTo>
                  <a:pt x="3075" y="2142"/>
                </a:lnTo>
                <a:lnTo>
                  <a:pt x="3080" y="2135"/>
                </a:lnTo>
                <a:lnTo>
                  <a:pt x="3087" y="2136"/>
                </a:lnTo>
                <a:lnTo>
                  <a:pt x="3092" y="2138"/>
                </a:lnTo>
                <a:lnTo>
                  <a:pt x="3099" y="2138"/>
                </a:lnTo>
                <a:lnTo>
                  <a:pt x="3105" y="2136"/>
                </a:lnTo>
                <a:lnTo>
                  <a:pt x="3114" y="2130"/>
                </a:lnTo>
                <a:lnTo>
                  <a:pt x="3119" y="2128"/>
                </a:lnTo>
                <a:lnTo>
                  <a:pt x="3119" y="2130"/>
                </a:lnTo>
                <a:lnTo>
                  <a:pt x="3129" y="2130"/>
                </a:lnTo>
                <a:lnTo>
                  <a:pt x="3136" y="2133"/>
                </a:lnTo>
                <a:lnTo>
                  <a:pt x="3141" y="2131"/>
                </a:lnTo>
                <a:lnTo>
                  <a:pt x="3148" y="2133"/>
                </a:lnTo>
                <a:lnTo>
                  <a:pt x="3155" y="2130"/>
                </a:lnTo>
                <a:lnTo>
                  <a:pt x="3167" y="2128"/>
                </a:lnTo>
                <a:lnTo>
                  <a:pt x="3170" y="2125"/>
                </a:lnTo>
                <a:lnTo>
                  <a:pt x="3180" y="2126"/>
                </a:lnTo>
                <a:lnTo>
                  <a:pt x="3182" y="2123"/>
                </a:lnTo>
                <a:lnTo>
                  <a:pt x="3190" y="2123"/>
                </a:lnTo>
                <a:lnTo>
                  <a:pt x="3197" y="2121"/>
                </a:lnTo>
                <a:lnTo>
                  <a:pt x="3199" y="2118"/>
                </a:lnTo>
                <a:lnTo>
                  <a:pt x="3211" y="2114"/>
                </a:lnTo>
                <a:lnTo>
                  <a:pt x="3219" y="2106"/>
                </a:lnTo>
                <a:lnTo>
                  <a:pt x="3231" y="2104"/>
                </a:lnTo>
                <a:lnTo>
                  <a:pt x="3240" y="2097"/>
                </a:lnTo>
                <a:close/>
                <a:moveTo>
                  <a:pt x="3857" y="1362"/>
                </a:moveTo>
                <a:lnTo>
                  <a:pt x="3860" y="1364"/>
                </a:lnTo>
                <a:lnTo>
                  <a:pt x="3867" y="1366"/>
                </a:lnTo>
                <a:lnTo>
                  <a:pt x="3877" y="1369"/>
                </a:lnTo>
                <a:lnTo>
                  <a:pt x="3880" y="1371"/>
                </a:lnTo>
                <a:lnTo>
                  <a:pt x="3884" y="1373"/>
                </a:lnTo>
                <a:lnTo>
                  <a:pt x="3887" y="1373"/>
                </a:lnTo>
                <a:lnTo>
                  <a:pt x="3899" y="1378"/>
                </a:lnTo>
                <a:lnTo>
                  <a:pt x="3909" y="1381"/>
                </a:lnTo>
                <a:lnTo>
                  <a:pt x="3913" y="1381"/>
                </a:lnTo>
                <a:lnTo>
                  <a:pt x="3916" y="1381"/>
                </a:lnTo>
                <a:lnTo>
                  <a:pt x="3928" y="1381"/>
                </a:lnTo>
                <a:lnTo>
                  <a:pt x="3931" y="1381"/>
                </a:lnTo>
                <a:lnTo>
                  <a:pt x="3942" y="1381"/>
                </a:lnTo>
                <a:lnTo>
                  <a:pt x="3967" y="1381"/>
                </a:lnTo>
                <a:lnTo>
                  <a:pt x="3979" y="1383"/>
                </a:lnTo>
                <a:lnTo>
                  <a:pt x="3994" y="1383"/>
                </a:lnTo>
                <a:lnTo>
                  <a:pt x="4015" y="1383"/>
                </a:lnTo>
                <a:lnTo>
                  <a:pt x="4025" y="1383"/>
                </a:lnTo>
                <a:lnTo>
                  <a:pt x="4039" y="1383"/>
                </a:lnTo>
                <a:lnTo>
                  <a:pt x="4037" y="1381"/>
                </a:lnTo>
                <a:lnTo>
                  <a:pt x="4037" y="1378"/>
                </a:lnTo>
                <a:lnTo>
                  <a:pt x="4039" y="1366"/>
                </a:lnTo>
                <a:lnTo>
                  <a:pt x="4039" y="1357"/>
                </a:lnTo>
                <a:lnTo>
                  <a:pt x="4039" y="1349"/>
                </a:lnTo>
                <a:lnTo>
                  <a:pt x="4039" y="1337"/>
                </a:lnTo>
                <a:lnTo>
                  <a:pt x="4040" y="1332"/>
                </a:lnTo>
                <a:lnTo>
                  <a:pt x="4039" y="1328"/>
                </a:lnTo>
                <a:lnTo>
                  <a:pt x="4040" y="1322"/>
                </a:lnTo>
                <a:lnTo>
                  <a:pt x="4042" y="1313"/>
                </a:lnTo>
                <a:lnTo>
                  <a:pt x="4042" y="1308"/>
                </a:lnTo>
                <a:lnTo>
                  <a:pt x="4044" y="1298"/>
                </a:lnTo>
                <a:lnTo>
                  <a:pt x="4045" y="1288"/>
                </a:lnTo>
                <a:lnTo>
                  <a:pt x="4047" y="1284"/>
                </a:lnTo>
                <a:lnTo>
                  <a:pt x="4049" y="1281"/>
                </a:lnTo>
                <a:lnTo>
                  <a:pt x="4047" y="1277"/>
                </a:lnTo>
                <a:lnTo>
                  <a:pt x="4049" y="1272"/>
                </a:lnTo>
                <a:lnTo>
                  <a:pt x="4052" y="1255"/>
                </a:lnTo>
                <a:lnTo>
                  <a:pt x="4054" y="1250"/>
                </a:lnTo>
                <a:lnTo>
                  <a:pt x="4052" y="1247"/>
                </a:lnTo>
                <a:lnTo>
                  <a:pt x="4056" y="1247"/>
                </a:lnTo>
                <a:lnTo>
                  <a:pt x="4064" y="1250"/>
                </a:lnTo>
                <a:lnTo>
                  <a:pt x="4076" y="1247"/>
                </a:lnTo>
                <a:lnTo>
                  <a:pt x="4081" y="1255"/>
                </a:lnTo>
                <a:lnTo>
                  <a:pt x="4086" y="1255"/>
                </a:lnTo>
                <a:lnTo>
                  <a:pt x="4096" y="1262"/>
                </a:lnTo>
                <a:lnTo>
                  <a:pt x="4101" y="1259"/>
                </a:lnTo>
                <a:lnTo>
                  <a:pt x="4107" y="1254"/>
                </a:lnTo>
                <a:lnTo>
                  <a:pt x="4115" y="1257"/>
                </a:lnTo>
                <a:lnTo>
                  <a:pt x="4122" y="1257"/>
                </a:lnTo>
                <a:lnTo>
                  <a:pt x="4129" y="1260"/>
                </a:lnTo>
                <a:lnTo>
                  <a:pt x="4132" y="1259"/>
                </a:lnTo>
                <a:lnTo>
                  <a:pt x="4135" y="1262"/>
                </a:lnTo>
                <a:lnTo>
                  <a:pt x="4139" y="1259"/>
                </a:lnTo>
                <a:lnTo>
                  <a:pt x="4139" y="1262"/>
                </a:lnTo>
                <a:lnTo>
                  <a:pt x="4154" y="1262"/>
                </a:lnTo>
                <a:lnTo>
                  <a:pt x="4164" y="1262"/>
                </a:lnTo>
                <a:lnTo>
                  <a:pt x="4171" y="1262"/>
                </a:lnTo>
                <a:lnTo>
                  <a:pt x="4183" y="1262"/>
                </a:lnTo>
                <a:lnTo>
                  <a:pt x="4195" y="1262"/>
                </a:lnTo>
                <a:lnTo>
                  <a:pt x="4198" y="1262"/>
                </a:lnTo>
                <a:lnTo>
                  <a:pt x="4207" y="1262"/>
                </a:lnTo>
                <a:lnTo>
                  <a:pt x="4217" y="1262"/>
                </a:lnTo>
                <a:lnTo>
                  <a:pt x="4227" y="1262"/>
                </a:lnTo>
                <a:lnTo>
                  <a:pt x="4237" y="1262"/>
                </a:lnTo>
                <a:lnTo>
                  <a:pt x="4249" y="1260"/>
                </a:lnTo>
                <a:lnTo>
                  <a:pt x="4258" y="1262"/>
                </a:lnTo>
                <a:lnTo>
                  <a:pt x="4265" y="1262"/>
                </a:lnTo>
                <a:lnTo>
                  <a:pt x="4271" y="1262"/>
                </a:lnTo>
                <a:lnTo>
                  <a:pt x="4280" y="1260"/>
                </a:lnTo>
                <a:lnTo>
                  <a:pt x="4278" y="1264"/>
                </a:lnTo>
                <a:lnTo>
                  <a:pt x="4278" y="1271"/>
                </a:lnTo>
                <a:lnTo>
                  <a:pt x="4277" y="1277"/>
                </a:lnTo>
                <a:lnTo>
                  <a:pt x="4275" y="1286"/>
                </a:lnTo>
                <a:lnTo>
                  <a:pt x="4275" y="1291"/>
                </a:lnTo>
                <a:lnTo>
                  <a:pt x="4271" y="1299"/>
                </a:lnTo>
                <a:lnTo>
                  <a:pt x="4273" y="1303"/>
                </a:lnTo>
                <a:lnTo>
                  <a:pt x="4268" y="1315"/>
                </a:lnTo>
                <a:lnTo>
                  <a:pt x="4265" y="1325"/>
                </a:lnTo>
                <a:lnTo>
                  <a:pt x="4265" y="1327"/>
                </a:lnTo>
                <a:lnTo>
                  <a:pt x="4261" y="1335"/>
                </a:lnTo>
                <a:lnTo>
                  <a:pt x="4258" y="1340"/>
                </a:lnTo>
                <a:lnTo>
                  <a:pt x="4254" y="1349"/>
                </a:lnTo>
                <a:lnTo>
                  <a:pt x="4251" y="1356"/>
                </a:lnTo>
                <a:lnTo>
                  <a:pt x="4251" y="1359"/>
                </a:lnTo>
                <a:lnTo>
                  <a:pt x="4246" y="1368"/>
                </a:lnTo>
                <a:lnTo>
                  <a:pt x="4246" y="1373"/>
                </a:lnTo>
                <a:lnTo>
                  <a:pt x="4239" y="1383"/>
                </a:lnTo>
                <a:lnTo>
                  <a:pt x="4239" y="1386"/>
                </a:lnTo>
                <a:lnTo>
                  <a:pt x="4236" y="1395"/>
                </a:lnTo>
                <a:lnTo>
                  <a:pt x="4232" y="1402"/>
                </a:lnTo>
                <a:lnTo>
                  <a:pt x="4229" y="1407"/>
                </a:lnTo>
                <a:lnTo>
                  <a:pt x="4227" y="1413"/>
                </a:lnTo>
                <a:lnTo>
                  <a:pt x="4222" y="1422"/>
                </a:lnTo>
                <a:lnTo>
                  <a:pt x="4217" y="1432"/>
                </a:lnTo>
                <a:lnTo>
                  <a:pt x="4219" y="1442"/>
                </a:lnTo>
                <a:lnTo>
                  <a:pt x="4217" y="1446"/>
                </a:lnTo>
                <a:lnTo>
                  <a:pt x="4212" y="1456"/>
                </a:lnTo>
                <a:lnTo>
                  <a:pt x="4210" y="1465"/>
                </a:lnTo>
                <a:lnTo>
                  <a:pt x="4207" y="1475"/>
                </a:lnTo>
                <a:lnTo>
                  <a:pt x="4205" y="1482"/>
                </a:lnTo>
                <a:lnTo>
                  <a:pt x="4200" y="1492"/>
                </a:lnTo>
                <a:lnTo>
                  <a:pt x="4198" y="1497"/>
                </a:lnTo>
                <a:lnTo>
                  <a:pt x="4197" y="1505"/>
                </a:lnTo>
                <a:lnTo>
                  <a:pt x="4193" y="1517"/>
                </a:lnTo>
                <a:lnTo>
                  <a:pt x="4193" y="1519"/>
                </a:lnTo>
                <a:lnTo>
                  <a:pt x="4192" y="1524"/>
                </a:lnTo>
                <a:lnTo>
                  <a:pt x="4190" y="1536"/>
                </a:lnTo>
                <a:lnTo>
                  <a:pt x="4190" y="1546"/>
                </a:lnTo>
                <a:lnTo>
                  <a:pt x="4188" y="1558"/>
                </a:lnTo>
                <a:lnTo>
                  <a:pt x="4185" y="1567"/>
                </a:lnTo>
                <a:lnTo>
                  <a:pt x="4180" y="1587"/>
                </a:lnTo>
                <a:lnTo>
                  <a:pt x="4180" y="1592"/>
                </a:lnTo>
                <a:lnTo>
                  <a:pt x="4180" y="1599"/>
                </a:lnTo>
                <a:lnTo>
                  <a:pt x="4176" y="1606"/>
                </a:lnTo>
                <a:lnTo>
                  <a:pt x="4175" y="1611"/>
                </a:lnTo>
                <a:lnTo>
                  <a:pt x="4171" y="1616"/>
                </a:lnTo>
                <a:lnTo>
                  <a:pt x="4168" y="1623"/>
                </a:lnTo>
                <a:lnTo>
                  <a:pt x="4164" y="1628"/>
                </a:lnTo>
                <a:lnTo>
                  <a:pt x="4163" y="1631"/>
                </a:lnTo>
                <a:lnTo>
                  <a:pt x="4159" y="1638"/>
                </a:lnTo>
                <a:lnTo>
                  <a:pt x="4156" y="1645"/>
                </a:lnTo>
                <a:lnTo>
                  <a:pt x="4149" y="1653"/>
                </a:lnTo>
                <a:lnTo>
                  <a:pt x="4147" y="1655"/>
                </a:lnTo>
                <a:lnTo>
                  <a:pt x="4142" y="1664"/>
                </a:lnTo>
                <a:lnTo>
                  <a:pt x="4141" y="1670"/>
                </a:lnTo>
                <a:lnTo>
                  <a:pt x="4142" y="1675"/>
                </a:lnTo>
                <a:lnTo>
                  <a:pt x="4139" y="1682"/>
                </a:lnTo>
                <a:lnTo>
                  <a:pt x="4137" y="1692"/>
                </a:lnTo>
                <a:lnTo>
                  <a:pt x="4135" y="1696"/>
                </a:lnTo>
                <a:lnTo>
                  <a:pt x="4132" y="1704"/>
                </a:lnTo>
                <a:lnTo>
                  <a:pt x="4130" y="1708"/>
                </a:lnTo>
                <a:lnTo>
                  <a:pt x="4124" y="1715"/>
                </a:lnTo>
                <a:lnTo>
                  <a:pt x="4122" y="1718"/>
                </a:lnTo>
                <a:lnTo>
                  <a:pt x="4117" y="1723"/>
                </a:lnTo>
                <a:lnTo>
                  <a:pt x="4110" y="1728"/>
                </a:lnTo>
                <a:lnTo>
                  <a:pt x="4103" y="1735"/>
                </a:lnTo>
                <a:lnTo>
                  <a:pt x="4093" y="1742"/>
                </a:lnTo>
                <a:lnTo>
                  <a:pt x="4086" y="1747"/>
                </a:lnTo>
                <a:lnTo>
                  <a:pt x="4078" y="1755"/>
                </a:lnTo>
                <a:lnTo>
                  <a:pt x="4067" y="1764"/>
                </a:lnTo>
                <a:lnTo>
                  <a:pt x="4066" y="1764"/>
                </a:lnTo>
                <a:lnTo>
                  <a:pt x="4057" y="1772"/>
                </a:lnTo>
                <a:lnTo>
                  <a:pt x="4052" y="1776"/>
                </a:lnTo>
                <a:lnTo>
                  <a:pt x="4052" y="1779"/>
                </a:lnTo>
                <a:lnTo>
                  <a:pt x="4047" y="1774"/>
                </a:lnTo>
                <a:lnTo>
                  <a:pt x="4047" y="1777"/>
                </a:lnTo>
                <a:lnTo>
                  <a:pt x="4040" y="1774"/>
                </a:lnTo>
                <a:lnTo>
                  <a:pt x="4033" y="1774"/>
                </a:lnTo>
                <a:lnTo>
                  <a:pt x="4039" y="1777"/>
                </a:lnTo>
                <a:lnTo>
                  <a:pt x="4032" y="1777"/>
                </a:lnTo>
                <a:lnTo>
                  <a:pt x="4037" y="1783"/>
                </a:lnTo>
                <a:lnTo>
                  <a:pt x="4042" y="1777"/>
                </a:lnTo>
                <a:lnTo>
                  <a:pt x="4049" y="1781"/>
                </a:lnTo>
                <a:lnTo>
                  <a:pt x="4042" y="1786"/>
                </a:lnTo>
                <a:lnTo>
                  <a:pt x="4037" y="1791"/>
                </a:lnTo>
                <a:lnTo>
                  <a:pt x="4028" y="1798"/>
                </a:lnTo>
                <a:lnTo>
                  <a:pt x="4027" y="1800"/>
                </a:lnTo>
                <a:lnTo>
                  <a:pt x="4015" y="1803"/>
                </a:lnTo>
                <a:lnTo>
                  <a:pt x="4010" y="1805"/>
                </a:lnTo>
                <a:lnTo>
                  <a:pt x="4003" y="1808"/>
                </a:lnTo>
                <a:lnTo>
                  <a:pt x="3994" y="1812"/>
                </a:lnTo>
                <a:lnTo>
                  <a:pt x="3982" y="1815"/>
                </a:lnTo>
                <a:lnTo>
                  <a:pt x="3972" y="1817"/>
                </a:lnTo>
                <a:lnTo>
                  <a:pt x="3962" y="1822"/>
                </a:lnTo>
                <a:lnTo>
                  <a:pt x="3954" y="1830"/>
                </a:lnTo>
                <a:lnTo>
                  <a:pt x="3948" y="1835"/>
                </a:lnTo>
                <a:lnTo>
                  <a:pt x="3940" y="1844"/>
                </a:lnTo>
                <a:lnTo>
                  <a:pt x="3935" y="1849"/>
                </a:lnTo>
                <a:lnTo>
                  <a:pt x="3928" y="1854"/>
                </a:lnTo>
                <a:lnTo>
                  <a:pt x="3926" y="1857"/>
                </a:lnTo>
                <a:lnTo>
                  <a:pt x="3920" y="1866"/>
                </a:lnTo>
                <a:lnTo>
                  <a:pt x="3916" y="1868"/>
                </a:lnTo>
                <a:lnTo>
                  <a:pt x="3911" y="1874"/>
                </a:lnTo>
                <a:lnTo>
                  <a:pt x="3906" y="1878"/>
                </a:lnTo>
                <a:lnTo>
                  <a:pt x="3904" y="1880"/>
                </a:lnTo>
                <a:lnTo>
                  <a:pt x="3894" y="1888"/>
                </a:lnTo>
                <a:lnTo>
                  <a:pt x="3892" y="1890"/>
                </a:lnTo>
                <a:lnTo>
                  <a:pt x="3889" y="1891"/>
                </a:lnTo>
                <a:lnTo>
                  <a:pt x="3886" y="1897"/>
                </a:lnTo>
                <a:lnTo>
                  <a:pt x="3879" y="1902"/>
                </a:lnTo>
                <a:lnTo>
                  <a:pt x="3870" y="1912"/>
                </a:lnTo>
                <a:lnTo>
                  <a:pt x="3867" y="1914"/>
                </a:lnTo>
                <a:lnTo>
                  <a:pt x="3862" y="1920"/>
                </a:lnTo>
                <a:lnTo>
                  <a:pt x="3853" y="1927"/>
                </a:lnTo>
                <a:lnTo>
                  <a:pt x="3848" y="1932"/>
                </a:lnTo>
                <a:lnTo>
                  <a:pt x="3847" y="1936"/>
                </a:lnTo>
                <a:lnTo>
                  <a:pt x="3841" y="1939"/>
                </a:lnTo>
                <a:lnTo>
                  <a:pt x="3836" y="1948"/>
                </a:lnTo>
                <a:lnTo>
                  <a:pt x="3833" y="1951"/>
                </a:lnTo>
                <a:lnTo>
                  <a:pt x="3831" y="1953"/>
                </a:lnTo>
                <a:lnTo>
                  <a:pt x="3828" y="1958"/>
                </a:lnTo>
                <a:lnTo>
                  <a:pt x="3819" y="1965"/>
                </a:lnTo>
                <a:lnTo>
                  <a:pt x="3816" y="1973"/>
                </a:lnTo>
                <a:lnTo>
                  <a:pt x="3814" y="1975"/>
                </a:lnTo>
                <a:lnTo>
                  <a:pt x="3806" y="1982"/>
                </a:lnTo>
                <a:lnTo>
                  <a:pt x="3806" y="1983"/>
                </a:lnTo>
                <a:lnTo>
                  <a:pt x="3799" y="1994"/>
                </a:lnTo>
                <a:lnTo>
                  <a:pt x="3790" y="2002"/>
                </a:lnTo>
                <a:lnTo>
                  <a:pt x="3789" y="2007"/>
                </a:lnTo>
                <a:lnTo>
                  <a:pt x="3787" y="2009"/>
                </a:lnTo>
                <a:lnTo>
                  <a:pt x="3780" y="2019"/>
                </a:lnTo>
                <a:lnTo>
                  <a:pt x="3779" y="2024"/>
                </a:lnTo>
                <a:lnTo>
                  <a:pt x="3772" y="2034"/>
                </a:lnTo>
                <a:lnTo>
                  <a:pt x="3770" y="2036"/>
                </a:lnTo>
                <a:lnTo>
                  <a:pt x="3767" y="2045"/>
                </a:lnTo>
                <a:lnTo>
                  <a:pt x="3765" y="2056"/>
                </a:lnTo>
                <a:lnTo>
                  <a:pt x="3768" y="2062"/>
                </a:lnTo>
                <a:lnTo>
                  <a:pt x="3765" y="2063"/>
                </a:lnTo>
                <a:lnTo>
                  <a:pt x="3760" y="2060"/>
                </a:lnTo>
                <a:lnTo>
                  <a:pt x="3753" y="2065"/>
                </a:lnTo>
                <a:lnTo>
                  <a:pt x="3756" y="2070"/>
                </a:lnTo>
                <a:lnTo>
                  <a:pt x="3756" y="2063"/>
                </a:lnTo>
                <a:lnTo>
                  <a:pt x="3765" y="2065"/>
                </a:lnTo>
                <a:lnTo>
                  <a:pt x="3762" y="2067"/>
                </a:lnTo>
                <a:lnTo>
                  <a:pt x="3770" y="2060"/>
                </a:lnTo>
                <a:lnTo>
                  <a:pt x="3770" y="2065"/>
                </a:lnTo>
                <a:lnTo>
                  <a:pt x="3763" y="2072"/>
                </a:lnTo>
                <a:lnTo>
                  <a:pt x="3758" y="2075"/>
                </a:lnTo>
                <a:lnTo>
                  <a:pt x="3756" y="2079"/>
                </a:lnTo>
                <a:lnTo>
                  <a:pt x="3751" y="2085"/>
                </a:lnTo>
                <a:lnTo>
                  <a:pt x="3745" y="2092"/>
                </a:lnTo>
                <a:lnTo>
                  <a:pt x="3741" y="2094"/>
                </a:lnTo>
                <a:lnTo>
                  <a:pt x="3738" y="2097"/>
                </a:lnTo>
                <a:lnTo>
                  <a:pt x="3733" y="2101"/>
                </a:lnTo>
                <a:lnTo>
                  <a:pt x="3728" y="2106"/>
                </a:lnTo>
                <a:lnTo>
                  <a:pt x="3722" y="2113"/>
                </a:lnTo>
                <a:lnTo>
                  <a:pt x="3716" y="2121"/>
                </a:lnTo>
                <a:lnTo>
                  <a:pt x="3712" y="2131"/>
                </a:lnTo>
                <a:lnTo>
                  <a:pt x="3709" y="2135"/>
                </a:lnTo>
                <a:lnTo>
                  <a:pt x="3704" y="2142"/>
                </a:lnTo>
                <a:lnTo>
                  <a:pt x="3699" y="2150"/>
                </a:lnTo>
                <a:lnTo>
                  <a:pt x="3697" y="2155"/>
                </a:lnTo>
                <a:lnTo>
                  <a:pt x="3694" y="2164"/>
                </a:lnTo>
                <a:lnTo>
                  <a:pt x="3687" y="2169"/>
                </a:lnTo>
                <a:lnTo>
                  <a:pt x="3687" y="2174"/>
                </a:lnTo>
                <a:lnTo>
                  <a:pt x="3683" y="2177"/>
                </a:lnTo>
                <a:lnTo>
                  <a:pt x="3680" y="2186"/>
                </a:lnTo>
                <a:lnTo>
                  <a:pt x="3677" y="2189"/>
                </a:lnTo>
                <a:lnTo>
                  <a:pt x="3671" y="2196"/>
                </a:lnTo>
                <a:lnTo>
                  <a:pt x="3668" y="2201"/>
                </a:lnTo>
                <a:lnTo>
                  <a:pt x="3663" y="2208"/>
                </a:lnTo>
                <a:lnTo>
                  <a:pt x="3663" y="2211"/>
                </a:lnTo>
                <a:lnTo>
                  <a:pt x="3658" y="2220"/>
                </a:lnTo>
                <a:lnTo>
                  <a:pt x="3653" y="2227"/>
                </a:lnTo>
                <a:lnTo>
                  <a:pt x="3649" y="2233"/>
                </a:lnTo>
                <a:lnTo>
                  <a:pt x="3644" y="2240"/>
                </a:lnTo>
                <a:lnTo>
                  <a:pt x="3639" y="2245"/>
                </a:lnTo>
                <a:lnTo>
                  <a:pt x="3634" y="2254"/>
                </a:lnTo>
                <a:lnTo>
                  <a:pt x="3629" y="2259"/>
                </a:lnTo>
                <a:lnTo>
                  <a:pt x="3627" y="2264"/>
                </a:lnTo>
                <a:lnTo>
                  <a:pt x="3620" y="2271"/>
                </a:lnTo>
                <a:lnTo>
                  <a:pt x="3617" y="2276"/>
                </a:lnTo>
                <a:lnTo>
                  <a:pt x="3610" y="2284"/>
                </a:lnTo>
                <a:lnTo>
                  <a:pt x="3610" y="2286"/>
                </a:lnTo>
                <a:lnTo>
                  <a:pt x="3605" y="2291"/>
                </a:lnTo>
                <a:lnTo>
                  <a:pt x="3600" y="2300"/>
                </a:lnTo>
                <a:lnTo>
                  <a:pt x="3595" y="2307"/>
                </a:lnTo>
                <a:lnTo>
                  <a:pt x="3588" y="2317"/>
                </a:lnTo>
                <a:lnTo>
                  <a:pt x="3586" y="2318"/>
                </a:lnTo>
                <a:lnTo>
                  <a:pt x="3586" y="2320"/>
                </a:lnTo>
                <a:lnTo>
                  <a:pt x="3580" y="2325"/>
                </a:lnTo>
                <a:lnTo>
                  <a:pt x="3573" y="2335"/>
                </a:lnTo>
                <a:lnTo>
                  <a:pt x="3568" y="2341"/>
                </a:lnTo>
                <a:lnTo>
                  <a:pt x="3563" y="2346"/>
                </a:lnTo>
                <a:lnTo>
                  <a:pt x="3559" y="2352"/>
                </a:lnTo>
                <a:lnTo>
                  <a:pt x="3556" y="2356"/>
                </a:lnTo>
                <a:lnTo>
                  <a:pt x="3551" y="2363"/>
                </a:lnTo>
                <a:lnTo>
                  <a:pt x="3547" y="2368"/>
                </a:lnTo>
                <a:lnTo>
                  <a:pt x="3541" y="2375"/>
                </a:lnTo>
                <a:lnTo>
                  <a:pt x="3541" y="2378"/>
                </a:lnTo>
                <a:lnTo>
                  <a:pt x="3530" y="2385"/>
                </a:lnTo>
                <a:lnTo>
                  <a:pt x="3525" y="2393"/>
                </a:lnTo>
                <a:lnTo>
                  <a:pt x="3522" y="2397"/>
                </a:lnTo>
                <a:lnTo>
                  <a:pt x="3520" y="2400"/>
                </a:lnTo>
                <a:lnTo>
                  <a:pt x="3515" y="2403"/>
                </a:lnTo>
                <a:lnTo>
                  <a:pt x="3512" y="2409"/>
                </a:lnTo>
                <a:lnTo>
                  <a:pt x="3505" y="2414"/>
                </a:lnTo>
                <a:lnTo>
                  <a:pt x="3498" y="2421"/>
                </a:lnTo>
                <a:lnTo>
                  <a:pt x="3496" y="2426"/>
                </a:lnTo>
                <a:lnTo>
                  <a:pt x="3491" y="2429"/>
                </a:lnTo>
                <a:lnTo>
                  <a:pt x="3490" y="2434"/>
                </a:lnTo>
                <a:lnTo>
                  <a:pt x="3481" y="2439"/>
                </a:lnTo>
                <a:lnTo>
                  <a:pt x="3478" y="2444"/>
                </a:lnTo>
                <a:lnTo>
                  <a:pt x="3469" y="2448"/>
                </a:lnTo>
                <a:lnTo>
                  <a:pt x="3467" y="2453"/>
                </a:lnTo>
                <a:lnTo>
                  <a:pt x="3459" y="2460"/>
                </a:lnTo>
                <a:lnTo>
                  <a:pt x="3456" y="2461"/>
                </a:lnTo>
                <a:lnTo>
                  <a:pt x="3454" y="2463"/>
                </a:lnTo>
                <a:lnTo>
                  <a:pt x="3454" y="2465"/>
                </a:lnTo>
                <a:lnTo>
                  <a:pt x="3445" y="2468"/>
                </a:lnTo>
                <a:lnTo>
                  <a:pt x="3440" y="2475"/>
                </a:lnTo>
                <a:lnTo>
                  <a:pt x="3433" y="2478"/>
                </a:lnTo>
                <a:lnTo>
                  <a:pt x="3422" y="2480"/>
                </a:lnTo>
                <a:lnTo>
                  <a:pt x="3415" y="2482"/>
                </a:lnTo>
                <a:lnTo>
                  <a:pt x="3405" y="2490"/>
                </a:lnTo>
                <a:lnTo>
                  <a:pt x="3405" y="2492"/>
                </a:lnTo>
                <a:lnTo>
                  <a:pt x="3396" y="2502"/>
                </a:lnTo>
                <a:lnTo>
                  <a:pt x="3396" y="2504"/>
                </a:lnTo>
                <a:lnTo>
                  <a:pt x="3388" y="2511"/>
                </a:lnTo>
                <a:lnTo>
                  <a:pt x="3382" y="2512"/>
                </a:lnTo>
                <a:lnTo>
                  <a:pt x="3379" y="2517"/>
                </a:lnTo>
                <a:lnTo>
                  <a:pt x="3371" y="2523"/>
                </a:lnTo>
                <a:lnTo>
                  <a:pt x="3367" y="2524"/>
                </a:lnTo>
                <a:lnTo>
                  <a:pt x="3359" y="2529"/>
                </a:lnTo>
                <a:lnTo>
                  <a:pt x="3357" y="2533"/>
                </a:lnTo>
                <a:lnTo>
                  <a:pt x="3347" y="2538"/>
                </a:lnTo>
                <a:lnTo>
                  <a:pt x="3343" y="2541"/>
                </a:lnTo>
                <a:lnTo>
                  <a:pt x="3335" y="2543"/>
                </a:lnTo>
                <a:lnTo>
                  <a:pt x="3325" y="2546"/>
                </a:lnTo>
                <a:lnTo>
                  <a:pt x="3320" y="2553"/>
                </a:lnTo>
                <a:lnTo>
                  <a:pt x="3320" y="2558"/>
                </a:lnTo>
                <a:lnTo>
                  <a:pt x="3311" y="2562"/>
                </a:lnTo>
                <a:lnTo>
                  <a:pt x="3308" y="2565"/>
                </a:lnTo>
                <a:lnTo>
                  <a:pt x="3306" y="2577"/>
                </a:lnTo>
                <a:lnTo>
                  <a:pt x="3297" y="2579"/>
                </a:lnTo>
                <a:lnTo>
                  <a:pt x="3292" y="2582"/>
                </a:lnTo>
                <a:lnTo>
                  <a:pt x="3286" y="2591"/>
                </a:lnTo>
                <a:lnTo>
                  <a:pt x="3282" y="2592"/>
                </a:lnTo>
                <a:lnTo>
                  <a:pt x="3282" y="2597"/>
                </a:lnTo>
                <a:lnTo>
                  <a:pt x="3277" y="2599"/>
                </a:lnTo>
                <a:lnTo>
                  <a:pt x="3272" y="2609"/>
                </a:lnTo>
                <a:lnTo>
                  <a:pt x="3269" y="2611"/>
                </a:lnTo>
                <a:lnTo>
                  <a:pt x="3269" y="2614"/>
                </a:lnTo>
                <a:lnTo>
                  <a:pt x="3260" y="2616"/>
                </a:lnTo>
                <a:lnTo>
                  <a:pt x="3252" y="2625"/>
                </a:lnTo>
                <a:lnTo>
                  <a:pt x="3248" y="2628"/>
                </a:lnTo>
                <a:lnTo>
                  <a:pt x="3246" y="2633"/>
                </a:lnTo>
                <a:lnTo>
                  <a:pt x="3238" y="2643"/>
                </a:lnTo>
                <a:lnTo>
                  <a:pt x="3235" y="2645"/>
                </a:lnTo>
                <a:lnTo>
                  <a:pt x="3235" y="2650"/>
                </a:lnTo>
                <a:lnTo>
                  <a:pt x="3228" y="2655"/>
                </a:lnTo>
                <a:lnTo>
                  <a:pt x="3216" y="2660"/>
                </a:lnTo>
                <a:lnTo>
                  <a:pt x="3212" y="2669"/>
                </a:lnTo>
                <a:lnTo>
                  <a:pt x="3204" y="2677"/>
                </a:lnTo>
                <a:lnTo>
                  <a:pt x="3201" y="2679"/>
                </a:lnTo>
                <a:lnTo>
                  <a:pt x="3197" y="2684"/>
                </a:lnTo>
                <a:lnTo>
                  <a:pt x="3190" y="2693"/>
                </a:lnTo>
                <a:lnTo>
                  <a:pt x="3184" y="2694"/>
                </a:lnTo>
                <a:lnTo>
                  <a:pt x="3180" y="2703"/>
                </a:lnTo>
                <a:lnTo>
                  <a:pt x="3172" y="2708"/>
                </a:lnTo>
                <a:lnTo>
                  <a:pt x="3165" y="2710"/>
                </a:lnTo>
                <a:lnTo>
                  <a:pt x="3161" y="2716"/>
                </a:lnTo>
                <a:lnTo>
                  <a:pt x="3153" y="2720"/>
                </a:lnTo>
                <a:lnTo>
                  <a:pt x="3144" y="2728"/>
                </a:lnTo>
                <a:lnTo>
                  <a:pt x="3143" y="2734"/>
                </a:lnTo>
                <a:lnTo>
                  <a:pt x="3138" y="2735"/>
                </a:lnTo>
                <a:lnTo>
                  <a:pt x="3131" y="2742"/>
                </a:lnTo>
                <a:lnTo>
                  <a:pt x="3127" y="2744"/>
                </a:lnTo>
                <a:lnTo>
                  <a:pt x="3119" y="2751"/>
                </a:lnTo>
                <a:lnTo>
                  <a:pt x="3117" y="2757"/>
                </a:lnTo>
                <a:lnTo>
                  <a:pt x="3105" y="2762"/>
                </a:lnTo>
                <a:lnTo>
                  <a:pt x="3104" y="2766"/>
                </a:lnTo>
                <a:lnTo>
                  <a:pt x="3099" y="2768"/>
                </a:lnTo>
                <a:lnTo>
                  <a:pt x="3092" y="2776"/>
                </a:lnTo>
                <a:lnTo>
                  <a:pt x="3090" y="2781"/>
                </a:lnTo>
                <a:lnTo>
                  <a:pt x="3083" y="2783"/>
                </a:lnTo>
                <a:lnTo>
                  <a:pt x="3080" y="2790"/>
                </a:lnTo>
                <a:lnTo>
                  <a:pt x="3073" y="2791"/>
                </a:lnTo>
                <a:lnTo>
                  <a:pt x="3070" y="2793"/>
                </a:lnTo>
                <a:lnTo>
                  <a:pt x="3059" y="2796"/>
                </a:lnTo>
                <a:lnTo>
                  <a:pt x="3054" y="2803"/>
                </a:lnTo>
                <a:lnTo>
                  <a:pt x="3049" y="2807"/>
                </a:lnTo>
                <a:lnTo>
                  <a:pt x="3044" y="2812"/>
                </a:lnTo>
                <a:lnTo>
                  <a:pt x="3042" y="2817"/>
                </a:lnTo>
                <a:lnTo>
                  <a:pt x="3036" y="2817"/>
                </a:lnTo>
                <a:lnTo>
                  <a:pt x="3025" y="2822"/>
                </a:lnTo>
                <a:lnTo>
                  <a:pt x="3020" y="2825"/>
                </a:lnTo>
                <a:lnTo>
                  <a:pt x="3015" y="2830"/>
                </a:lnTo>
                <a:lnTo>
                  <a:pt x="3005" y="2836"/>
                </a:lnTo>
                <a:lnTo>
                  <a:pt x="2993" y="2837"/>
                </a:lnTo>
                <a:lnTo>
                  <a:pt x="2990" y="2839"/>
                </a:lnTo>
                <a:lnTo>
                  <a:pt x="2981" y="2844"/>
                </a:lnTo>
                <a:lnTo>
                  <a:pt x="2976" y="2849"/>
                </a:lnTo>
                <a:lnTo>
                  <a:pt x="2976" y="2856"/>
                </a:lnTo>
                <a:lnTo>
                  <a:pt x="2973" y="2858"/>
                </a:lnTo>
                <a:lnTo>
                  <a:pt x="2969" y="2866"/>
                </a:lnTo>
                <a:lnTo>
                  <a:pt x="2964" y="2870"/>
                </a:lnTo>
                <a:lnTo>
                  <a:pt x="2966" y="2871"/>
                </a:lnTo>
                <a:lnTo>
                  <a:pt x="2959" y="2873"/>
                </a:lnTo>
                <a:lnTo>
                  <a:pt x="2952" y="2880"/>
                </a:lnTo>
                <a:lnTo>
                  <a:pt x="2946" y="2883"/>
                </a:lnTo>
                <a:lnTo>
                  <a:pt x="2940" y="2887"/>
                </a:lnTo>
                <a:lnTo>
                  <a:pt x="2934" y="2890"/>
                </a:lnTo>
                <a:lnTo>
                  <a:pt x="2930" y="2895"/>
                </a:lnTo>
                <a:lnTo>
                  <a:pt x="2923" y="2899"/>
                </a:lnTo>
                <a:lnTo>
                  <a:pt x="2922" y="2902"/>
                </a:lnTo>
                <a:lnTo>
                  <a:pt x="2917" y="2900"/>
                </a:lnTo>
                <a:lnTo>
                  <a:pt x="2920" y="2904"/>
                </a:lnTo>
                <a:lnTo>
                  <a:pt x="2923" y="2902"/>
                </a:lnTo>
                <a:lnTo>
                  <a:pt x="2918" y="2907"/>
                </a:lnTo>
                <a:lnTo>
                  <a:pt x="2913" y="2907"/>
                </a:lnTo>
                <a:lnTo>
                  <a:pt x="2903" y="2914"/>
                </a:lnTo>
                <a:lnTo>
                  <a:pt x="2900" y="2916"/>
                </a:lnTo>
                <a:lnTo>
                  <a:pt x="2898" y="2917"/>
                </a:lnTo>
                <a:lnTo>
                  <a:pt x="2893" y="2919"/>
                </a:lnTo>
                <a:lnTo>
                  <a:pt x="2886" y="2922"/>
                </a:lnTo>
                <a:lnTo>
                  <a:pt x="2881" y="2922"/>
                </a:lnTo>
                <a:lnTo>
                  <a:pt x="2872" y="2927"/>
                </a:lnTo>
                <a:lnTo>
                  <a:pt x="2864" y="2936"/>
                </a:lnTo>
                <a:lnTo>
                  <a:pt x="2855" y="2941"/>
                </a:lnTo>
                <a:lnTo>
                  <a:pt x="2847" y="2948"/>
                </a:lnTo>
                <a:lnTo>
                  <a:pt x="2842" y="2950"/>
                </a:lnTo>
                <a:lnTo>
                  <a:pt x="2838" y="2955"/>
                </a:lnTo>
                <a:lnTo>
                  <a:pt x="2833" y="2955"/>
                </a:lnTo>
                <a:lnTo>
                  <a:pt x="2832" y="2958"/>
                </a:lnTo>
                <a:lnTo>
                  <a:pt x="2820" y="2963"/>
                </a:lnTo>
                <a:lnTo>
                  <a:pt x="2816" y="2967"/>
                </a:lnTo>
                <a:lnTo>
                  <a:pt x="2808" y="2972"/>
                </a:lnTo>
                <a:lnTo>
                  <a:pt x="2806" y="2975"/>
                </a:lnTo>
                <a:lnTo>
                  <a:pt x="2794" y="2978"/>
                </a:lnTo>
                <a:lnTo>
                  <a:pt x="2789" y="2985"/>
                </a:lnTo>
                <a:lnTo>
                  <a:pt x="2779" y="2990"/>
                </a:lnTo>
                <a:lnTo>
                  <a:pt x="2774" y="2992"/>
                </a:lnTo>
                <a:lnTo>
                  <a:pt x="2769" y="2995"/>
                </a:lnTo>
                <a:lnTo>
                  <a:pt x="2765" y="2997"/>
                </a:lnTo>
                <a:lnTo>
                  <a:pt x="2764" y="2999"/>
                </a:lnTo>
                <a:lnTo>
                  <a:pt x="2759" y="3001"/>
                </a:lnTo>
                <a:lnTo>
                  <a:pt x="2750" y="3007"/>
                </a:lnTo>
                <a:lnTo>
                  <a:pt x="2743" y="3011"/>
                </a:lnTo>
                <a:lnTo>
                  <a:pt x="2736" y="3018"/>
                </a:lnTo>
                <a:lnTo>
                  <a:pt x="2730" y="3019"/>
                </a:lnTo>
                <a:lnTo>
                  <a:pt x="2721" y="3023"/>
                </a:lnTo>
                <a:lnTo>
                  <a:pt x="2718" y="3024"/>
                </a:lnTo>
                <a:lnTo>
                  <a:pt x="2716" y="3029"/>
                </a:lnTo>
                <a:lnTo>
                  <a:pt x="2709" y="3035"/>
                </a:lnTo>
                <a:lnTo>
                  <a:pt x="2704" y="3035"/>
                </a:lnTo>
                <a:lnTo>
                  <a:pt x="2696" y="3038"/>
                </a:lnTo>
                <a:lnTo>
                  <a:pt x="2691" y="3043"/>
                </a:lnTo>
                <a:lnTo>
                  <a:pt x="2682" y="3047"/>
                </a:lnTo>
                <a:lnTo>
                  <a:pt x="2672" y="3048"/>
                </a:lnTo>
                <a:lnTo>
                  <a:pt x="2663" y="3050"/>
                </a:lnTo>
                <a:lnTo>
                  <a:pt x="2655" y="3055"/>
                </a:lnTo>
                <a:lnTo>
                  <a:pt x="2645" y="3062"/>
                </a:lnTo>
                <a:lnTo>
                  <a:pt x="2634" y="3064"/>
                </a:lnTo>
                <a:lnTo>
                  <a:pt x="2623" y="3067"/>
                </a:lnTo>
                <a:lnTo>
                  <a:pt x="2612" y="3069"/>
                </a:lnTo>
                <a:lnTo>
                  <a:pt x="2604" y="3074"/>
                </a:lnTo>
                <a:lnTo>
                  <a:pt x="2600" y="3077"/>
                </a:lnTo>
                <a:lnTo>
                  <a:pt x="2589" y="3081"/>
                </a:lnTo>
                <a:lnTo>
                  <a:pt x="2582" y="3086"/>
                </a:lnTo>
                <a:lnTo>
                  <a:pt x="2573" y="3087"/>
                </a:lnTo>
                <a:lnTo>
                  <a:pt x="2565" y="3094"/>
                </a:lnTo>
                <a:lnTo>
                  <a:pt x="2556" y="3096"/>
                </a:lnTo>
                <a:lnTo>
                  <a:pt x="2549" y="3099"/>
                </a:lnTo>
                <a:lnTo>
                  <a:pt x="2546" y="3099"/>
                </a:lnTo>
                <a:lnTo>
                  <a:pt x="2541" y="3101"/>
                </a:lnTo>
                <a:lnTo>
                  <a:pt x="2531" y="3098"/>
                </a:lnTo>
                <a:lnTo>
                  <a:pt x="2519" y="3098"/>
                </a:lnTo>
                <a:lnTo>
                  <a:pt x="2512" y="3098"/>
                </a:lnTo>
                <a:lnTo>
                  <a:pt x="2505" y="3099"/>
                </a:lnTo>
                <a:lnTo>
                  <a:pt x="2495" y="3098"/>
                </a:lnTo>
                <a:lnTo>
                  <a:pt x="2488" y="3094"/>
                </a:lnTo>
                <a:lnTo>
                  <a:pt x="2478" y="3091"/>
                </a:lnTo>
                <a:lnTo>
                  <a:pt x="2470" y="3089"/>
                </a:lnTo>
                <a:lnTo>
                  <a:pt x="2461" y="3086"/>
                </a:lnTo>
                <a:lnTo>
                  <a:pt x="2456" y="3086"/>
                </a:lnTo>
                <a:lnTo>
                  <a:pt x="2447" y="3084"/>
                </a:lnTo>
                <a:lnTo>
                  <a:pt x="2442" y="3082"/>
                </a:lnTo>
                <a:lnTo>
                  <a:pt x="2432" y="3082"/>
                </a:lnTo>
                <a:lnTo>
                  <a:pt x="2427" y="3082"/>
                </a:lnTo>
                <a:lnTo>
                  <a:pt x="2419" y="3082"/>
                </a:lnTo>
                <a:lnTo>
                  <a:pt x="2412" y="3084"/>
                </a:lnTo>
                <a:lnTo>
                  <a:pt x="2400" y="3084"/>
                </a:lnTo>
                <a:lnTo>
                  <a:pt x="2395" y="3086"/>
                </a:lnTo>
                <a:lnTo>
                  <a:pt x="2381" y="3087"/>
                </a:lnTo>
                <a:lnTo>
                  <a:pt x="2376" y="3089"/>
                </a:lnTo>
                <a:lnTo>
                  <a:pt x="2368" y="3092"/>
                </a:lnTo>
                <a:lnTo>
                  <a:pt x="2359" y="3099"/>
                </a:lnTo>
                <a:lnTo>
                  <a:pt x="2354" y="3099"/>
                </a:lnTo>
                <a:lnTo>
                  <a:pt x="2345" y="3106"/>
                </a:lnTo>
                <a:lnTo>
                  <a:pt x="2342" y="3113"/>
                </a:lnTo>
                <a:lnTo>
                  <a:pt x="2344" y="3108"/>
                </a:lnTo>
                <a:lnTo>
                  <a:pt x="2340" y="3108"/>
                </a:lnTo>
                <a:lnTo>
                  <a:pt x="2342" y="3109"/>
                </a:lnTo>
                <a:lnTo>
                  <a:pt x="2337" y="3113"/>
                </a:lnTo>
                <a:lnTo>
                  <a:pt x="2332" y="3118"/>
                </a:lnTo>
                <a:lnTo>
                  <a:pt x="2327" y="3125"/>
                </a:lnTo>
                <a:lnTo>
                  <a:pt x="2327" y="3126"/>
                </a:lnTo>
                <a:lnTo>
                  <a:pt x="2323" y="3133"/>
                </a:lnTo>
                <a:lnTo>
                  <a:pt x="2320" y="3140"/>
                </a:lnTo>
                <a:lnTo>
                  <a:pt x="2320" y="3147"/>
                </a:lnTo>
                <a:lnTo>
                  <a:pt x="2327" y="3149"/>
                </a:lnTo>
                <a:lnTo>
                  <a:pt x="2327" y="3152"/>
                </a:lnTo>
                <a:lnTo>
                  <a:pt x="2328" y="3149"/>
                </a:lnTo>
                <a:lnTo>
                  <a:pt x="2330" y="3155"/>
                </a:lnTo>
                <a:lnTo>
                  <a:pt x="2335" y="3157"/>
                </a:lnTo>
                <a:lnTo>
                  <a:pt x="2339" y="3160"/>
                </a:lnTo>
                <a:lnTo>
                  <a:pt x="2342" y="3169"/>
                </a:lnTo>
                <a:lnTo>
                  <a:pt x="2332" y="3169"/>
                </a:lnTo>
                <a:lnTo>
                  <a:pt x="2323" y="3174"/>
                </a:lnTo>
                <a:lnTo>
                  <a:pt x="2311" y="3174"/>
                </a:lnTo>
                <a:lnTo>
                  <a:pt x="2308" y="3174"/>
                </a:lnTo>
                <a:lnTo>
                  <a:pt x="2300" y="3172"/>
                </a:lnTo>
                <a:lnTo>
                  <a:pt x="2296" y="3171"/>
                </a:lnTo>
                <a:lnTo>
                  <a:pt x="2283" y="3169"/>
                </a:lnTo>
                <a:lnTo>
                  <a:pt x="2276" y="3171"/>
                </a:lnTo>
                <a:lnTo>
                  <a:pt x="2266" y="3171"/>
                </a:lnTo>
                <a:lnTo>
                  <a:pt x="2252" y="3166"/>
                </a:lnTo>
                <a:lnTo>
                  <a:pt x="2242" y="3159"/>
                </a:lnTo>
                <a:lnTo>
                  <a:pt x="2228" y="3155"/>
                </a:lnTo>
                <a:lnTo>
                  <a:pt x="2215" y="3152"/>
                </a:lnTo>
                <a:lnTo>
                  <a:pt x="2203" y="3152"/>
                </a:lnTo>
                <a:lnTo>
                  <a:pt x="2191" y="3152"/>
                </a:lnTo>
                <a:lnTo>
                  <a:pt x="2182" y="3152"/>
                </a:lnTo>
                <a:lnTo>
                  <a:pt x="2170" y="3154"/>
                </a:lnTo>
                <a:lnTo>
                  <a:pt x="2158" y="3155"/>
                </a:lnTo>
                <a:lnTo>
                  <a:pt x="2155" y="3159"/>
                </a:lnTo>
                <a:lnTo>
                  <a:pt x="2145" y="3166"/>
                </a:lnTo>
                <a:lnTo>
                  <a:pt x="2145" y="3171"/>
                </a:lnTo>
                <a:lnTo>
                  <a:pt x="2143" y="3176"/>
                </a:lnTo>
                <a:lnTo>
                  <a:pt x="2141" y="3183"/>
                </a:lnTo>
                <a:lnTo>
                  <a:pt x="2138" y="3184"/>
                </a:lnTo>
                <a:lnTo>
                  <a:pt x="2133" y="3191"/>
                </a:lnTo>
                <a:lnTo>
                  <a:pt x="2126" y="3194"/>
                </a:lnTo>
                <a:lnTo>
                  <a:pt x="2121" y="3200"/>
                </a:lnTo>
                <a:lnTo>
                  <a:pt x="2118" y="3206"/>
                </a:lnTo>
                <a:lnTo>
                  <a:pt x="2128" y="3213"/>
                </a:lnTo>
                <a:lnTo>
                  <a:pt x="2119" y="3213"/>
                </a:lnTo>
                <a:lnTo>
                  <a:pt x="2119" y="3218"/>
                </a:lnTo>
                <a:lnTo>
                  <a:pt x="2107" y="3213"/>
                </a:lnTo>
                <a:lnTo>
                  <a:pt x="2101" y="3213"/>
                </a:lnTo>
                <a:lnTo>
                  <a:pt x="2092" y="3212"/>
                </a:lnTo>
                <a:lnTo>
                  <a:pt x="2087" y="3213"/>
                </a:lnTo>
                <a:lnTo>
                  <a:pt x="2082" y="3212"/>
                </a:lnTo>
                <a:lnTo>
                  <a:pt x="2070" y="3206"/>
                </a:lnTo>
                <a:lnTo>
                  <a:pt x="2063" y="3208"/>
                </a:lnTo>
                <a:lnTo>
                  <a:pt x="2060" y="3212"/>
                </a:lnTo>
                <a:lnTo>
                  <a:pt x="2048" y="3208"/>
                </a:lnTo>
                <a:lnTo>
                  <a:pt x="2036" y="3206"/>
                </a:lnTo>
                <a:lnTo>
                  <a:pt x="2031" y="3206"/>
                </a:lnTo>
                <a:lnTo>
                  <a:pt x="2026" y="3205"/>
                </a:lnTo>
                <a:lnTo>
                  <a:pt x="2019" y="3200"/>
                </a:lnTo>
                <a:lnTo>
                  <a:pt x="2014" y="3194"/>
                </a:lnTo>
                <a:lnTo>
                  <a:pt x="2009" y="3193"/>
                </a:lnTo>
                <a:lnTo>
                  <a:pt x="2004" y="3189"/>
                </a:lnTo>
                <a:lnTo>
                  <a:pt x="1999" y="3189"/>
                </a:lnTo>
                <a:lnTo>
                  <a:pt x="1985" y="3188"/>
                </a:lnTo>
                <a:lnTo>
                  <a:pt x="1980" y="3186"/>
                </a:lnTo>
                <a:lnTo>
                  <a:pt x="1970" y="3183"/>
                </a:lnTo>
                <a:lnTo>
                  <a:pt x="1963" y="3181"/>
                </a:lnTo>
                <a:lnTo>
                  <a:pt x="1961" y="3181"/>
                </a:lnTo>
                <a:lnTo>
                  <a:pt x="1953" y="3176"/>
                </a:lnTo>
                <a:lnTo>
                  <a:pt x="1939" y="3174"/>
                </a:lnTo>
                <a:lnTo>
                  <a:pt x="1937" y="3176"/>
                </a:lnTo>
                <a:lnTo>
                  <a:pt x="1927" y="3172"/>
                </a:lnTo>
                <a:lnTo>
                  <a:pt x="1924" y="3174"/>
                </a:lnTo>
                <a:lnTo>
                  <a:pt x="1917" y="3172"/>
                </a:lnTo>
                <a:lnTo>
                  <a:pt x="1910" y="3171"/>
                </a:lnTo>
                <a:lnTo>
                  <a:pt x="1903" y="3171"/>
                </a:lnTo>
                <a:lnTo>
                  <a:pt x="1902" y="3171"/>
                </a:lnTo>
                <a:lnTo>
                  <a:pt x="1900" y="3171"/>
                </a:lnTo>
                <a:lnTo>
                  <a:pt x="1893" y="3169"/>
                </a:lnTo>
                <a:lnTo>
                  <a:pt x="1883" y="3167"/>
                </a:lnTo>
                <a:lnTo>
                  <a:pt x="1881" y="3167"/>
                </a:lnTo>
                <a:lnTo>
                  <a:pt x="1880" y="3167"/>
                </a:lnTo>
                <a:lnTo>
                  <a:pt x="1868" y="3166"/>
                </a:lnTo>
                <a:lnTo>
                  <a:pt x="1861" y="3164"/>
                </a:lnTo>
                <a:lnTo>
                  <a:pt x="1849" y="3164"/>
                </a:lnTo>
                <a:lnTo>
                  <a:pt x="1839" y="3159"/>
                </a:lnTo>
                <a:lnTo>
                  <a:pt x="1839" y="3160"/>
                </a:lnTo>
                <a:lnTo>
                  <a:pt x="1827" y="3157"/>
                </a:lnTo>
                <a:lnTo>
                  <a:pt x="1817" y="3155"/>
                </a:lnTo>
                <a:lnTo>
                  <a:pt x="1805" y="3155"/>
                </a:lnTo>
                <a:lnTo>
                  <a:pt x="1798" y="3157"/>
                </a:lnTo>
                <a:lnTo>
                  <a:pt x="1793" y="3157"/>
                </a:lnTo>
                <a:lnTo>
                  <a:pt x="1786" y="3160"/>
                </a:lnTo>
                <a:lnTo>
                  <a:pt x="1776" y="3162"/>
                </a:lnTo>
                <a:lnTo>
                  <a:pt x="1766" y="3162"/>
                </a:lnTo>
                <a:lnTo>
                  <a:pt x="1756" y="3166"/>
                </a:lnTo>
                <a:lnTo>
                  <a:pt x="1747" y="3174"/>
                </a:lnTo>
                <a:lnTo>
                  <a:pt x="1745" y="3183"/>
                </a:lnTo>
                <a:lnTo>
                  <a:pt x="1745" y="3188"/>
                </a:lnTo>
                <a:lnTo>
                  <a:pt x="1754" y="3191"/>
                </a:lnTo>
                <a:lnTo>
                  <a:pt x="1744" y="3188"/>
                </a:lnTo>
                <a:lnTo>
                  <a:pt x="1742" y="3189"/>
                </a:lnTo>
                <a:lnTo>
                  <a:pt x="1739" y="3188"/>
                </a:lnTo>
                <a:lnTo>
                  <a:pt x="1728" y="3189"/>
                </a:lnTo>
                <a:lnTo>
                  <a:pt x="1718" y="3188"/>
                </a:lnTo>
                <a:lnTo>
                  <a:pt x="1715" y="3186"/>
                </a:lnTo>
                <a:lnTo>
                  <a:pt x="1705" y="3186"/>
                </a:lnTo>
                <a:lnTo>
                  <a:pt x="1701" y="3184"/>
                </a:lnTo>
                <a:lnTo>
                  <a:pt x="1693" y="3183"/>
                </a:lnTo>
                <a:lnTo>
                  <a:pt x="1684" y="3184"/>
                </a:lnTo>
                <a:lnTo>
                  <a:pt x="1676" y="3183"/>
                </a:lnTo>
                <a:lnTo>
                  <a:pt x="1672" y="3184"/>
                </a:lnTo>
                <a:lnTo>
                  <a:pt x="1660" y="3184"/>
                </a:lnTo>
                <a:lnTo>
                  <a:pt x="1652" y="3181"/>
                </a:lnTo>
                <a:lnTo>
                  <a:pt x="1645" y="3183"/>
                </a:lnTo>
                <a:lnTo>
                  <a:pt x="1645" y="3186"/>
                </a:lnTo>
                <a:lnTo>
                  <a:pt x="1640" y="3184"/>
                </a:lnTo>
                <a:lnTo>
                  <a:pt x="1633" y="3179"/>
                </a:lnTo>
                <a:lnTo>
                  <a:pt x="1620" y="3176"/>
                </a:lnTo>
                <a:lnTo>
                  <a:pt x="1609" y="3174"/>
                </a:lnTo>
                <a:lnTo>
                  <a:pt x="1598" y="3169"/>
                </a:lnTo>
                <a:lnTo>
                  <a:pt x="1591" y="3171"/>
                </a:lnTo>
                <a:lnTo>
                  <a:pt x="1579" y="3167"/>
                </a:lnTo>
                <a:lnTo>
                  <a:pt x="1572" y="3166"/>
                </a:lnTo>
                <a:lnTo>
                  <a:pt x="1565" y="3164"/>
                </a:lnTo>
                <a:lnTo>
                  <a:pt x="1558" y="3162"/>
                </a:lnTo>
                <a:lnTo>
                  <a:pt x="1555" y="3162"/>
                </a:lnTo>
                <a:lnTo>
                  <a:pt x="1543" y="3160"/>
                </a:lnTo>
                <a:lnTo>
                  <a:pt x="1536" y="3160"/>
                </a:lnTo>
                <a:lnTo>
                  <a:pt x="1533" y="3166"/>
                </a:lnTo>
                <a:lnTo>
                  <a:pt x="1526" y="3169"/>
                </a:lnTo>
                <a:lnTo>
                  <a:pt x="1518" y="3174"/>
                </a:lnTo>
                <a:lnTo>
                  <a:pt x="1514" y="3174"/>
                </a:lnTo>
                <a:lnTo>
                  <a:pt x="1502" y="3177"/>
                </a:lnTo>
                <a:lnTo>
                  <a:pt x="1494" y="3176"/>
                </a:lnTo>
                <a:lnTo>
                  <a:pt x="1490" y="3177"/>
                </a:lnTo>
                <a:lnTo>
                  <a:pt x="1485" y="3176"/>
                </a:lnTo>
                <a:lnTo>
                  <a:pt x="1472" y="3174"/>
                </a:lnTo>
                <a:lnTo>
                  <a:pt x="1463" y="3176"/>
                </a:lnTo>
                <a:lnTo>
                  <a:pt x="1455" y="3176"/>
                </a:lnTo>
                <a:lnTo>
                  <a:pt x="1445" y="3179"/>
                </a:lnTo>
                <a:lnTo>
                  <a:pt x="1434" y="3184"/>
                </a:lnTo>
                <a:lnTo>
                  <a:pt x="1426" y="3191"/>
                </a:lnTo>
                <a:lnTo>
                  <a:pt x="1422" y="3198"/>
                </a:lnTo>
                <a:lnTo>
                  <a:pt x="1421" y="3205"/>
                </a:lnTo>
                <a:lnTo>
                  <a:pt x="1431" y="3208"/>
                </a:lnTo>
                <a:lnTo>
                  <a:pt x="1434" y="3212"/>
                </a:lnTo>
                <a:lnTo>
                  <a:pt x="1421" y="3215"/>
                </a:lnTo>
                <a:lnTo>
                  <a:pt x="1417" y="3215"/>
                </a:lnTo>
                <a:lnTo>
                  <a:pt x="1416" y="3217"/>
                </a:lnTo>
                <a:lnTo>
                  <a:pt x="1409" y="3215"/>
                </a:lnTo>
                <a:lnTo>
                  <a:pt x="1404" y="3217"/>
                </a:lnTo>
                <a:lnTo>
                  <a:pt x="1395" y="3217"/>
                </a:lnTo>
                <a:lnTo>
                  <a:pt x="1388" y="3218"/>
                </a:lnTo>
                <a:lnTo>
                  <a:pt x="1382" y="3222"/>
                </a:lnTo>
                <a:lnTo>
                  <a:pt x="1373" y="3229"/>
                </a:lnTo>
                <a:lnTo>
                  <a:pt x="1370" y="3234"/>
                </a:lnTo>
                <a:lnTo>
                  <a:pt x="1370" y="3239"/>
                </a:lnTo>
                <a:lnTo>
                  <a:pt x="1378" y="3242"/>
                </a:lnTo>
                <a:lnTo>
                  <a:pt x="1368" y="3246"/>
                </a:lnTo>
                <a:lnTo>
                  <a:pt x="1370" y="3251"/>
                </a:lnTo>
                <a:lnTo>
                  <a:pt x="1361" y="3252"/>
                </a:lnTo>
                <a:lnTo>
                  <a:pt x="1358" y="3257"/>
                </a:lnTo>
                <a:lnTo>
                  <a:pt x="1349" y="3261"/>
                </a:lnTo>
                <a:lnTo>
                  <a:pt x="1339" y="3263"/>
                </a:lnTo>
                <a:lnTo>
                  <a:pt x="1326" y="3264"/>
                </a:lnTo>
                <a:lnTo>
                  <a:pt x="1322" y="3266"/>
                </a:lnTo>
                <a:lnTo>
                  <a:pt x="1314" y="3266"/>
                </a:lnTo>
                <a:lnTo>
                  <a:pt x="1312" y="3266"/>
                </a:lnTo>
                <a:lnTo>
                  <a:pt x="1310" y="3266"/>
                </a:lnTo>
                <a:lnTo>
                  <a:pt x="1297" y="3263"/>
                </a:lnTo>
                <a:lnTo>
                  <a:pt x="1285" y="3259"/>
                </a:lnTo>
                <a:lnTo>
                  <a:pt x="1283" y="3257"/>
                </a:lnTo>
                <a:lnTo>
                  <a:pt x="1273" y="3256"/>
                </a:lnTo>
                <a:lnTo>
                  <a:pt x="1269" y="3256"/>
                </a:lnTo>
                <a:lnTo>
                  <a:pt x="1261" y="3259"/>
                </a:lnTo>
                <a:lnTo>
                  <a:pt x="1251" y="3259"/>
                </a:lnTo>
                <a:lnTo>
                  <a:pt x="1246" y="3261"/>
                </a:lnTo>
                <a:lnTo>
                  <a:pt x="1244" y="3266"/>
                </a:lnTo>
                <a:lnTo>
                  <a:pt x="1242" y="3266"/>
                </a:lnTo>
                <a:lnTo>
                  <a:pt x="1241" y="3268"/>
                </a:lnTo>
                <a:lnTo>
                  <a:pt x="1230" y="3274"/>
                </a:lnTo>
                <a:lnTo>
                  <a:pt x="1225" y="3273"/>
                </a:lnTo>
                <a:lnTo>
                  <a:pt x="1220" y="3276"/>
                </a:lnTo>
                <a:lnTo>
                  <a:pt x="1212" y="3278"/>
                </a:lnTo>
                <a:lnTo>
                  <a:pt x="1208" y="3278"/>
                </a:lnTo>
                <a:lnTo>
                  <a:pt x="1198" y="3273"/>
                </a:lnTo>
                <a:lnTo>
                  <a:pt x="1191" y="3271"/>
                </a:lnTo>
                <a:lnTo>
                  <a:pt x="1181" y="3266"/>
                </a:lnTo>
                <a:lnTo>
                  <a:pt x="1169" y="3263"/>
                </a:lnTo>
                <a:lnTo>
                  <a:pt x="1161" y="3261"/>
                </a:lnTo>
                <a:lnTo>
                  <a:pt x="1152" y="3261"/>
                </a:lnTo>
                <a:lnTo>
                  <a:pt x="1147" y="3259"/>
                </a:lnTo>
                <a:lnTo>
                  <a:pt x="1145" y="3259"/>
                </a:lnTo>
                <a:lnTo>
                  <a:pt x="1135" y="3257"/>
                </a:lnTo>
                <a:lnTo>
                  <a:pt x="1130" y="3259"/>
                </a:lnTo>
                <a:lnTo>
                  <a:pt x="1118" y="3259"/>
                </a:lnTo>
                <a:lnTo>
                  <a:pt x="1108" y="3261"/>
                </a:lnTo>
                <a:lnTo>
                  <a:pt x="1098" y="3268"/>
                </a:lnTo>
                <a:lnTo>
                  <a:pt x="1096" y="3269"/>
                </a:lnTo>
                <a:lnTo>
                  <a:pt x="1101" y="3276"/>
                </a:lnTo>
                <a:lnTo>
                  <a:pt x="1101" y="3281"/>
                </a:lnTo>
                <a:lnTo>
                  <a:pt x="1096" y="3288"/>
                </a:lnTo>
                <a:lnTo>
                  <a:pt x="1093" y="3286"/>
                </a:lnTo>
                <a:lnTo>
                  <a:pt x="1089" y="3286"/>
                </a:lnTo>
                <a:lnTo>
                  <a:pt x="1079" y="3285"/>
                </a:lnTo>
                <a:lnTo>
                  <a:pt x="1065" y="3281"/>
                </a:lnTo>
                <a:lnTo>
                  <a:pt x="1064" y="3283"/>
                </a:lnTo>
                <a:lnTo>
                  <a:pt x="1057" y="3281"/>
                </a:lnTo>
                <a:lnTo>
                  <a:pt x="1048" y="3281"/>
                </a:lnTo>
                <a:lnTo>
                  <a:pt x="1037" y="3281"/>
                </a:lnTo>
                <a:lnTo>
                  <a:pt x="1026" y="3283"/>
                </a:lnTo>
                <a:lnTo>
                  <a:pt x="1021" y="3285"/>
                </a:lnTo>
                <a:lnTo>
                  <a:pt x="1014" y="3286"/>
                </a:lnTo>
                <a:lnTo>
                  <a:pt x="1013" y="3288"/>
                </a:lnTo>
                <a:lnTo>
                  <a:pt x="1001" y="3291"/>
                </a:lnTo>
                <a:lnTo>
                  <a:pt x="992" y="3297"/>
                </a:lnTo>
                <a:lnTo>
                  <a:pt x="987" y="3303"/>
                </a:lnTo>
                <a:lnTo>
                  <a:pt x="980" y="3314"/>
                </a:lnTo>
                <a:lnTo>
                  <a:pt x="977" y="3314"/>
                </a:lnTo>
                <a:lnTo>
                  <a:pt x="967" y="3319"/>
                </a:lnTo>
                <a:lnTo>
                  <a:pt x="962" y="3324"/>
                </a:lnTo>
                <a:lnTo>
                  <a:pt x="953" y="3327"/>
                </a:lnTo>
                <a:lnTo>
                  <a:pt x="946" y="3331"/>
                </a:lnTo>
                <a:lnTo>
                  <a:pt x="940" y="3332"/>
                </a:lnTo>
                <a:lnTo>
                  <a:pt x="936" y="3337"/>
                </a:lnTo>
                <a:lnTo>
                  <a:pt x="936" y="3346"/>
                </a:lnTo>
                <a:lnTo>
                  <a:pt x="933" y="3344"/>
                </a:lnTo>
                <a:lnTo>
                  <a:pt x="919" y="3346"/>
                </a:lnTo>
                <a:lnTo>
                  <a:pt x="907" y="3351"/>
                </a:lnTo>
                <a:lnTo>
                  <a:pt x="897" y="3358"/>
                </a:lnTo>
                <a:lnTo>
                  <a:pt x="890" y="3363"/>
                </a:lnTo>
                <a:lnTo>
                  <a:pt x="889" y="3368"/>
                </a:lnTo>
                <a:lnTo>
                  <a:pt x="892" y="3375"/>
                </a:lnTo>
                <a:lnTo>
                  <a:pt x="884" y="3378"/>
                </a:lnTo>
                <a:lnTo>
                  <a:pt x="877" y="3383"/>
                </a:lnTo>
                <a:lnTo>
                  <a:pt x="867" y="3382"/>
                </a:lnTo>
                <a:lnTo>
                  <a:pt x="865" y="3378"/>
                </a:lnTo>
                <a:lnTo>
                  <a:pt x="861" y="3378"/>
                </a:lnTo>
                <a:lnTo>
                  <a:pt x="856" y="3373"/>
                </a:lnTo>
                <a:lnTo>
                  <a:pt x="848" y="3370"/>
                </a:lnTo>
                <a:lnTo>
                  <a:pt x="843" y="3365"/>
                </a:lnTo>
                <a:lnTo>
                  <a:pt x="831" y="3365"/>
                </a:lnTo>
                <a:lnTo>
                  <a:pt x="824" y="3366"/>
                </a:lnTo>
                <a:lnTo>
                  <a:pt x="817" y="3365"/>
                </a:lnTo>
                <a:lnTo>
                  <a:pt x="812" y="3366"/>
                </a:lnTo>
                <a:lnTo>
                  <a:pt x="799" y="3365"/>
                </a:lnTo>
                <a:lnTo>
                  <a:pt x="793" y="3370"/>
                </a:lnTo>
                <a:lnTo>
                  <a:pt x="783" y="3370"/>
                </a:lnTo>
                <a:lnTo>
                  <a:pt x="782" y="3361"/>
                </a:lnTo>
                <a:lnTo>
                  <a:pt x="775" y="3361"/>
                </a:lnTo>
                <a:lnTo>
                  <a:pt x="773" y="3354"/>
                </a:lnTo>
                <a:lnTo>
                  <a:pt x="768" y="3354"/>
                </a:lnTo>
                <a:lnTo>
                  <a:pt x="768" y="3353"/>
                </a:lnTo>
                <a:lnTo>
                  <a:pt x="763" y="3349"/>
                </a:lnTo>
                <a:lnTo>
                  <a:pt x="756" y="3341"/>
                </a:lnTo>
                <a:lnTo>
                  <a:pt x="753" y="3339"/>
                </a:lnTo>
                <a:lnTo>
                  <a:pt x="751" y="3341"/>
                </a:lnTo>
                <a:lnTo>
                  <a:pt x="746" y="3337"/>
                </a:lnTo>
                <a:lnTo>
                  <a:pt x="736" y="3336"/>
                </a:lnTo>
                <a:lnTo>
                  <a:pt x="731" y="3325"/>
                </a:lnTo>
                <a:lnTo>
                  <a:pt x="725" y="3322"/>
                </a:lnTo>
                <a:lnTo>
                  <a:pt x="712" y="3325"/>
                </a:lnTo>
                <a:lnTo>
                  <a:pt x="710" y="3327"/>
                </a:lnTo>
                <a:lnTo>
                  <a:pt x="698" y="3329"/>
                </a:lnTo>
                <a:lnTo>
                  <a:pt x="705" y="3324"/>
                </a:lnTo>
                <a:lnTo>
                  <a:pt x="710" y="3317"/>
                </a:lnTo>
                <a:lnTo>
                  <a:pt x="712" y="3310"/>
                </a:lnTo>
                <a:lnTo>
                  <a:pt x="719" y="3305"/>
                </a:lnTo>
                <a:lnTo>
                  <a:pt x="715" y="3295"/>
                </a:lnTo>
                <a:lnTo>
                  <a:pt x="714" y="3290"/>
                </a:lnTo>
                <a:lnTo>
                  <a:pt x="710" y="3285"/>
                </a:lnTo>
                <a:lnTo>
                  <a:pt x="703" y="3276"/>
                </a:lnTo>
                <a:lnTo>
                  <a:pt x="695" y="3271"/>
                </a:lnTo>
                <a:lnTo>
                  <a:pt x="688" y="3271"/>
                </a:lnTo>
                <a:lnTo>
                  <a:pt x="678" y="3278"/>
                </a:lnTo>
                <a:lnTo>
                  <a:pt x="666" y="3273"/>
                </a:lnTo>
                <a:lnTo>
                  <a:pt x="659" y="3274"/>
                </a:lnTo>
                <a:lnTo>
                  <a:pt x="654" y="3271"/>
                </a:lnTo>
                <a:lnTo>
                  <a:pt x="654" y="3266"/>
                </a:lnTo>
                <a:lnTo>
                  <a:pt x="649" y="3261"/>
                </a:lnTo>
                <a:lnTo>
                  <a:pt x="640" y="3254"/>
                </a:lnTo>
                <a:lnTo>
                  <a:pt x="634" y="3252"/>
                </a:lnTo>
                <a:lnTo>
                  <a:pt x="623" y="3252"/>
                </a:lnTo>
                <a:lnTo>
                  <a:pt x="615" y="3257"/>
                </a:lnTo>
                <a:lnTo>
                  <a:pt x="606" y="3256"/>
                </a:lnTo>
                <a:lnTo>
                  <a:pt x="601" y="3256"/>
                </a:lnTo>
                <a:lnTo>
                  <a:pt x="596" y="3261"/>
                </a:lnTo>
                <a:lnTo>
                  <a:pt x="588" y="3261"/>
                </a:lnTo>
                <a:lnTo>
                  <a:pt x="588" y="3264"/>
                </a:lnTo>
                <a:lnTo>
                  <a:pt x="583" y="3263"/>
                </a:lnTo>
                <a:lnTo>
                  <a:pt x="579" y="3264"/>
                </a:lnTo>
                <a:lnTo>
                  <a:pt x="574" y="3254"/>
                </a:lnTo>
                <a:lnTo>
                  <a:pt x="579" y="3251"/>
                </a:lnTo>
                <a:lnTo>
                  <a:pt x="576" y="3240"/>
                </a:lnTo>
                <a:lnTo>
                  <a:pt x="578" y="3240"/>
                </a:lnTo>
                <a:lnTo>
                  <a:pt x="581" y="3235"/>
                </a:lnTo>
                <a:lnTo>
                  <a:pt x="588" y="3229"/>
                </a:lnTo>
                <a:lnTo>
                  <a:pt x="586" y="3225"/>
                </a:lnTo>
                <a:lnTo>
                  <a:pt x="581" y="3218"/>
                </a:lnTo>
                <a:lnTo>
                  <a:pt x="578" y="3212"/>
                </a:lnTo>
                <a:lnTo>
                  <a:pt x="581" y="3208"/>
                </a:lnTo>
                <a:lnTo>
                  <a:pt x="591" y="3203"/>
                </a:lnTo>
                <a:lnTo>
                  <a:pt x="588" y="3201"/>
                </a:lnTo>
                <a:lnTo>
                  <a:pt x="579" y="3191"/>
                </a:lnTo>
                <a:lnTo>
                  <a:pt x="576" y="3188"/>
                </a:lnTo>
                <a:lnTo>
                  <a:pt x="569" y="3184"/>
                </a:lnTo>
                <a:lnTo>
                  <a:pt x="557" y="3181"/>
                </a:lnTo>
                <a:lnTo>
                  <a:pt x="547" y="3181"/>
                </a:lnTo>
                <a:lnTo>
                  <a:pt x="545" y="3181"/>
                </a:lnTo>
                <a:lnTo>
                  <a:pt x="535" y="3181"/>
                </a:lnTo>
                <a:lnTo>
                  <a:pt x="527" y="3181"/>
                </a:lnTo>
                <a:lnTo>
                  <a:pt x="520" y="3183"/>
                </a:lnTo>
                <a:lnTo>
                  <a:pt x="511" y="3184"/>
                </a:lnTo>
                <a:lnTo>
                  <a:pt x="498" y="3188"/>
                </a:lnTo>
                <a:lnTo>
                  <a:pt x="491" y="3189"/>
                </a:lnTo>
                <a:lnTo>
                  <a:pt x="481" y="3196"/>
                </a:lnTo>
                <a:lnTo>
                  <a:pt x="481" y="3201"/>
                </a:lnTo>
                <a:lnTo>
                  <a:pt x="477" y="3212"/>
                </a:lnTo>
                <a:lnTo>
                  <a:pt x="484" y="3213"/>
                </a:lnTo>
                <a:lnTo>
                  <a:pt x="491" y="3223"/>
                </a:lnTo>
                <a:lnTo>
                  <a:pt x="487" y="3232"/>
                </a:lnTo>
                <a:lnTo>
                  <a:pt x="489" y="3235"/>
                </a:lnTo>
                <a:lnTo>
                  <a:pt x="486" y="3246"/>
                </a:lnTo>
                <a:lnTo>
                  <a:pt x="487" y="3252"/>
                </a:lnTo>
                <a:lnTo>
                  <a:pt x="494" y="3256"/>
                </a:lnTo>
                <a:lnTo>
                  <a:pt x="487" y="3256"/>
                </a:lnTo>
                <a:lnTo>
                  <a:pt x="484" y="3251"/>
                </a:lnTo>
                <a:lnTo>
                  <a:pt x="477" y="3249"/>
                </a:lnTo>
                <a:lnTo>
                  <a:pt x="470" y="3244"/>
                </a:lnTo>
                <a:lnTo>
                  <a:pt x="465" y="3234"/>
                </a:lnTo>
                <a:lnTo>
                  <a:pt x="467" y="3232"/>
                </a:lnTo>
                <a:lnTo>
                  <a:pt x="465" y="3229"/>
                </a:lnTo>
                <a:lnTo>
                  <a:pt x="465" y="3222"/>
                </a:lnTo>
                <a:lnTo>
                  <a:pt x="462" y="3215"/>
                </a:lnTo>
                <a:lnTo>
                  <a:pt x="464" y="3213"/>
                </a:lnTo>
                <a:lnTo>
                  <a:pt x="455" y="3208"/>
                </a:lnTo>
                <a:lnTo>
                  <a:pt x="450" y="3201"/>
                </a:lnTo>
                <a:lnTo>
                  <a:pt x="459" y="3193"/>
                </a:lnTo>
                <a:lnTo>
                  <a:pt x="459" y="3186"/>
                </a:lnTo>
                <a:lnTo>
                  <a:pt x="464" y="3177"/>
                </a:lnTo>
                <a:lnTo>
                  <a:pt x="462" y="3174"/>
                </a:lnTo>
                <a:lnTo>
                  <a:pt x="457" y="3177"/>
                </a:lnTo>
                <a:lnTo>
                  <a:pt x="448" y="3172"/>
                </a:lnTo>
                <a:lnTo>
                  <a:pt x="453" y="3167"/>
                </a:lnTo>
                <a:lnTo>
                  <a:pt x="459" y="3159"/>
                </a:lnTo>
                <a:lnTo>
                  <a:pt x="465" y="3154"/>
                </a:lnTo>
                <a:lnTo>
                  <a:pt x="467" y="3150"/>
                </a:lnTo>
                <a:lnTo>
                  <a:pt x="467" y="3140"/>
                </a:lnTo>
                <a:lnTo>
                  <a:pt x="472" y="3135"/>
                </a:lnTo>
                <a:lnTo>
                  <a:pt x="482" y="3133"/>
                </a:lnTo>
                <a:lnTo>
                  <a:pt x="477" y="3137"/>
                </a:lnTo>
                <a:lnTo>
                  <a:pt x="486" y="3140"/>
                </a:lnTo>
                <a:lnTo>
                  <a:pt x="482" y="3135"/>
                </a:lnTo>
                <a:lnTo>
                  <a:pt x="489" y="3138"/>
                </a:lnTo>
                <a:lnTo>
                  <a:pt x="494" y="3130"/>
                </a:lnTo>
                <a:lnTo>
                  <a:pt x="496" y="3121"/>
                </a:lnTo>
                <a:lnTo>
                  <a:pt x="494" y="3118"/>
                </a:lnTo>
                <a:lnTo>
                  <a:pt x="487" y="3108"/>
                </a:lnTo>
                <a:lnTo>
                  <a:pt x="489" y="3108"/>
                </a:lnTo>
                <a:lnTo>
                  <a:pt x="486" y="3101"/>
                </a:lnTo>
                <a:lnTo>
                  <a:pt x="482" y="3091"/>
                </a:lnTo>
                <a:lnTo>
                  <a:pt x="484" y="3079"/>
                </a:lnTo>
                <a:lnTo>
                  <a:pt x="479" y="3075"/>
                </a:lnTo>
                <a:lnTo>
                  <a:pt x="482" y="3075"/>
                </a:lnTo>
                <a:lnTo>
                  <a:pt x="481" y="3075"/>
                </a:lnTo>
                <a:lnTo>
                  <a:pt x="481" y="3072"/>
                </a:lnTo>
                <a:lnTo>
                  <a:pt x="476" y="3064"/>
                </a:lnTo>
                <a:lnTo>
                  <a:pt x="467" y="3055"/>
                </a:lnTo>
                <a:lnTo>
                  <a:pt x="464" y="3055"/>
                </a:lnTo>
                <a:lnTo>
                  <a:pt x="464" y="3048"/>
                </a:lnTo>
                <a:lnTo>
                  <a:pt x="452" y="3045"/>
                </a:lnTo>
                <a:lnTo>
                  <a:pt x="453" y="3036"/>
                </a:lnTo>
                <a:lnTo>
                  <a:pt x="457" y="3033"/>
                </a:lnTo>
                <a:lnTo>
                  <a:pt x="452" y="3023"/>
                </a:lnTo>
                <a:lnTo>
                  <a:pt x="443" y="3014"/>
                </a:lnTo>
                <a:lnTo>
                  <a:pt x="435" y="3006"/>
                </a:lnTo>
                <a:lnTo>
                  <a:pt x="428" y="3001"/>
                </a:lnTo>
                <a:lnTo>
                  <a:pt x="418" y="2994"/>
                </a:lnTo>
                <a:lnTo>
                  <a:pt x="416" y="2994"/>
                </a:lnTo>
                <a:lnTo>
                  <a:pt x="411" y="2989"/>
                </a:lnTo>
                <a:lnTo>
                  <a:pt x="414" y="2982"/>
                </a:lnTo>
                <a:lnTo>
                  <a:pt x="411" y="2975"/>
                </a:lnTo>
                <a:lnTo>
                  <a:pt x="408" y="2968"/>
                </a:lnTo>
                <a:lnTo>
                  <a:pt x="402" y="2960"/>
                </a:lnTo>
                <a:lnTo>
                  <a:pt x="396" y="2953"/>
                </a:lnTo>
                <a:lnTo>
                  <a:pt x="391" y="2946"/>
                </a:lnTo>
                <a:lnTo>
                  <a:pt x="380" y="2938"/>
                </a:lnTo>
                <a:lnTo>
                  <a:pt x="379" y="2936"/>
                </a:lnTo>
                <a:lnTo>
                  <a:pt x="367" y="2931"/>
                </a:lnTo>
                <a:lnTo>
                  <a:pt x="368" y="2926"/>
                </a:lnTo>
                <a:lnTo>
                  <a:pt x="363" y="2924"/>
                </a:lnTo>
                <a:lnTo>
                  <a:pt x="370" y="2919"/>
                </a:lnTo>
                <a:lnTo>
                  <a:pt x="368" y="2912"/>
                </a:lnTo>
                <a:lnTo>
                  <a:pt x="374" y="2914"/>
                </a:lnTo>
                <a:lnTo>
                  <a:pt x="377" y="2919"/>
                </a:lnTo>
                <a:lnTo>
                  <a:pt x="370" y="2921"/>
                </a:lnTo>
                <a:lnTo>
                  <a:pt x="379" y="2921"/>
                </a:lnTo>
                <a:lnTo>
                  <a:pt x="379" y="2927"/>
                </a:lnTo>
                <a:lnTo>
                  <a:pt x="384" y="2929"/>
                </a:lnTo>
                <a:lnTo>
                  <a:pt x="382" y="2933"/>
                </a:lnTo>
                <a:lnTo>
                  <a:pt x="387" y="2936"/>
                </a:lnTo>
                <a:lnTo>
                  <a:pt x="391" y="2941"/>
                </a:lnTo>
                <a:lnTo>
                  <a:pt x="397" y="2946"/>
                </a:lnTo>
                <a:lnTo>
                  <a:pt x="399" y="2950"/>
                </a:lnTo>
                <a:lnTo>
                  <a:pt x="406" y="2946"/>
                </a:lnTo>
                <a:lnTo>
                  <a:pt x="406" y="2943"/>
                </a:lnTo>
                <a:lnTo>
                  <a:pt x="397" y="2941"/>
                </a:lnTo>
                <a:lnTo>
                  <a:pt x="399" y="2933"/>
                </a:lnTo>
                <a:lnTo>
                  <a:pt x="391" y="2929"/>
                </a:lnTo>
                <a:lnTo>
                  <a:pt x="384" y="2922"/>
                </a:lnTo>
                <a:lnTo>
                  <a:pt x="382" y="2917"/>
                </a:lnTo>
                <a:lnTo>
                  <a:pt x="387" y="2909"/>
                </a:lnTo>
                <a:lnTo>
                  <a:pt x="384" y="2902"/>
                </a:lnTo>
                <a:lnTo>
                  <a:pt x="377" y="2897"/>
                </a:lnTo>
                <a:lnTo>
                  <a:pt x="372" y="2904"/>
                </a:lnTo>
                <a:lnTo>
                  <a:pt x="375" y="2895"/>
                </a:lnTo>
                <a:lnTo>
                  <a:pt x="368" y="2893"/>
                </a:lnTo>
                <a:lnTo>
                  <a:pt x="362" y="2900"/>
                </a:lnTo>
                <a:lnTo>
                  <a:pt x="368" y="2907"/>
                </a:lnTo>
                <a:lnTo>
                  <a:pt x="362" y="2902"/>
                </a:lnTo>
                <a:lnTo>
                  <a:pt x="353" y="2909"/>
                </a:lnTo>
                <a:lnTo>
                  <a:pt x="348" y="2905"/>
                </a:lnTo>
                <a:lnTo>
                  <a:pt x="351" y="2899"/>
                </a:lnTo>
                <a:lnTo>
                  <a:pt x="343" y="2893"/>
                </a:lnTo>
                <a:lnTo>
                  <a:pt x="346" y="2890"/>
                </a:lnTo>
                <a:lnTo>
                  <a:pt x="345" y="2888"/>
                </a:lnTo>
                <a:lnTo>
                  <a:pt x="346" y="2885"/>
                </a:lnTo>
                <a:lnTo>
                  <a:pt x="346" y="2876"/>
                </a:lnTo>
                <a:lnTo>
                  <a:pt x="340" y="2870"/>
                </a:lnTo>
                <a:lnTo>
                  <a:pt x="346" y="2863"/>
                </a:lnTo>
                <a:lnTo>
                  <a:pt x="346" y="2858"/>
                </a:lnTo>
                <a:lnTo>
                  <a:pt x="346" y="2854"/>
                </a:lnTo>
                <a:lnTo>
                  <a:pt x="336" y="2849"/>
                </a:lnTo>
                <a:lnTo>
                  <a:pt x="346" y="2842"/>
                </a:lnTo>
                <a:lnTo>
                  <a:pt x="351" y="2842"/>
                </a:lnTo>
                <a:lnTo>
                  <a:pt x="353" y="2836"/>
                </a:lnTo>
                <a:lnTo>
                  <a:pt x="351" y="2827"/>
                </a:lnTo>
                <a:lnTo>
                  <a:pt x="357" y="2819"/>
                </a:lnTo>
                <a:lnTo>
                  <a:pt x="365" y="2820"/>
                </a:lnTo>
                <a:lnTo>
                  <a:pt x="370" y="2815"/>
                </a:lnTo>
                <a:lnTo>
                  <a:pt x="374" y="2817"/>
                </a:lnTo>
                <a:lnTo>
                  <a:pt x="372" y="2822"/>
                </a:lnTo>
                <a:lnTo>
                  <a:pt x="382" y="2825"/>
                </a:lnTo>
                <a:lnTo>
                  <a:pt x="380" y="2829"/>
                </a:lnTo>
                <a:lnTo>
                  <a:pt x="389" y="2832"/>
                </a:lnTo>
                <a:lnTo>
                  <a:pt x="392" y="2837"/>
                </a:lnTo>
                <a:lnTo>
                  <a:pt x="397" y="2836"/>
                </a:lnTo>
                <a:lnTo>
                  <a:pt x="406" y="2837"/>
                </a:lnTo>
                <a:lnTo>
                  <a:pt x="413" y="2834"/>
                </a:lnTo>
                <a:lnTo>
                  <a:pt x="419" y="2829"/>
                </a:lnTo>
                <a:lnTo>
                  <a:pt x="426" y="2822"/>
                </a:lnTo>
                <a:lnTo>
                  <a:pt x="428" y="2819"/>
                </a:lnTo>
                <a:lnTo>
                  <a:pt x="436" y="2813"/>
                </a:lnTo>
                <a:lnTo>
                  <a:pt x="442" y="2810"/>
                </a:lnTo>
                <a:lnTo>
                  <a:pt x="445" y="2805"/>
                </a:lnTo>
                <a:lnTo>
                  <a:pt x="450" y="2796"/>
                </a:lnTo>
                <a:lnTo>
                  <a:pt x="453" y="2791"/>
                </a:lnTo>
                <a:lnTo>
                  <a:pt x="457" y="2785"/>
                </a:lnTo>
                <a:lnTo>
                  <a:pt x="460" y="2774"/>
                </a:lnTo>
                <a:lnTo>
                  <a:pt x="462" y="2771"/>
                </a:lnTo>
                <a:lnTo>
                  <a:pt x="464" y="2761"/>
                </a:lnTo>
                <a:lnTo>
                  <a:pt x="465" y="2752"/>
                </a:lnTo>
                <a:lnTo>
                  <a:pt x="465" y="2745"/>
                </a:lnTo>
                <a:lnTo>
                  <a:pt x="465" y="2737"/>
                </a:lnTo>
                <a:lnTo>
                  <a:pt x="464" y="2727"/>
                </a:lnTo>
                <a:lnTo>
                  <a:pt x="460" y="2718"/>
                </a:lnTo>
                <a:lnTo>
                  <a:pt x="460" y="2713"/>
                </a:lnTo>
                <a:lnTo>
                  <a:pt x="467" y="2713"/>
                </a:lnTo>
                <a:lnTo>
                  <a:pt x="469" y="2703"/>
                </a:lnTo>
                <a:lnTo>
                  <a:pt x="467" y="2693"/>
                </a:lnTo>
                <a:lnTo>
                  <a:pt x="464" y="2684"/>
                </a:lnTo>
                <a:lnTo>
                  <a:pt x="464" y="2682"/>
                </a:lnTo>
                <a:lnTo>
                  <a:pt x="460" y="2676"/>
                </a:lnTo>
                <a:lnTo>
                  <a:pt x="460" y="2671"/>
                </a:lnTo>
                <a:lnTo>
                  <a:pt x="460" y="2669"/>
                </a:lnTo>
                <a:lnTo>
                  <a:pt x="459" y="2659"/>
                </a:lnTo>
                <a:lnTo>
                  <a:pt x="462" y="2647"/>
                </a:lnTo>
                <a:lnTo>
                  <a:pt x="460" y="2643"/>
                </a:lnTo>
                <a:lnTo>
                  <a:pt x="457" y="2635"/>
                </a:lnTo>
                <a:lnTo>
                  <a:pt x="457" y="2631"/>
                </a:lnTo>
                <a:lnTo>
                  <a:pt x="455" y="2628"/>
                </a:lnTo>
                <a:lnTo>
                  <a:pt x="455" y="2625"/>
                </a:lnTo>
                <a:lnTo>
                  <a:pt x="452" y="2614"/>
                </a:lnTo>
                <a:lnTo>
                  <a:pt x="450" y="2613"/>
                </a:lnTo>
                <a:lnTo>
                  <a:pt x="455" y="2601"/>
                </a:lnTo>
                <a:lnTo>
                  <a:pt x="450" y="2592"/>
                </a:lnTo>
                <a:lnTo>
                  <a:pt x="443" y="2582"/>
                </a:lnTo>
                <a:lnTo>
                  <a:pt x="443" y="2580"/>
                </a:lnTo>
                <a:lnTo>
                  <a:pt x="442" y="2580"/>
                </a:lnTo>
                <a:lnTo>
                  <a:pt x="443" y="2579"/>
                </a:lnTo>
                <a:lnTo>
                  <a:pt x="442" y="2575"/>
                </a:lnTo>
                <a:lnTo>
                  <a:pt x="440" y="2565"/>
                </a:lnTo>
                <a:lnTo>
                  <a:pt x="442" y="2560"/>
                </a:lnTo>
                <a:lnTo>
                  <a:pt x="440" y="2560"/>
                </a:lnTo>
                <a:lnTo>
                  <a:pt x="433" y="2550"/>
                </a:lnTo>
                <a:lnTo>
                  <a:pt x="431" y="2550"/>
                </a:lnTo>
                <a:lnTo>
                  <a:pt x="431" y="2546"/>
                </a:lnTo>
                <a:lnTo>
                  <a:pt x="425" y="2538"/>
                </a:lnTo>
                <a:lnTo>
                  <a:pt x="423" y="2538"/>
                </a:lnTo>
                <a:lnTo>
                  <a:pt x="418" y="2528"/>
                </a:lnTo>
                <a:lnTo>
                  <a:pt x="418" y="2524"/>
                </a:lnTo>
                <a:lnTo>
                  <a:pt x="414" y="2523"/>
                </a:lnTo>
                <a:lnTo>
                  <a:pt x="413" y="2516"/>
                </a:lnTo>
                <a:lnTo>
                  <a:pt x="409" y="2511"/>
                </a:lnTo>
                <a:lnTo>
                  <a:pt x="402" y="2504"/>
                </a:lnTo>
                <a:lnTo>
                  <a:pt x="396" y="2499"/>
                </a:lnTo>
                <a:lnTo>
                  <a:pt x="394" y="2494"/>
                </a:lnTo>
                <a:lnTo>
                  <a:pt x="387" y="2489"/>
                </a:lnTo>
                <a:lnTo>
                  <a:pt x="384" y="2483"/>
                </a:lnTo>
                <a:lnTo>
                  <a:pt x="380" y="2478"/>
                </a:lnTo>
                <a:lnTo>
                  <a:pt x="372" y="2470"/>
                </a:lnTo>
                <a:lnTo>
                  <a:pt x="367" y="2463"/>
                </a:lnTo>
                <a:lnTo>
                  <a:pt x="360" y="2456"/>
                </a:lnTo>
                <a:lnTo>
                  <a:pt x="355" y="2448"/>
                </a:lnTo>
                <a:lnTo>
                  <a:pt x="355" y="2438"/>
                </a:lnTo>
                <a:lnTo>
                  <a:pt x="351" y="2431"/>
                </a:lnTo>
                <a:lnTo>
                  <a:pt x="343" y="2424"/>
                </a:lnTo>
                <a:lnTo>
                  <a:pt x="340" y="2422"/>
                </a:lnTo>
                <a:lnTo>
                  <a:pt x="340" y="2421"/>
                </a:lnTo>
                <a:lnTo>
                  <a:pt x="334" y="2417"/>
                </a:lnTo>
                <a:lnTo>
                  <a:pt x="333" y="2414"/>
                </a:lnTo>
                <a:lnTo>
                  <a:pt x="328" y="2409"/>
                </a:lnTo>
                <a:lnTo>
                  <a:pt x="324" y="2403"/>
                </a:lnTo>
                <a:lnTo>
                  <a:pt x="319" y="2395"/>
                </a:lnTo>
                <a:lnTo>
                  <a:pt x="316" y="2385"/>
                </a:lnTo>
                <a:lnTo>
                  <a:pt x="311" y="2380"/>
                </a:lnTo>
                <a:lnTo>
                  <a:pt x="312" y="2378"/>
                </a:lnTo>
                <a:lnTo>
                  <a:pt x="307" y="2369"/>
                </a:lnTo>
                <a:lnTo>
                  <a:pt x="306" y="2363"/>
                </a:lnTo>
                <a:lnTo>
                  <a:pt x="300" y="2358"/>
                </a:lnTo>
                <a:lnTo>
                  <a:pt x="299" y="2354"/>
                </a:lnTo>
                <a:lnTo>
                  <a:pt x="292" y="2346"/>
                </a:lnTo>
                <a:lnTo>
                  <a:pt x="285" y="2341"/>
                </a:lnTo>
                <a:lnTo>
                  <a:pt x="283" y="2334"/>
                </a:lnTo>
                <a:lnTo>
                  <a:pt x="278" y="2325"/>
                </a:lnTo>
                <a:lnTo>
                  <a:pt x="280" y="2322"/>
                </a:lnTo>
                <a:lnTo>
                  <a:pt x="273" y="2313"/>
                </a:lnTo>
                <a:lnTo>
                  <a:pt x="268" y="2303"/>
                </a:lnTo>
                <a:lnTo>
                  <a:pt x="266" y="2293"/>
                </a:lnTo>
                <a:lnTo>
                  <a:pt x="260" y="2284"/>
                </a:lnTo>
                <a:lnTo>
                  <a:pt x="256" y="2281"/>
                </a:lnTo>
                <a:lnTo>
                  <a:pt x="255" y="2279"/>
                </a:lnTo>
                <a:lnTo>
                  <a:pt x="253" y="2278"/>
                </a:lnTo>
                <a:lnTo>
                  <a:pt x="251" y="2269"/>
                </a:lnTo>
                <a:lnTo>
                  <a:pt x="243" y="2262"/>
                </a:lnTo>
                <a:lnTo>
                  <a:pt x="246" y="2256"/>
                </a:lnTo>
                <a:lnTo>
                  <a:pt x="238" y="2245"/>
                </a:lnTo>
                <a:lnTo>
                  <a:pt x="238" y="2238"/>
                </a:lnTo>
                <a:lnTo>
                  <a:pt x="229" y="2230"/>
                </a:lnTo>
                <a:lnTo>
                  <a:pt x="227" y="2230"/>
                </a:lnTo>
                <a:lnTo>
                  <a:pt x="222" y="2220"/>
                </a:lnTo>
                <a:lnTo>
                  <a:pt x="224" y="2218"/>
                </a:lnTo>
                <a:lnTo>
                  <a:pt x="222" y="2216"/>
                </a:lnTo>
                <a:lnTo>
                  <a:pt x="221" y="2213"/>
                </a:lnTo>
                <a:lnTo>
                  <a:pt x="215" y="2204"/>
                </a:lnTo>
                <a:lnTo>
                  <a:pt x="212" y="2201"/>
                </a:lnTo>
                <a:lnTo>
                  <a:pt x="212" y="2196"/>
                </a:lnTo>
                <a:lnTo>
                  <a:pt x="207" y="2193"/>
                </a:lnTo>
                <a:lnTo>
                  <a:pt x="204" y="2186"/>
                </a:lnTo>
                <a:lnTo>
                  <a:pt x="204" y="2181"/>
                </a:lnTo>
                <a:lnTo>
                  <a:pt x="204" y="2172"/>
                </a:lnTo>
                <a:lnTo>
                  <a:pt x="200" y="2165"/>
                </a:lnTo>
                <a:lnTo>
                  <a:pt x="195" y="2157"/>
                </a:lnTo>
                <a:lnTo>
                  <a:pt x="192" y="2147"/>
                </a:lnTo>
                <a:lnTo>
                  <a:pt x="192" y="2140"/>
                </a:lnTo>
                <a:lnTo>
                  <a:pt x="185" y="2133"/>
                </a:lnTo>
                <a:lnTo>
                  <a:pt x="181" y="2121"/>
                </a:lnTo>
                <a:lnTo>
                  <a:pt x="183" y="2119"/>
                </a:lnTo>
                <a:lnTo>
                  <a:pt x="180" y="2109"/>
                </a:lnTo>
                <a:lnTo>
                  <a:pt x="176" y="2099"/>
                </a:lnTo>
                <a:lnTo>
                  <a:pt x="176" y="2092"/>
                </a:lnTo>
                <a:lnTo>
                  <a:pt x="170" y="2082"/>
                </a:lnTo>
                <a:lnTo>
                  <a:pt x="166" y="2079"/>
                </a:lnTo>
                <a:lnTo>
                  <a:pt x="164" y="2070"/>
                </a:lnTo>
                <a:lnTo>
                  <a:pt x="161" y="2065"/>
                </a:lnTo>
                <a:lnTo>
                  <a:pt x="163" y="2062"/>
                </a:lnTo>
                <a:lnTo>
                  <a:pt x="159" y="2056"/>
                </a:lnTo>
                <a:lnTo>
                  <a:pt x="156" y="2046"/>
                </a:lnTo>
                <a:lnTo>
                  <a:pt x="156" y="2045"/>
                </a:lnTo>
                <a:lnTo>
                  <a:pt x="156" y="2043"/>
                </a:lnTo>
                <a:lnTo>
                  <a:pt x="156" y="2041"/>
                </a:lnTo>
                <a:lnTo>
                  <a:pt x="151" y="2031"/>
                </a:lnTo>
                <a:lnTo>
                  <a:pt x="151" y="2021"/>
                </a:lnTo>
                <a:lnTo>
                  <a:pt x="151" y="2019"/>
                </a:lnTo>
                <a:lnTo>
                  <a:pt x="151" y="2014"/>
                </a:lnTo>
                <a:lnTo>
                  <a:pt x="146" y="2004"/>
                </a:lnTo>
                <a:lnTo>
                  <a:pt x="146" y="1994"/>
                </a:lnTo>
                <a:lnTo>
                  <a:pt x="142" y="1990"/>
                </a:lnTo>
                <a:lnTo>
                  <a:pt x="137" y="1982"/>
                </a:lnTo>
                <a:lnTo>
                  <a:pt x="137" y="1977"/>
                </a:lnTo>
                <a:lnTo>
                  <a:pt x="136" y="1966"/>
                </a:lnTo>
                <a:lnTo>
                  <a:pt x="134" y="1965"/>
                </a:lnTo>
                <a:lnTo>
                  <a:pt x="132" y="1954"/>
                </a:lnTo>
                <a:lnTo>
                  <a:pt x="130" y="1949"/>
                </a:lnTo>
                <a:lnTo>
                  <a:pt x="130" y="1946"/>
                </a:lnTo>
                <a:lnTo>
                  <a:pt x="124" y="1939"/>
                </a:lnTo>
                <a:lnTo>
                  <a:pt x="124" y="1929"/>
                </a:lnTo>
                <a:lnTo>
                  <a:pt x="122" y="1925"/>
                </a:lnTo>
                <a:lnTo>
                  <a:pt x="115" y="1920"/>
                </a:lnTo>
                <a:lnTo>
                  <a:pt x="112" y="1914"/>
                </a:lnTo>
                <a:lnTo>
                  <a:pt x="107" y="1908"/>
                </a:lnTo>
                <a:lnTo>
                  <a:pt x="107" y="1905"/>
                </a:lnTo>
                <a:lnTo>
                  <a:pt x="105" y="1897"/>
                </a:lnTo>
                <a:lnTo>
                  <a:pt x="96" y="1886"/>
                </a:lnTo>
                <a:lnTo>
                  <a:pt x="98" y="1880"/>
                </a:lnTo>
                <a:lnTo>
                  <a:pt x="96" y="1874"/>
                </a:lnTo>
                <a:lnTo>
                  <a:pt x="93" y="1864"/>
                </a:lnTo>
                <a:lnTo>
                  <a:pt x="91" y="1859"/>
                </a:lnTo>
                <a:lnTo>
                  <a:pt x="91" y="1856"/>
                </a:lnTo>
                <a:lnTo>
                  <a:pt x="88" y="1851"/>
                </a:lnTo>
                <a:lnTo>
                  <a:pt x="83" y="1846"/>
                </a:lnTo>
                <a:lnTo>
                  <a:pt x="74" y="1842"/>
                </a:lnTo>
                <a:lnTo>
                  <a:pt x="69" y="1832"/>
                </a:lnTo>
                <a:lnTo>
                  <a:pt x="68" y="1830"/>
                </a:lnTo>
                <a:lnTo>
                  <a:pt x="68" y="1825"/>
                </a:lnTo>
                <a:lnTo>
                  <a:pt x="62" y="1822"/>
                </a:lnTo>
                <a:lnTo>
                  <a:pt x="59" y="1810"/>
                </a:lnTo>
                <a:lnTo>
                  <a:pt x="52" y="1805"/>
                </a:lnTo>
                <a:lnTo>
                  <a:pt x="40" y="1798"/>
                </a:lnTo>
                <a:lnTo>
                  <a:pt x="37" y="1796"/>
                </a:lnTo>
                <a:lnTo>
                  <a:pt x="37" y="1788"/>
                </a:lnTo>
                <a:lnTo>
                  <a:pt x="32" y="1783"/>
                </a:lnTo>
                <a:lnTo>
                  <a:pt x="32" y="1777"/>
                </a:lnTo>
                <a:lnTo>
                  <a:pt x="30" y="1769"/>
                </a:lnTo>
                <a:lnTo>
                  <a:pt x="27" y="1767"/>
                </a:lnTo>
                <a:lnTo>
                  <a:pt x="30" y="1757"/>
                </a:lnTo>
                <a:lnTo>
                  <a:pt x="20" y="1752"/>
                </a:lnTo>
                <a:lnTo>
                  <a:pt x="15" y="1742"/>
                </a:lnTo>
                <a:lnTo>
                  <a:pt x="13" y="1742"/>
                </a:lnTo>
                <a:lnTo>
                  <a:pt x="11" y="1740"/>
                </a:lnTo>
                <a:lnTo>
                  <a:pt x="6" y="1737"/>
                </a:lnTo>
                <a:lnTo>
                  <a:pt x="0" y="1732"/>
                </a:lnTo>
                <a:lnTo>
                  <a:pt x="1" y="1721"/>
                </a:lnTo>
                <a:lnTo>
                  <a:pt x="8" y="1715"/>
                </a:lnTo>
                <a:lnTo>
                  <a:pt x="20" y="1711"/>
                </a:lnTo>
                <a:lnTo>
                  <a:pt x="25" y="1709"/>
                </a:lnTo>
                <a:lnTo>
                  <a:pt x="37" y="1706"/>
                </a:lnTo>
                <a:lnTo>
                  <a:pt x="39" y="1706"/>
                </a:lnTo>
                <a:lnTo>
                  <a:pt x="44" y="1698"/>
                </a:lnTo>
                <a:lnTo>
                  <a:pt x="51" y="1692"/>
                </a:lnTo>
                <a:lnTo>
                  <a:pt x="57" y="1689"/>
                </a:lnTo>
                <a:lnTo>
                  <a:pt x="62" y="1691"/>
                </a:lnTo>
                <a:lnTo>
                  <a:pt x="64" y="1696"/>
                </a:lnTo>
                <a:lnTo>
                  <a:pt x="73" y="1696"/>
                </a:lnTo>
                <a:lnTo>
                  <a:pt x="78" y="1687"/>
                </a:lnTo>
                <a:lnTo>
                  <a:pt x="85" y="1682"/>
                </a:lnTo>
                <a:lnTo>
                  <a:pt x="83" y="1672"/>
                </a:lnTo>
                <a:lnTo>
                  <a:pt x="83" y="1669"/>
                </a:lnTo>
                <a:lnTo>
                  <a:pt x="91" y="1662"/>
                </a:lnTo>
                <a:lnTo>
                  <a:pt x="93" y="1660"/>
                </a:lnTo>
                <a:lnTo>
                  <a:pt x="88" y="1657"/>
                </a:lnTo>
                <a:lnTo>
                  <a:pt x="86" y="1650"/>
                </a:lnTo>
                <a:lnTo>
                  <a:pt x="79" y="1645"/>
                </a:lnTo>
                <a:lnTo>
                  <a:pt x="79" y="1636"/>
                </a:lnTo>
                <a:lnTo>
                  <a:pt x="85" y="1633"/>
                </a:lnTo>
                <a:lnTo>
                  <a:pt x="91" y="1638"/>
                </a:lnTo>
                <a:lnTo>
                  <a:pt x="98" y="1636"/>
                </a:lnTo>
                <a:lnTo>
                  <a:pt x="98" y="1630"/>
                </a:lnTo>
                <a:lnTo>
                  <a:pt x="93" y="1623"/>
                </a:lnTo>
                <a:lnTo>
                  <a:pt x="95" y="1621"/>
                </a:lnTo>
                <a:lnTo>
                  <a:pt x="107" y="1621"/>
                </a:lnTo>
                <a:lnTo>
                  <a:pt x="100" y="1612"/>
                </a:lnTo>
                <a:lnTo>
                  <a:pt x="100" y="1609"/>
                </a:lnTo>
                <a:lnTo>
                  <a:pt x="110" y="1612"/>
                </a:lnTo>
                <a:lnTo>
                  <a:pt x="115" y="1611"/>
                </a:lnTo>
                <a:lnTo>
                  <a:pt x="115" y="1599"/>
                </a:lnTo>
                <a:lnTo>
                  <a:pt x="113" y="1589"/>
                </a:lnTo>
                <a:lnTo>
                  <a:pt x="119" y="1584"/>
                </a:lnTo>
                <a:lnTo>
                  <a:pt x="132" y="1584"/>
                </a:lnTo>
                <a:lnTo>
                  <a:pt x="137" y="1580"/>
                </a:lnTo>
                <a:lnTo>
                  <a:pt x="144" y="1584"/>
                </a:lnTo>
                <a:lnTo>
                  <a:pt x="149" y="1578"/>
                </a:lnTo>
                <a:lnTo>
                  <a:pt x="158" y="1577"/>
                </a:lnTo>
                <a:lnTo>
                  <a:pt x="164" y="1573"/>
                </a:lnTo>
                <a:lnTo>
                  <a:pt x="170" y="1575"/>
                </a:lnTo>
                <a:lnTo>
                  <a:pt x="176" y="1582"/>
                </a:lnTo>
                <a:lnTo>
                  <a:pt x="180" y="1589"/>
                </a:lnTo>
                <a:lnTo>
                  <a:pt x="190" y="1590"/>
                </a:lnTo>
                <a:lnTo>
                  <a:pt x="193" y="1592"/>
                </a:lnTo>
                <a:lnTo>
                  <a:pt x="195" y="1599"/>
                </a:lnTo>
                <a:lnTo>
                  <a:pt x="193" y="1604"/>
                </a:lnTo>
                <a:lnTo>
                  <a:pt x="192" y="1612"/>
                </a:lnTo>
                <a:lnTo>
                  <a:pt x="190" y="1618"/>
                </a:lnTo>
                <a:lnTo>
                  <a:pt x="193" y="1624"/>
                </a:lnTo>
                <a:lnTo>
                  <a:pt x="198" y="1630"/>
                </a:lnTo>
                <a:lnTo>
                  <a:pt x="210" y="1628"/>
                </a:lnTo>
                <a:lnTo>
                  <a:pt x="215" y="1630"/>
                </a:lnTo>
                <a:lnTo>
                  <a:pt x="224" y="1624"/>
                </a:lnTo>
                <a:lnTo>
                  <a:pt x="229" y="1624"/>
                </a:lnTo>
                <a:lnTo>
                  <a:pt x="236" y="1631"/>
                </a:lnTo>
                <a:lnTo>
                  <a:pt x="238" y="1636"/>
                </a:lnTo>
                <a:lnTo>
                  <a:pt x="243" y="1643"/>
                </a:lnTo>
                <a:lnTo>
                  <a:pt x="241" y="1650"/>
                </a:lnTo>
                <a:lnTo>
                  <a:pt x="248" y="1658"/>
                </a:lnTo>
                <a:lnTo>
                  <a:pt x="249" y="1664"/>
                </a:lnTo>
                <a:lnTo>
                  <a:pt x="249" y="1670"/>
                </a:lnTo>
                <a:lnTo>
                  <a:pt x="243" y="1681"/>
                </a:lnTo>
                <a:lnTo>
                  <a:pt x="232" y="1681"/>
                </a:lnTo>
                <a:lnTo>
                  <a:pt x="229" y="1691"/>
                </a:lnTo>
                <a:lnTo>
                  <a:pt x="231" y="1696"/>
                </a:lnTo>
                <a:lnTo>
                  <a:pt x="238" y="1699"/>
                </a:lnTo>
                <a:lnTo>
                  <a:pt x="239" y="1706"/>
                </a:lnTo>
                <a:lnTo>
                  <a:pt x="241" y="1716"/>
                </a:lnTo>
                <a:lnTo>
                  <a:pt x="249" y="1713"/>
                </a:lnTo>
                <a:lnTo>
                  <a:pt x="253" y="1716"/>
                </a:lnTo>
                <a:lnTo>
                  <a:pt x="251" y="1723"/>
                </a:lnTo>
                <a:lnTo>
                  <a:pt x="253" y="1728"/>
                </a:lnTo>
                <a:lnTo>
                  <a:pt x="253" y="1737"/>
                </a:lnTo>
                <a:lnTo>
                  <a:pt x="248" y="1743"/>
                </a:lnTo>
                <a:lnTo>
                  <a:pt x="248" y="1754"/>
                </a:lnTo>
                <a:lnTo>
                  <a:pt x="249" y="1755"/>
                </a:lnTo>
                <a:lnTo>
                  <a:pt x="261" y="1750"/>
                </a:lnTo>
                <a:lnTo>
                  <a:pt x="263" y="1752"/>
                </a:lnTo>
                <a:lnTo>
                  <a:pt x="268" y="1749"/>
                </a:lnTo>
                <a:lnTo>
                  <a:pt x="277" y="1750"/>
                </a:lnTo>
                <a:lnTo>
                  <a:pt x="282" y="1750"/>
                </a:lnTo>
                <a:lnTo>
                  <a:pt x="289" y="1747"/>
                </a:lnTo>
                <a:lnTo>
                  <a:pt x="297" y="1749"/>
                </a:lnTo>
                <a:lnTo>
                  <a:pt x="299" y="1754"/>
                </a:lnTo>
                <a:lnTo>
                  <a:pt x="299" y="1762"/>
                </a:lnTo>
                <a:lnTo>
                  <a:pt x="300" y="1766"/>
                </a:lnTo>
                <a:lnTo>
                  <a:pt x="309" y="1771"/>
                </a:lnTo>
                <a:lnTo>
                  <a:pt x="317" y="1767"/>
                </a:lnTo>
                <a:lnTo>
                  <a:pt x="323" y="1762"/>
                </a:lnTo>
                <a:lnTo>
                  <a:pt x="331" y="1766"/>
                </a:lnTo>
                <a:lnTo>
                  <a:pt x="334" y="1760"/>
                </a:lnTo>
                <a:lnTo>
                  <a:pt x="343" y="1766"/>
                </a:lnTo>
                <a:lnTo>
                  <a:pt x="353" y="1766"/>
                </a:lnTo>
                <a:lnTo>
                  <a:pt x="355" y="1767"/>
                </a:lnTo>
                <a:lnTo>
                  <a:pt x="362" y="1767"/>
                </a:lnTo>
                <a:lnTo>
                  <a:pt x="368" y="1767"/>
                </a:lnTo>
                <a:lnTo>
                  <a:pt x="375" y="1769"/>
                </a:lnTo>
                <a:lnTo>
                  <a:pt x="379" y="1767"/>
                </a:lnTo>
                <a:lnTo>
                  <a:pt x="384" y="1774"/>
                </a:lnTo>
                <a:lnTo>
                  <a:pt x="391" y="1772"/>
                </a:lnTo>
                <a:lnTo>
                  <a:pt x="397" y="1779"/>
                </a:lnTo>
                <a:lnTo>
                  <a:pt x="402" y="1784"/>
                </a:lnTo>
                <a:lnTo>
                  <a:pt x="402" y="1788"/>
                </a:lnTo>
                <a:lnTo>
                  <a:pt x="406" y="1789"/>
                </a:lnTo>
                <a:lnTo>
                  <a:pt x="411" y="1796"/>
                </a:lnTo>
                <a:lnTo>
                  <a:pt x="421" y="1796"/>
                </a:lnTo>
                <a:lnTo>
                  <a:pt x="425" y="1798"/>
                </a:lnTo>
                <a:lnTo>
                  <a:pt x="433" y="1803"/>
                </a:lnTo>
                <a:lnTo>
                  <a:pt x="442" y="1803"/>
                </a:lnTo>
                <a:lnTo>
                  <a:pt x="448" y="1808"/>
                </a:lnTo>
                <a:lnTo>
                  <a:pt x="455" y="1801"/>
                </a:lnTo>
                <a:lnTo>
                  <a:pt x="465" y="1803"/>
                </a:lnTo>
                <a:lnTo>
                  <a:pt x="467" y="1798"/>
                </a:lnTo>
                <a:lnTo>
                  <a:pt x="477" y="1800"/>
                </a:lnTo>
                <a:lnTo>
                  <a:pt x="491" y="1798"/>
                </a:lnTo>
                <a:lnTo>
                  <a:pt x="494" y="1801"/>
                </a:lnTo>
                <a:lnTo>
                  <a:pt x="504" y="1803"/>
                </a:lnTo>
                <a:lnTo>
                  <a:pt x="510" y="1803"/>
                </a:lnTo>
                <a:lnTo>
                  <a:pt x="515" y="1801"/>
                </a:lnTo>
                <a:lnTo>
                  <a:pt x="521" y="1800"/>
                </a:lnTo>
                <a:lnTo>
                  <a:pt x="532" y="1801"/>
                </a:lnTo>
                <a:lnTo>
                  <a:pt x="538" y="1795"/>
                </a:lnTo>
                <a:lnTo>
                  <a:pt x="547" y="1793"/>
                </a:lnTo>
                <a:lnTo>
                  <a:pt x="555" y="1791"/>
                </a:lnTo>
                <a:lnTo>
                  <a:pt x="562" y="1788"/>
                </a:lnTo>
                <a:lnTo>
                  <a:pt x="571" y="1789"/>
                </a:lnTo>
                <a:lnTo>
                  <a:pt x="578" y="1788"/>
                </a:lnTo>
                <a:lnTo>
                  <a:pt x="589" y="1786"/>
                </a:lnTo>
                <a:lnTo>
                  <a:pt x="595" y="1786"/>
                </a:lnTo>
                <a:lnTo>
                  <a:pt x="601" y="1789"/>
                </a:lnTo>
                <a:lnTo>
                  <a:pt x="613" y="1788"/>
                </a:lnTo>
                <a:lnTo>
                  <a:pt x="618" y="1789"/>
                </a:lnTo>
                <a:lnTo>
                  <a:pt x="622" y="1789"/>
                </a:lnTo>
                <a:lnTo>
                  <a:pt x="634" y="1791"/>
                </a:lnTo>
                <a:lnTo>
                  <a:pt x="642" y="1793"/>
                </a:lnTo>
                <a:lnTo>
                  <a:pt x="651" y="1796"/>
                </a:lnTo>
                <a:lnTo>
                  <a:pt x="656" y="1800"/>
                </a:lnTo>
                <a:lnTo>
                  <a:pt x="661" y="1812"/>
                </a:lnTo>
                <a:lnTo>
                  <a:pt x="669" y="1812"/>
                </a:lnTo>
                <a:lnTo>
                  <a:pt x="676" y="1818"/>
                </a:lnTo>
                <a:lnTo>
                  <a:pt x="683" y="1822"/>
                </a:lnTo>
                <a:lnTo>
                  <a:pt x="688" y="1822"/>
                </a:lnTo>
                <a:lnTo>
                  <a:pt x="698" y="1820"/>
                </a:lnTo>
                <a:lnTo>
                  <a:pt x="708" y="1817"/>
                </a:lnTo>
                <a:lnTo>
                  <a:pt x="715" y="1810"/>
                </a:lnTo>
                <a:lnTo>
                  <a:pt x="719" y="1806"/>
                </a:lnTo>
                <a:lnTo>
                  <a:pt x="722" y="1805"/>
                </a:lnTo>
                <a:lnTo>
                  <a:pt x="731" y="1806"/>
                </a:lnTo>
                <a:lnTo>
                  <a:pt x="736" y="1801"/>
                </a:lnTo>
                <a:lnTo>
                  <a:pt x="734" y="1798"/>
                </a:lnTo>
                <a:lnTo>
                  <a:pt x="725" y="1793"/>
                </a:lnTo>
                <a:lnTo>
                  <a:pt x="722" y="1784"/>
                </a:lnTo>
                <a:lnTo>
                  <a:pt x="720" y="1781"/>
                </a:lnTo>
                <a:lnTo>
                  <a:pt x="720" y="1779"/>
                </a:lnTo>
                <a:lnTo>
                  <a:pt x="725" y="1771"/>
                </a:lnTo>
                <a:lnTo>
                  <a:pt x="725" y="1766"/>
                </a:lnTo>
                <a:lnTo>
                  <a:pt x="729" y="1762"/>
                </a:lnTo>
                <a:lnTo>
                  <a:pt x="737" y="1759"/>
                </a:lnTo>
                <a:lnTo>
                  <a:pt x="749" y="1762"/>
                </a:lnTo>
                <a:lnTo>
                  <a:pt x="759" y="1759"/>
                </a:lnTo>
                <a:lnTo>
                  <a:pt x="763" y="1760"/>
                </a:lnTo>
                <a:lnTo>
                  <a:pt x="771" y="1755"/>
                </a:lnTo>
                <a:lnTo>
                  <a:pt x="780" y="1752"/>
                </a:lnTo>
                <a:lnTo>
                  <a:pt x="787" y="1745"/>
                </a:lnTo>
                <a:lnTo>
                  <a:pt x="788" y="1733"/>
                </a:lnTo>
                <a:lnTo>
                  <a:pt x="790" y="1732"/>
                </a:lnTo>
                <a:lnTo>
                  <a:pt x="790" y="1725"/>
                </a:lnTo>
                <a:lnTo>
                  <a:pt x="799" y="1720"/>
                </a:lnTo>
                <a:lnTo>
                  <a:pt x="802" y="1708"/>
                </a:lnTo>
                <a:lnTo>
                  <a:pt x="807" y="1704"/>
                </a:lnTo>
                <a:lnTo>
                  <a:pt x="812" y="1704"/>
                </a:lnTo>
                <a:lnTo>
                  <a:pt x="822" y="1699"/>
                </a:lnTo>
                <a:lnTo>
                  <a:pt x="834" y="1706"/>
                </a:lnTo>
                <a:lnTo>
                  <a:pt x="834" y="1703"/>
                </a:lnTo>
                <a:lnTo>
                  <a:pt x="841" y="1701"/>
                </a:lnTo>
                <a:lnTo>
                  <a:pt x="846" y="1696"/>
                </a:lnTo>
                <a:lnTo>
                  <a:pt x="851" y="1692"/>
                </a:lnTo>
                <a:lnTo>
                  <a:pt x="858" y="1694"/>
                </a:lnTo>
                <a:lnTo>
                  <a:pt x="863" y="1698"/>
                </a:lnTo>
                <a:lnTo>
                  <a:pt x="872" y="1699"/>
                </a:lnTo>
                <a:lnTo>
                  <a:pt x="878" y="1692"/>
                </a:lnTo>
                <a:lnTo>
                  <a:pt x="880" y="1686"/>
                </a:lnTo>
                <a:lnTo>
                  <a:pt x="889" y="1682"/>
                </a:lnTo>
                <a:lnTo>
                  <a:pt x="897" y="1682"/>
                </a:lnTo>
                <a:lnTo>
                  <a:pt x="906" y="1681"/>
                </a:lnTo>
                <a:lnTo>
                  <a:pt x="912" y="1677"/>
                </a:lnTo>
                <a:lnTo>
                  <a:pt x="919" y="1677"/>
                </a:lnTo>
                <a:lnTo>
                  <a:pt x="921" y="1631"/>
                </a:lnTo>
                <a:lnTo>
                  <a:pt x="923" y="1589"/>
                </a:lnTo>
                <a:lnTo>
                  <a:pt x="923" y="1560"/>
                </a:lnTo>
                <a:lnTo>
                  <a:pt x="924" y="1504"/>
                </a:lnTo>
                <a:lnTo>
                  <a:pt x="926" y="1429"/>
                </a:lnTo>
                <a:lnTo>
                  <a:pt x="926" y="1390"/>
                </a:lnTo>
                <a:lnTo>
                  <a:pt x="929" y="1288"/>
                </a:lnTo>
                <a:lnTo>
                  <a:pt x="929" y="1250"/>
                </a:lnTo>
                <a:lnTo>
                  <a:pt x="929" y="1233"/>
                </a:lnTo>
                <a:lnTo>
                  <a:pt x="931" y="1196"/>
                </a:lnTo>
                <a:lnTo>
                  <a:pt x="931" y="1153"/>
                </a:lnTo>
                <a:lnTo>
                  <a:pt x="931" y="1150"/>
                </a:lnTo>
                <a:lnTo>
                  <a:pt x="933" y="1124"/>
                </a:lnTo>
                <a:lnTo>
                  <a:pt x="933" y="1106"/>
                </a:lnTo>
                <a:lnTo>
                  <a:pt x="933" y="1070"/>
                </a:lnTo>
                <a:lnTo>
                  <a:pt x="933" y="1063"/>
                </a:lnTo>
                <a:lnTo>
                  <a:pt x="933" y="1056"/>
                </a:lnTo>
                <a:lnTo>
                  <a:pt x="935" y="1031"/>
                </a:lnTo>
                <a:lnTo>
                  <a:pt x="935" y="1010"/>
                </a:lnTo>
                <a:lnTo>
                  <a:pt x="935" y="973"/>
                </a:lnTo>
                <a:lnTo>
                  <a:pt x="936" y="969"/>
                </a:lnTo>
                <a:lnTo>
                  <a:pt x="936" y="932"/>
                </a:lnTo>
                <a:lnTo>
                  <a:pt x="936" y="927"/>
                </a:lnTo>
                <a:lnTo>
                  <a:pt x="936" y="907"/>
                </a:lnTo>
                <a:lnTo>
                  <a:pt x="938" y="878"/>
                </a:lnTo>
                <a:lnTo>
                  <a:pt x="938" y="839"/>
                </a:lnTo>
                <a:lnTo>
                  <a:pt x="940" y="793"/>
                </a:lnTo>
                <a:lnTo>
                  <a:pt x="940" y="764"/>
                </a:lnTo>
                <a:lnTo>
                  <a:pt x="940" y="748"/>
                </a:lnTo>
                <a:lnTo>
                  <a:pt x="940" y="721"/>
                </a:lnTo>
                <a:lnTo>
                  <a:pt x="941" y="702"/>
                </a:lnTo>
                <a:lnTo>
                  <a:pt x="948" y="709"/>
                </a:lnTo>
                <a:lnTo>
                  <a:pt x="952" y="714"/>
                </a:lnTo>
                <a:lnTo>
                  <a:pt x="958" y="716"/>
                </a:lnTo>
                <a:lnTo>
                  <a:pt x="958" y="719"/>
                </a:lnTo>
                <a:lnTo>
                  <a:pt x="963" y="721"/>
                </a:lnTo>
                <a:lnTo>
                  <a:pt x="963" y="726"/>
                </a:lnTo>
                <a:lnTo>
                  <a:pt x="972" y="735"/>
                </a:lnTo>
                <a:lnTo>
                  <a:pt x="979" y="733"/>
                </a:lnTo>
                <a:lnTo>
                  <a:pt x="987" y="742"/>
                </a:lnTo>
                <a:lnTo>
                  <a:pt x="994" y="738"/>
                </a:lnTo>
                <a:lnTo>
                  <a:pt x="997" y="743"/>
                </a:lnTo>
                <a:lnTo>
                  <a:pt x="1008" y="745"/>
                </a:lnTo>
                <a:lnTo>
                  <a:pt x="1014" y="753"/>
                </a:lnTo>
                <a:lnTo>
                  <a:pt x="1018" y="760"/>
                </a:lnTo>
                <a:lnTo>
                  <a:pt x="1025" y="767"/>
                </a:lnTo>
                <a:lnTo>
                  <a:pt x="1031" y="767"/>
                </a:lnTo>
                <a:lnTo>
                  <a:pt x="1033" y="772"/>
                </a:lnTo>
                <a:lnTo>
                  <a:pt x="1040" y="774"/>
                </a:lnTo>
                <a:lnTo>
                  <a:pt x="1038" y="782"/>
                </a:lnTo>
                <a:lnTo>
                  <a:pt x="1047" y="787"/>
                </a:lnTo>
                <a:lnTo>
                  <a:pt x="1047" y="793"/>
                </a:lnTo>
                <a:lnTo>
                  <a:pt x="1052" y="796"/>
                </a:lnTo>
                <a:lnTo>
                  <a:pt x="1052" y="806"/>
                </a:lnTo>
                <a:lnTo>
                  <a:pt x="1060" y="808"/>
                </a:lnTo>
                <a:lnTo>
                  <a:pt x="1060" y="813"/>
                </a:lnTo>
                <a:lnTo>
                  <a:pt x="1055" y="818"/>
                </a:lnTo>
                <a:lnTo>
                  <a:pt x="1062" y="827"/>
                </a:lnTo>
                <a:lnTo>
                  <a:pt x="1069" y="827"/>
                </a:lnTo>
                <a:lnTo>
                  <a:pt x="1065" y="833"/>
                </a:lnTo>
                <a:lnTo>
                  <a:pt x="1069" y="839"/>
                </a:lnTo>
                <a:lnTo>
                  <a:pt x="1081" y="842"/>
                </a:lnTo>
                <a:lnTo>
                  <a:pt x="1072" y="850"/>
                </a:lnTo>
                <a:lnTo>
                  <a:pt x="1081" y="850"/>
                </a:lnTo>
                <a:lnTo>
                  <a:pt x="1079" y="857"/>
                </a:lnTo>
                <a:lnTo>
                  <a:pt x="1081" y="864"/>
                </a:lnTo>
                <a:lnTo>
                  <a:pt x="1084" y="869"/>
                </a:lnTo>
                <a:lnTo>
                  <a:pt x="1094" y="871"/>
                </a:lnTo>
                <a:lnTo>
                  <a:pt x="1094" y="879"/>
                </a:lnTo>
                <a:lnTo>
                  <a:pt x="1101" y="879"/>
                </a:lnTo>
                <a:lnTo>
                  <a:pt x="1098" y="884"/>
                </a:lnTo>
                <a:lnTo>
                  <a:pt x="1099" y="888"/>
                </a:lnTo>
                <a:lnTo>
                  <a:pt x="1110" y="884"/>
                </a:lnTo>
                <a:lnTo>
                  <a:pt x="1113" y="886"/>
                </a:lnTo>
                <a:lnTo>
                  <a:pt x="1111" y="890"/>
                </a:lnTo>
                <a:lnTo>
                  <a:pt x="1103" y="891"/>
                </a:lnTo>
                <a:lnTo>
                  <a:pt x="1105" y="898"/>
                </a:lnTo>
                <a:lnTo>
                  <a:pt x="1101" y="905"/>
                </a:lnTo>
                <a:lnTo>
                  <a:pt x="1111" y="912"/>
                </a:lnTo>
                <a:lnTo>
                  <a:pt x="1113" y="917"/>
                </a:lnTo>
                <a:lnTo>
                  <a:pt x="1118" y="922"/>
                </a:lnTo>
                <a:lnTo>
                  <a:pt x="1118" y="924"/>
                </a:lnTo>
                <a:lnTo>
                  <a:pt x="1110" y="927"/>
                </a:lnTo>
                <a:lnTo>
                  <a:pt x="1106" y="935"/>
                </a:lnTo>
                <a:lnTo>
                  <a:pt x="1115" y="934"/>
                </a:lnTo>
                <a:lnTo>
                  <a:pt x="1111" y="944"/>
                </a:lnTo>
                <a:lnTo>
                  <a:pt x="1113" y="949"/>
                </a:lnTo>
                <a:lnTo>
                  <a:pt x="1120" y="954"/>
                </a:lnTo>
                <a:lnTo>
                  <a:pt x="1123" y="956"/>
                </a:lnTo>
                <a:lnTo>
                  <a:pt x="1127" y="964"/>
                </a:lnTo>
                <a:lnTo>
                  <a:pt x="1127" y="971"/>
                </a:lnTo>
                <a:lnTo>
                  <a:pt x="1135" y="973"/>
                </a:lnTo>
                <a:lnTo>
                  <a:pt x="1135" y="975"/>
                </a:lnTo>
                <a:lnTo>
                  <a:pt x="1128" y="985"/>
                </a:lnTo>
                <a:lnTo>
                  <a:pt x="1132" y="985"/>
                </a:lnTo>
                <a:lnTo>
                  <a:pt x="1140" y="980"/>
                </a:lnTo>
                <a:lnTo>
                  <a:pt x="1140" y="988"/>
                </a:lnTo>
                <a:lnTo>
                  <a:pt x="1139" y="993"/>
                </a:lnTo>
                <a:lnTo>
                  <a:pt x="1147" y="997"/>
                </a:lnTo>
                <a:lnTo>
                  <a:pt x="1142" y="1005"/>
                </a:lnTo>
                <a:lnTo>
                  <a:pt x="1144" y="1010"/>
                </a:lnTo>
                <a:lnTo>
                  <a:pt x="1152" y="1019"/>
                </a:lnTo>
                <a:lnTo>
                  <a:pt x="1154" y="1021"/>
                </a:lnTo>
                <a:lnTo>
                  <a:pt x="1150" y="1029"/>
                </a:lnTo>
                <a:lnTo>
                  <a:pt x="1147" y="1032"/>
                </a:lnTo>
                <a:lnTo>
                  <a:pt x="1152" y="1041"/>
                </a:lnTo>
                <a:lnTo>
                  <a:pt x="1147" y="1048"/>
                </a:lnTo>
                <a:lnTo>
                  <a:pt x="1152" y="1053"/>
                </a:lnTo>
                <a:lnTo>
                  <a:pt x="1147" y="1060"/>
                </a:lnTo>
                <a:lnTo>
                  <a:pt x="1152" y="1065"/>
                </a:lnTo>
                <a:lnTo>
                  <a:pt x="1159" y="1066"/>
                </a:lnTo>
                <a:lnTo>
                  <a:pt x="1154" y="1075"/>
                </a:lnTo>
                <a:lnTo>
                  <a:pt x="1147" y="1080"/>
                </a:lnTo>
                <a:lnTo>
                  <a:pt x="1145" y="1089"/>
                </a:lnTo>
                <a:lnTo>
                  <a:pt x="1142" y="1097"/>
                </a:lnTo>
                <a:lnTo>
                  <a:pt x="1139" y="1100"/>
                </a:lnTo>
                <a:lnTo>
                  <a:pt x="1139" y="1104"/>
                </a:lnTo>
                <a:lnTo>
                  <a:pt x="1130" y="1107"/>
                </a:lnTo>
                <a:lnTo>
                  <a:pt x="1127" y="1116"/>
                </a:lnTo>
                <a:lnTo>
                  <a:pt x="1120" y="1121"/>
                </a:lnTo>
                <a:lnTo>
                  <a:pt x="1113" y="1129"/>
                </a:lnTo>
                <a:lnTo>
                  <a:pt x="1113" y="1138"/>
                </a:lnTo>
                <a:lnTo>
                  <a:pt x="1108" y="1138"/>
                </a:lnTo>
                <a:lnTo>
                  <a:pt x="1101" y="1146"/>
                </a:lnTo>
                <a:lnTo>
                  <a:pt x="1093" y="1150"/>
                </a:lnTo>
                <a:lnTo>
                  <a:pt x="1093" y="1157"/>
                </a:lnTo>
                <a:lnTo>
                  <a:pt x="1091" y="1165"/>
                </a:lnTo>
                <a:lnTo>
                  <a:pt x="1089" y="1169"/>
                </a:lnTo>
                <a:lnTo>
                  <a:pt x="1089" y="1174"/>
                </a:lnTo>
                <a:lnTo>
                  <a:pt x="1089" y="1180"/>
                </a:lnTo>
                <a:lnTo>
                  <a:pt x="1096" y="1189"/>
                </a:lnTo>
                <a:lnTo>
                  <a:pt x="1096" y="1196"/>
                </a:lnTo>
                <a:lnTo>
                  <a:pt x="1094" y="1203"/>
                </a:lnTo>
                <a:lnTo>
                  <a:pt x="1096" y="1209"/>
                </a:lnTo>
                <a:lnTo>
                  <a:pt x="1091" y="1214"/>
                </a:lnTo>
                <a:lnTo>
                  <a:pt x="1094" y="1225"/>
                </a:lnTo>
                <a:lnTo>
                  <a:pt x="1093" y="1231"/>
                </a:lnTo>
                <a:lnTo>
                  <a:pt x="1096" y="1237"/>
                </a:lnTo>
                <a:lnTo>
                  <a:pt x="1091" y="1242"/>
                </a:lnTo>
                <a:lnTo>
                  <a:pt x="1099" y="1247"/>
                </a:lnTo>
                <a:lnTo>
                  <a:pt x="1098" y="1252"/>
                </a:lnTo>
                <a:lnTo>
                  <a:pt x="1106" y="1255"/>
                </a:lnTo>
                <a:lnTo>
                  <a:pt x="1105" y="1260"/>
                </a:lnTo>
                <a:lnTo>
                  <a:pt x="1108" y="1272"/>
                </a:lnTo>
                <a:lnTo>
                  <a:pt x="1110" y="1271"/>
                </a:lnTo>
                <a:lnTo>
                  <a:pt x="1115" y="1264"/>
                </a:lnTo>
                <a:lnTo>
                  <a:pt x="1128" y="1262"/>
                </a:lnTo>
                <a:lnTo>
                  <a:pt x="1133" y="1255"/>
                </a:lnTo>
                <a:lnTo>
                  <a:pt x="1142" y="1255"/>
                </a:lnTo>
                <a:lnTo>
                  <a:pt x="1144" y="1250"/>
                </a:lnTo>
                <a:lnTo>
                  <a:pt x="1149" y="1250"/>
                </a:lnTo>
                <a:lnTo>
                  <a:pt x="1161" y="1243"/>
                </a:lnTo>
                <a:lnTo>
                  <a:pt x="1164" y="1243"/>
                </a:lnTo>
                <a:lnTo>
                  <a:pt x="1166" y="1243"/>
                </a:lnTo>
                <a:lnTo>
                  <a:pt x="1176" y="1248"/>
                </a:lnTo>
                <a:lnTo>
                  <a:pt x="1183" y="1247"/>
                </a:lnTo>
                <a:lnTo>
                  <a:pt x="1186" y="1252"/>
                </a:lnTo>
                <a:lnTo>
                  <a:pt x="1193" y="1257"/>
                </a:lnTo>
                <a:lnTo>
                  <a:pt x="1205" y="1259"/>
                </a:lnTo>
                <a:lnTo>
                  <a:pt x="1210" y="1257"/>
                </a:lnTo>
                <a:lnTo>
                  <a:pt x="1220" y="1260"/>
                </a:lnTo>
                <a:lnTo>
                  <a:pt x="1224" y="1264"/>
                </a:lnTo>
                <a:lnTo>
                  <a:pt x="1235" y="1262"/>
                </a:lnTo>
                <a:lnTo>
                  <a:pt x="1239" y="1259"/>
                </a:lnTo>
                <a:lnTo>
                  <a:pt x="1247" y="1257"/>
                </a:lnTo>
                <a:lnTo>
                  <a:pt x="1259" y="1255"/>
                </a:lnTo>
                <a:lnTo>
                  <a:pt x="1268" y="1257"/>
                </a:lnTo>
                <a:lnTo>
                  <a:pt x="1276" y="1252"/>
                </a:lnTo>
                <a:lnTo>
                  <a:pt x="1288" y="1252"/>
                </a:lnTo>
                <a:lnTo>
                  <a:pt x="1295" y="1250"/>
                </a:lnTo>
                <a:lnTo>
                  <a:pt x="1305" y="1252"/>
                </a:lnTo>
                <a:lnTo>
                  <a:pt x="1310" y="1255"/>
                </a:lnTo>
                <a:lnTo>
                  <a:pt x="1315" y="1255"/>
                </a:lnTo>
                <a:lnTo>
                  <a:pt x="1326" y="1260"/>
                </a:lnTo>
                <a:lnTo>
                  <a:pt x="1331" y="1255"/>
                </a:lnTo>
                <a:lnTo>
                  <a:pt x="1339" y="1255"/>
                </a:lnTo>
                <a:lnTo>
                  <a:pt x="1346" y="1257"/>
                </a:lnTo>
                <a:lnTo>
                  <a:pt x="1353" y="1262"/>
                </a:lnTo>
                <a:lnTo>
                  <a:pt x="1361" y="1262"/>
                </a:lnTo>
                <a:lnTo>
                  <a:pt x="1366" y="1259"/>
                </a:lnTo>
                <a:lnTo>
                  <a:pt x="1371" y="1260"/>
                </a:lnTo>
                <a:lnTo>
                  <a:pt x="1382" y="1252"/>
                </a:lnTo>
                <a:lnTo>
                  <a:pt x="1388" y="1248"/>
                </a:lnTo>
                <a:lnTo>
                  <a:pt x="1390" y="1245"/>
                </a:lnTo>
                <a:lnTo>
                  <a:pt x="1394" y="1245"/>
                </a:lnTo>
                <a:lnTo>
                  <a:pt x="1397" y="1237"/>
                </a:lnTo>
                <a:lnTo>
                  <a:pt x="1394" y="1231"/>
                </a:lnTo>
                <a:lnTo>
                  <a:pt x="1395" y="1225"/>
                </a:lnTo>
                <a:lnTo>
                  <a:pt x="1390" y="1216"/>
                </a:lnTo>
                <a:lnTo>
                  <a:pt x="1395" y="1211"/>
                </a:lnTo>
                <a:lnTo>
                  <a:pt x="1405" y="1208"/>
                </a:lnTo>
                <a:lnTo>
                  <a:pt x="1409" y="1209"/>
                </a:lnTo>
                <a:lnTo>
                  <a:pt x="1421" y="1209"/>
                </a:lnTo>
                <a:lnTo>
                  <a:pt x="1431" y="1209"/>
                </a:lnTo>
                <a:lnTo>
                  <a:pt x="1438" y="1209"/>
                </a:lnTo>
                <a:lnTo>
                  <a:pt x="1446" y="1204"/>
                </a:lnTo>
                <a:lnTo>
                  <a:pt x="1451" y="1204"/>
                </a:lnTo>
                <a:lnTo>
                  <a:pt x="1455" y="1201"/>
                </a:lnTo>
                <a:lnTo>
                  <a:pt x="1465" y="1201"/>
                </a:lnTo>
                <a:lnTo>
                  <a:pt x="1468" y="1194"/>
                </a:lnTo>
                <a:lnTo>
                  <a:pt x="1472" y="1186"/>
                </a:lnTo>
                <a:lnTo>
                  <a:pt x="1480" y="1177"/>
                </a:lnTo>
                <a:lnTo>
                  <a:pt x="1485" y="1177"/>
                </a:lnTo>
                <a:lnTo>
                  <a:pt x="1487" y="1170"/>
                </a:lnTo>
                <a:lnTo>
                  <a:pt x="1494" y="1167"/>
                </a:lnTo>
                <a:lnTo>
                  <a:pt x="1494" y="1160"/>
                </a:lnTo>
                <a:lnTo>
                  <a:pt x="1499" y="1157"/>
                </a:lnTo>
                <a:lnTo>
                  <a:pt x="1499" y="1148"/>
                </a:lnTo>
                <a:lnTo>
                  <a:pt x="1504" y="1145"/>
                </a:lnTo>
                <a:lnTo>
                  <a:pt x="1502" y="1138"/>
                </a:lnTo>
                <a:lnTo>
                  <a:pt x="1502" y="1136"/>
                </a:lnTo>
                <a:lnTo>
                  <a:pt x="1507" y="1134"/>
                </a:lnTo>
                <a:lnTo>
                  <a:pt x="1514" y="1129"/>
                </a:lnTo>
                <a:lnTo>
                  <a:pt x="1516" y="1124"/>
                </a:lnTo>
                <a:lnTo>
                  <a:pt x="1528" y="1123"/>
                </a:lnTo>
                <a:lnTo>
                  <a:pt x="1533" y="1123"/>
                </a:lnTo>
                <a:lnTo>
                  <a:pt x="1538" y="1117"/>
                </a:lnTo>
                <a:lnTo>
                  <a:pt x="1547" y="1117"/>
                </a:lnTo>
                <a:lnTo>
                  <a:pt x="1548" y="1107"/>
                </a:lnTo>
                <a:lnTo>
                  <a:pt x="1558" y="1104"/>
                </a:lnTo>
                <a:lnTo>
                  <a:pt x="1557" y="1097"/>
                </a:lnTo>
                <a:lnTo>
                  <a:pt x="1564" y="1092"/>
                </a:lnTo>
                <a:lnTo>
                  <a:pt x="1572" y="1092"/>
                </a:lnTo>
                <a:lnTo>
                  <a:pt x="1577" y="1085"/>
                </a:lnTo>
                <a:lnTo>
                  <a:pt x="1587" y="1089"/>
                </a:lnTo>
                <a:lnTo>
                  <a:pt x="1591" y="1092"/>
                </a:lnTo>
                <a:lnTo>
                  <a:pt x="1598" y="1092"/>
                </a:lnTo>
                <a:lnTo>
                  <a:pt x="1604" y="1082"/>
                </a:lnTo>
                <a:lnTo>
                  <a:pt x="1604" y="1072"/>
                </a:lnTo>
                <a:lnTo>
                  <a:pt x="1604" y="1070"/>
                </a:lnTo>
                <a:lnTo>
                  <a:pt x="1609" y="1072"/>
                </a:lnTo>
                <a:lnTo>
                  <a:pt x="1613" y="1066"/>
                </a:lnTo>
                <a:lnTo>
                  <a:pt x="1618" y="1063"/>
                </a:lnTo>
                <a:lnTo>
                  <a:pt x="1618" y="1058"/>
                </a:lnTo>
                <a:lnTo>
                  <a:pt x="1620" y="1056"/>
                </a:lnTo>
                <a:lnTo>
                  <a:pt x="1630" y="1051"/>
                </a:lnTo>
                <a:lnTo>
                  <a:pt x="1630" y="1043"/>
                </a:lnTo>
                <a:lnTo>
                  <a:pt x="1628" y="1038"/>
                </a:lnTo>
                <a:lnTo>
                  <a:pt x="1628" y="1036"/>
                </a:lnTo>
                <a:lnTo>
                  <a:pt x="1640" y="1038"/>
                </a:lnTo>
                <a:lnTo>
                  <a:pt x="1643" y="1036"/>
                </a:lnTo>
                <a:lnTo>
                  <a:pt x="1645" y="1024"/>
                </a:lnTo>
                <a:lnTo>
                  <a:pt x="1643" y="1019"/>
                </a:lnTo>
                <a:lnTo>
                  <a:pt x="1650" y="1010"/>
                </a:lnTo>
                <a:lnTo>
                  <a:pt x="1642" y="1004"/>
                </a:lnTo>
                <a:lnTo>
                  <a:pt x="1649" y="1000"/>
                </a:lnTo>
                <a:lnTo>
                  <a:pt x="1647" y="993"/>
                </a:lnTo>
                <a:lnTo>
                  <a:pt x="1657" y="990"/>
                </a:lnTo>
                <a:lnTo>
                  <a:pt x="1660" y="985"/>
                </a:lnTo>
                <a:lnTo>
                  <a:pt x="1659" y="981"/>
                </a:lnTo>
                <a:lnTo>
                  <a:pt x="1647" y="976"/>
                </a:lnTo>
                <a:lnTo>
                  <a:pt x="1654" y="975"/>
                </a:lnTo>
                <a:lnTo>
                  <a:pt x="1655" y="973"/>
                </a:lnTo>
                <a:lnTo>
                  <a:pt x="1655" y="964"/>
                </a:lnTo>
                <a:lnTo>
                  <a:pt x="1657" y="961"/>
                </a:lnTo>
                <a:lnTo>
                  <a:pt x="1666" y="958"/>
                </a:lnTo>
                <a:lnTo>
                  <a:pt x="1671" y="949"/>
                </a:lnTo>
                <a:lnTo>
                  <a:pt x="1674" y="941"/>
                </a:lnTo>
                <a:lnTo>
                  <a:pt x="1666" y="934"/>
                </a:lnTo>
                <a:lnTo>
                  <a:pt x="1677" y="930"/>
                </a:lnTo>
                <a:lnTo>
                  <a:pt x="1679" y="929"/>
                </a:lnTo>
                <a:lnTo>
                  <a:pt x="1679" y="927"/>
                </a:lnTo>
                <a:lnTo>
                  <a:pt x="1669" y="920"/>
                </a:lnTo>
                <a:lnTo>
                  <a:pt x="1672" y="918"/>
                </a:lnTo>
                <a:lnTo>
                  <a:pt x="1677" y="910"/>
                </a:lnTo>
                <a:lnTo>
                  <a:pt x="1681" y="907"/>
                </a:lnTo>
                <a:lnTo>
                  <a:pt x="1683" y="900"/>
                </a:lnTo>
                <a:lnTo>
                  <a:pt x="1679" y="896"/>
                </a:lnTo>
                <a:lnTo>
                  <a:pt x="1684" y="893"/>
                </a:lnTo>
                <a:lnTo>
                  <a:pt x="1693" y="895"/>
                </a:lnTo>
                <a:lnTo>
                  <a:pt x="1689" y="890"/>
                </a:lnTo>
                <a:lnTo>
                  <a:pt x="1693" y="886"/>
                </a:lnTo>
                <a:lnTo>
                  <a:pt x="1696" y="878"/>
                </a:lnTo>
                <a:lnTo>
                  <a:pt x="1698" y="876"/>
                </a:lnTo>
                <a:lnTo>
                  <a:pt x="1701" y="874"/>
                </a:lnTo>
                <a:lnTo>
                  <a:pt x="1711" y="867"/>
                </a:lnTo>
                <a:lnTo>
                  <a:pt x="1715" y="856"/>
                </a:lnTo>
                <a:lnTo>
                  <a:pt x="1723" y="856"/>
                </a:lnTo>
                <a:lnTo>
                  <a:pt x="1722" y="845"/>
                </a:lnTo>
                <a:lnTo>
                  <a:pt x="1728" y="849"/>
                </a:lnTo>
                <a:lnTo>
                  <a:pt x="1734" y="842"/>
                </a:lnTo>
                <a:lnTo>
                  <a:pt x="1734" y="850"/>
                </a:lnTo>
                <a:lnTo>
                  <a:pt x="1740" y="854"/>
                </a:lnTo>
                <a:lnTo>
                  <a:pt x="1749" y="847"/>
                </a:lnTo>
                <a:lnTo>
                  <a:pt x="1756" y="850"/>
                </a:lnTo>
                <a:lnTo>
                  <a:pt x="1762" y="847"/>
                </a:lnTo>
                <a:lnTo>
                  <a:pt x="1769" y="840"/>
                </a:lnTo>
                <a:lnTo>
                  <a:pt x="1776" y="839"/>
                </a:lnTo>
                <a:lnTo>
                  <a:pt x="1781" y="840"/>
                </a:lnTo>
                <a:lnTo>
                  <a:pt x="1793" y="839"/>
                </a:lnTo>
                <a:lnTo>
                  <a:pt x="1796" y="844"/>
                </a:lnTo>
                <a:lnTo>
                  <a:pt x="1802" y="840"/>
                </a:lnTo>
                <a:lnTo>
                  <a:pt x="1805" y="844"/>
                </a:lnTo>
                <a:lnTo>
                  <a:pt x="1813" y="842"/>
                </a:lnTo>
                <a:lnTo>
                  <a:pt x="1817" y="845"/>
                </a:lnTo>
                <a:lnTo>
                  <a:pt x="1829" y="849"/>
                </a:lnTo>
                <a:lnTo>
                  <a:pt x="1832" y="844"/>
                </a:lnTo>
                <a:lnTo>
                  <a:pt x="1836" y="839"/>
                </a:lnTo>
                <a:lnTo>
                  <a:pt x="1842" y="839"/>
                </a:lnTo>
                <a:lnTo>
                  <a:pt x="1839" y="845"/>
                </a:lnTo>
                <a:lnTo>
                  <a:pt x="1844" y="845"/>
                </a:lnTo>
                <a:lnTo>
                  <a:pt x="1849" y="850"/>
                </a:lnTo>
                <a:lnTo>
                  <a:pt x="1849" y="859"/>
                </a:lnTo>
                <a:lnTo>
                  <a:pt x="1856" y="856"/>
                </a:lnTo>
                <a:lnTo>
                  <a:pt x="1866" y="861"/>
                </a:lnTo>
                <a:lnTo>
                  <a:pt x="1864" y="864"/>
                </a:lnTo>
                <a:lnTo>
                  <a:pt x="1871" y="866"/>
                </a:lnTo>
                <a:lnTo>
                  <a:pt x="1873" y="871"/>
                </a:lnTo>
                <a:lnTo>
                  <a:pt x="1880" y="867"/>
                </a:lnTo>
                <a:lnTo>
                  <a:pt x="1878" y="873"/>
                </a:lnTo>
                <a:lnTo>
                  <a:pt x="1885" y="874"/>
                </a:lnTo>
                <a:lnTo>
                  <a:pt x="1885" y="881"/>
                </a:lnTo>
                <a:lnTo>
                  <a:pt x="1893" y="876"/>
                </a:lnTo>
                <a:lnTo>
                  <a:pt x="1893" y="883"/>
                </a:lnTo>
                <a:lnTo>
                  <a:pt x="1900" y="884"/>
                </a:lnTo>
                <a:lnTo>
                  <a:pt x="1902" y="888"/>
                </a:lnTo>
                <a:lnTo>
                  <a:pt x="1909" y="884"/>
                </a:lnTo>
                <a:lnTo>
                  <a:pt x="1917" y="890"/>
                </a:lnTo>
                <a:lnTo>
                  <a:pt x="1917" y="900"/>
                </a:lnTo>
                <a:lnTo>
                  <a:pt x="1924" y="901"/>
                </a:lnTo>
                <a:lnTo>
                  <a:pt x="1932" y="901"/>
                </a:lnTo>
                <a:lnTo>
                  <a:pt x="1929" y="910"/>
                </a:lnTo>
                <a:lnTo>
                  <a:pt x="1936" y="910"/>
                </a:lnTo>
                <a:lnTo>
                  <a:pt x="1937" y="917"/>
                </a:lnTo>
                <a:lnTo>
                  <a:pt x="1948" y="918"/>
                </a:lnTo>
                <a:lnTo>
                  <a:pt x="1948" y="924"/>
                </a:lnTo>
                <a:lnTo>
                  <a:pt x="1954" y="927"/>
                </a:lnTo>
                <a:lnTo>
                  <a:pt x="1953" y="932"/>
                </a:lnTo>
                <a:lnTo>
                  <a:pt x="1965" y="935"/>
                </a:lnTo>
                <a:lnTo>
                  <a:pt x="1971" y="929"/>
                </a:lnTo>
                <a:lnTo>
                  <a:pt x="1982" y="932"/>
                </a:lnTo>
                <a:lnTo>
                  <a:pt x="1980" y="939"/>
                </a:lnTo>
                <a:lnTo>
                  <a:pt x="1987" y="934"/>
                </a:lnTo>
                <a:lnTo>
                  <a:pt x="1994" y="939"/>
                </a:lnTo>
                <a:lnTo>
                  <a:pt x="1995" y="934"/>
                </a:lnTo>
                <a:lnTo>
                  <a:pt x="2000" y="937"/>
                </a:lnTo>
                <a:lnTo>
                  <a:pt x="2005" y="934"/>
                </a:lnTo>
                <a:lnTo>
                  <a:pt x="2014" y="932"/>
                </a:lnTo>
                <a:lnTo>
                  <a:pt x="2019" y="927"/>
                </a:lnTo>
                <a:lnTo>
                  <a:pt x="2019" y="934"/>
                </a:lnTo>
                <a:lnTo>
                  <a:pt x="2028" y="930"/>
                </a:lnTo>
                <a:lnTo>
                  <a:pt x="2038" y="937"/>
                </a:lnTo>
                <a:lnTo>
                  <a:pt x="2043" y="946"/>
                </a:lnTo>
                <a:lnTo>
                  <a:pt x="2046" y="954"/>
                </a:lnTo>
                <a:lnTo>
                  <a:pt x="2053" y="951"/>
                </a:lnTo>
                <a:lnTo>
                  <a:pt x="2051" y="959"/>
                </a:lnTo>
                <a:lnTo>
                  <a:pt x="2062" y="954"/>
                </a:lnTo>
                <a:lnTo>
                  <a:pt x="2062" y="961"/>
                </a:lnTo>
                <a:lnTo>
                  <a:pt x="2070" y="966"/>
                </a:lnTo>
                <a:lnTo>
                  <a:pt x="2075" y="969"/>
                </a:lnTo>
                <a:lnTo>
                  <a:pt x="2082" y="968"/>
                </a:lnTo>
                <a:lnTo>
                  <a:pt x="2084" y="964"/>
                </a:lnTo>
                <a:lnTo>
                  <a:pt x="2089" y="966"/>
                </a:lnTo>
                <a:lnTo>
                  <a:pt x="2094" y="961"/>
                </a:lnTo>
                <a:lnTo>
                  <a:pt x="2097" y="963"/>
                </a:lnTo>
                <a:lnTo>
                  <a:pt x="2099" y="961"/>
                </a:lnTo>
                <a:lnTo>
                  <a:pt x="2101" y="964"/>
                </a:lnTo>
                <a:lnTo>
                  <a:pt x="2106" y="966"/>
                </a:lnTo>
                <a:lnTo>
                  <a:pt x="2113" y="968"/>
                </a:lnTo>
                <a:lnTo>
                  <a:pt x="2119" y="971"/>
                </a:lnTo>
                <a:lnTo>
                  <a:pt x="2126" y="971"/>
                </a:lnTo>
                <a:lnTo>
                  <a:pt x="2131" y="976"/>
                </a:lnTo>
                <a:lnTo>
                  <a:pt x="2136" y="978"/>
                </a:lnTo>
                <a:lnTo>
                  <a:pt x="2143" y="980"/>
                </a:lnTo>
                <a:lnTo>
                  <a:pt x="2150" y="983"/>
                </a:lnTo>
                <a:lnTo>
                  <a:pt x="2153" y="983"/>
                </a:lnTo>
                <a:lnTo>
                  <a:pt x="2155" y="985"/>
                </a:lnTo>
                <a:lnTo>
                  <a:pt x="2158" y="981"/>
                </a:lnTo>
                <a:lnTo>
                  <a:pt x="2167" y="980"/>
                </a:lnTo>
                <a:lnTo>
                  <a:pt x="2172" y="981"/>
                </a:lnTo>
                <a:lnTo>
                  <a:pt x="2182" y="983"/>
                </a:lnTo>
                <a:lnTo>
                  <a:pt x="2184" y="985"/>
                </a:lnTo>
                <a:lnTo>
                  <a:pt x="2189" y="981"/>
                </a:lnTo>
                <a:lnTo>
                  <a:pt x="2191" y="983"/>
                </a:lnTo>
                <a:lnTo>
                  <a:pt x="2192" y="981"/>
                </a:lnTo>
                <a:lnTo>
                  <a:pt x="2204" y="980"/>
                </a:lnTo>
                <a:lnTo>
                  <a:pt x="2211" y="981"/>
                </a:lnTo>
                <a:lnTo>
                  <a:pt x="2215" y="975"/>
                </a:lnTo>
                <a:lnTo>
                  <a:pt x="2220" y="975"/>
                </a:lnTo>
                <a:lnTo>
                  <a:pt x="2226" y="968"/>
                </a:lnTo>
                <a:lnTo>
                  <a:pt x="2230" y="969"/>
                </a:lnTo>
                <a:lnTo>
                  <a:pt x="2238" y="963"/>
                </a:lnTo>
                <a:lnTo>
                  <a:pt x="2238" y="959"/>
                </a:lnTo>
                <a:lnTo>
                  <a:pt x="2249" y="958"/>
                </a:lnTo>
                <a:lnTo>
                  <a:pt x="2254" y="961"/>
                </a:lnTo>
                <a:lnTo>
                  <a:pt x="2266" y="963"/>
                </a:lnTo>
                <a:lnTo>
                  <a:pt x="2269" y="969"/>
                </a:lnTo>
                <a:lnTo>
                  <a:pt x="2276" y="966"/>
                </a:lnTo>
                <a:lnTo>
                  <a:pt x="2283" y="969"/>
                </a:lnTo>
                <a:lnTo>
                  <a:pt x="2291" y="968"/>
                </a:lnTo>
                <a:lnTo>
                  <a:pt x="2294" y="969"/>
                </a:lnTo>
                <a:lnTo>
                  <a:pt x="2306" y="969"/>
                </a:lnTo>
                <a:lnTo>
                  <a:pt x="2317" y="969"/>
                </a:lnTo>
                <a:lnTo>
                  <a:pt x="2322" y="971"/>
                </a:lnTo>
                <a:lnTo>
                  <a:pt x="2327" y="969"/>
                </a:lnTo>
                <a:lnTo>
                  <a:pt x="2334" y="968"/>
                </a:lnTo>
                <a:lnTo>
                  <a:pt x="2339" y="964"/>
                </a:lnTo>
                <a:lnTo>
                  <a:pt x="2349" y="959"/>
                </a:lnTo>
                <a:lnTo>
                  <a:pt x="2357" y="954"/>
                </a:lnTo>
                <a:lnTo>
                  <a:pt x="2361" y="951"/>
                </a:lnTo>
                <a:lnTo>
                  <a:pt x="2373" y="947"/>
                </a:lnTo>
                <a:lnTo>
                  <a:pt x="2378" y="942"/>
                </a:lnTo>
                <a:lnTo>
                  <a:pt x="2385" y="939"/>
                </a:lnTo>
                <a:lnTo>
                  <a:pt x="2390" y="935"/>
                </a:lnTo>
                <a:lnTo>
                  <a:pt x="2403" y="908"/>
                </a:lnTo>
                <a:lnTo>
                  <a:pt x="2403" y="907"/>
                </a:lnTo>
                <a:lnTo>
                  <a:pt x="2410" y="896"/>
                </a:lnTo>
                <a:lnTo>
                  <a:pt x="2410" y="895"/>
                </a:lnTo>
                <a:lnTo>
                  <a:pt x="2412" y="891"/>
                </a:lnTo>
                <a:lnTo>
                  <a:pt x="2413" y="890"/>
                </a:lnTo>
                <a:lnTo>
                  <a:pt x="2415" y="879"/>
                </a:lnTo>
                <a:lnTo>
                  <a:pt x="2419" y="873"/>
                </a:lnTo>
                <a:lnTo>
                  <a:pt x="2420" y="866"/>
                </a:lnTo>
                <a:lnTo>
                  <a:pt x="2420" y="862"/>
                </a:lnTo>
                <a:lnTo>
                  <a:pt x="2422" y="857"/>
                </a:lnTo>
                <a:lnTo>
                  <a:pt x="2422" y="850"/>
                </a:lnTo>
                <a:lnTo>
                  <a:pt x="2424" y="844"/>
                </a:lnTo>
                <a:lnTo>
                  <a:pt x="2432" y="833"/>
                </a:lnTo>
                <a:lnTo>
                  <a:pt x="2436" y="823"/>
                </a:lnTo>
                <a:lnTo>
                  <a:pt x="2439" y="816"/>
                </a:lnTo>
                <a:lnTo>
                  <a:pt x="2446" y="803"/>
                </a:lnTo>
                <a:lnTo>
                  <a:pt x="2453" y="786"/>
                </a:lnTo>
                <a:lnTo>
                  <a:pt x="2459" y="767"/>
                </a:lnTo>
                <a:lnTo>
                  <a:pt x="2463" y="760"/>
                </a:lnTo>
                <a:lnTo>
                  <a:pt x="2464" y="759"/>
                </a:lnTo>
                <a:lnTo>
                  <a:pt x="2464" y="755"/>
                </a:lnTo>
                <a:lnTo>
                  <a:pt x="2470" y="745"/>
                </a:lnTo>
                <a:lnTo>
                  <a:pt x="2468" y="745"/>
                </a:lnTo>
                <a:lnTo>
                  <a:pt x="2475" y="743"/>
                </a:lnTo>
                <a:lnTo>
                  <a:pt x="2471" y="740"/>
                </a:lnTo>
                <a:lnTo>
                  <a:pt x="2476" y="735"/>
                </a:lnTo>
                <a:lnTo>
                  <a:pt x="2473" y="726"/>
                </a:lnTo>
                <a:lnTo>
                  <a:pt x="2473" y="719"/>
                </a:lnTo>
                <a:lnTo>
                  <a:pt x="2470" y="719"/>
                </a:lnTo>
                <a:lnTo>
                  <a:pt x="2470" y="714"/>
                </a:lnTo>
                <a:lnTo>
                  <a:pt x="2464" y="709"/>
                </a:lnTo>
                <a:lnTo>
                  <a:pt x="2466" y="701"/>
                </a:lnTo>
                <a:lnTo>
                  <a:pt x="2470" y="701"/>
                </a:lnTo>
                <a:lnTo>
                  <a:pt x="2483" y="699"/>
                </a:lnTo>
                <a:lnTo>
                  <a:pt x="2485" y="697"/>
                </a:lnTo>
                <a:lnTo>
                  <a:pt x="2497" y="699"/>
                </a:lnTo>
                <a:lnTo>
                  <a:pt x="2509" y="692"/>
                </a:lnTo>
                <a:lnTo>
                  <a:pt x="2524" y="689"/>
                </a:lnTo>
                <a:lnTo>
                  <a:pt x="2531" y="687"/>
                </a:lnTo>
                <a:lnTo>
                  <a:pt x="2532" y="687"/>
                </a:lnTo>
                <a:lnTo>
                  <a:pt x="2556" y="682"/>
                </a:lnTo>
                <a:lnTo>
                  <a:pt x="2570" y="679"/>
                </a:lnTo>
                <a:lnTo>
                  <a:pt x="2582" y="675"/>
                </a:lnTo>
                <a:lnTo>
                  <a:pt x="2597" y="672"/>
                </a:lnTo>
                <a:lnTo>
                  <a:pt x="2611" y="668"/>
                </a:lnTo>
                <a:lnTo>
                  <a:pt x="2614" y="672"/>
                </a:lnTo>
                <a:lnTo>
                  <a:pt x="2619" y="663"/>
                </a:lnTo>
                <a:lnTo>
                  <a:pt x="2626" y="662"/>
                </a:lnTo>
                <a:lnTo>
                  <a:pt x="2631" y="656"/>
                </a:lnTo>
                <a:lnTo>
                  <a:pt x="2633" y="648"/>
                </a:lnTo>
                <a:lnTo>
                  <a:pt x="2640" y="638"/>
                </a:lnTo>
                <a:lnTo>
                  <a:pt x="2640" y="634"/>
                </a:lnTo>
                <a:lnTo>
                  <a:pt x="2641" y="633"/>
                </a:lnTo>
                <a:lnTo>
                  <a:pt x="2641" y="629"/>
                </a:lnTo>
                <a:lnTo>
                  <a:pt x="2648" y="626"/>
                </a:lnTo>
                <a:lnTo>
                  <a:pt x="2653" y="619"/>
                </a:lnTo>
                <a:lnTo>
                  <a:pt x="2655" y="621"/>
                </a:lnTo>
                <a:lnTo>
                  <a:pt x="2662" y="612"/>
                </a:lnTo>
                <a:lnTo>
                  <a:pt x="2662" y="609"/>
                </a:lnTo>
                <a:lnTo>
                  <a:pt x="2668" y="607"/>
                </a:lnTo>
                <a:lnTo>
                  <a:pt x="2679" y="600"/>
                </a:lnTo>
                <a:lnTo>
                  <a:pt x="2680" y="602"/>
                </a:lnTo>
                <a:lnTo>
                  <a:pt x="2685" y="590"/>
                </a:lnTo>
                <a:lnTo>
                  <a:pt x="2692" y="590"/>
                </a:lnTo>
                <a:lnTo>
                  <a:pt x="2694" y="585"/>
                </a:lnTo>
                <a:lnTo>
                  <a:pt x="2701" y="580"/>
                </a:lnTo>
                <a:lnTo>
                  <a:pt x="2706" y="583"/>
                </a:lnTo>
                <a:lnTo>
                  <a:pt x="2714" y="580"/>
                </a:lnTo>
                <a:lnTo>
                  <a:pt x="2719" y="577"/>
                </a:lnTo>
                <a:lnTo>
                  <a:pt x="2730" y="571"/>
                </a:lnTo>
                <a:lnTo>
                  <a:pt x="2736" y="566"/>
                </a:lnTo>
                <a:lnTo>
                  <a:pt x="2735" y="558"/>
                </a:lnTo>
                <a:lnTo>
                  <a:pt x="2742" y="549"/>
                </a:lnTo>
                <a:lnTo>
                  <a:pt x="2736" y="548"/>
                </a:lnTo>
                <a:lnTo>
                  <a:pt x="2740" y="543"/>
                </a:lnTo>
                <a:lnTo>
                  <a:pt x="2736" y="536"/>
                </a:lnTo>
                <a:lnTo>
                  <a:pt x="2736" y="527"/>
                </a:lnTo>
                <a:lnTo>
                  <a:pt x="2743" y="524"/>
                </a:lnTo>
                <a:lnTo>
                  <a:pt x="2743" y="514"/>
                </a:lnTo>
                <a:lnTo>
                  <a:pt x="2750" y="507"/>
                </a:lnTo>
                <a:lnTo>
                  <a:pt x="2750" y="497"/>
                </a:lnTo>
                <a:lnTo>
                  <a:pt x="2752" y="491"/>
                </a:lnTo>
                <a:lnTo>
                  <a:pt x="2755" y="488"/>
                </a:lnTo>
                <a:lnTo>
                  <a:pt x="2755" y="478"/>
                </a:lnTo>
                <a:lnTo>
                  <a:pt x="2759" y="469"/>
                </a:lnTo>
                <a:lnTo>
                  <a:pt x="2762" y="466"/>
                </a:lnTo>
                <a:lnTo>
                  <a:pt x="2757" y="459"/>
                </a:lnTo>
                <a:lnTo>
                  <a:pt x="2764" y="454"/>
                </a:lnTo>
                <a:lnTo>
                  <a:pt x="2762" y="449"/>
                </a:lnTo>
                <a:lnTo>
                  <a:pt x="2765" y="440"/>
                </a:lnTo>
                <a:lnTo>
                  <a:pt x="2765" y="432"/>
                </a:lnTo>
                <a:lnTo>
                  <a:pt x="2769" y="423"/>
                </a:lnTo>
                <a:lnTo>
                  <a:pt x="2769" y="420"/>
                </a:lnTo>
                <a:lnTo>
                  <a:pt x="2776" y="417"/>
                </a:lnTo>
                <a:lnTo>
                  <a:pt x="2776" y="406"/>
                </a:lnTo>
                <a:lnTo>
                  <a:pt x="2779" y="403"/>
                </a:lnTo>
                <a:lnTo>
                  <a:pt x="2786" y="408"/>
                </a:lnTo>
                <a:lnTo>
                  <a:pt x="2786" y="415"/>
                </a:lnTo>
                <a:lnTo>
                  <a:pt x="2794" y="412"/>
                </a:lnTo>
                <a:lnTo>
                  <a:pt x="2798" y="405"/>
                </a:lnTo>
                <a:lnTo>
                  <a:pt x="2793" y="396"/>
                </a:lnTo>
                <a:lnTo>
                  <a:pt x="2803" y="393"/>
                </a:lnTo>
                <a:lnTo>
                  <a:pt x="2808" y="383"/>
                </a:lnTo>
                <a:lnTo>
                  <a:pt x="2811" y="386"/>
                </a:lnTo>
                <a:lnTo>
                  <a:pt x="2816" y="384"/>
                </a:lnTo>
                <a:lnTo>
                  <a:pt x="2813" y="378"/>
                </a:lnTo>
                <a:lnTo>
                  <a:pt x="2813" y="372"/>
                </a:lnTo>
                <a:lnTo>
                  <a:pt x="2818" y="376"/>
                </a:lnTo>
                <a:lnTo>
                  <a:pt x="2821" y="372"/>
                </a:lnTo>
                <a:lnTo>
                  <a:pt x="2830" y="376"/>
                </a:lnTo>
                <a:lnTo>
                  <a:pt x="2832" y="372"/>
                </a:lnTo>
                <a:lnTo>
                  <a:pt x="2828" y="366"/>
                </a:lnTo>
                <a:lnTo>
                  <a:pt x="2837" y="362"/>
                </a:lnTo>
                <a:lnTo>
                  <a:pt x="2838" y="366"/>
                </a:lnTo>
                <a:lnTo>
                  <a:pt x="2845" y="359"/>
                </a:lnTo>
                <a:lnTo>
                  <a:pt x="2857" y="355"/>
                </a:lnTo>
                <a:lnTo>
                  <a:pt x="2861" y="352"/>
                </a:lnTo>
                <a:lnTo>
                  <a:pt x="2862" y="342"/>
                </a:lnTo>
                <a:lnTo>
                  <a:pt x="2866" y="340"/>
                </a:lnTo>
                <a:lnTo>
                  <a:pt x="2871" y="340"/>
                </a:lnTo>
                <a:lnTo>
                  <a:pt x="2869" y="347"/>
                </a:lnTo>
                <a:lnTo>
                  <a:pt x="2876" y="347"/>
                </a:lnTo>
                <a:lnTo>
                  <a:pt x="2876" y="338"/>
                </a:lnTo>
                <a:lnTo>
                  <a:pt x="2884" y="337"/>
                </a:lnTo>
                <a:lnTo>
                  <a:pt x="2883" y="343"/>
                </a:lnTo>
                <a:lnTo>
                  <a:pt x="2888" y="347"/>
                </a:lnTo>
                <a:lnTo>
                  <a:pt x="2889" y="345"/>
                </a:lnTo>
                <a:lnTo>
                  <a:pt x="2895" y="335"/>
                </a:lnTo>
                <a:lnTo>
                  <a:pt x="2905" y="335"/>
                </a:lnTo>
                <a:lnTo>
                  <a:pt x="2906" y="337"/>
                </a:lnTo>
                <a:lnTo>
                  <a:pt x="2908" y="335"/>
                </a:lnTo>
                <a:lnTo>
                  <a:pt x="2910" y="337"/>
                </a:lnTo>
                <a:lnTo>
                  <a:pt x="2917" y="335"/>
                </a:lnTo>
                <a:lnTo>
                  <a:pt x="2918" y="330"/>
                </a:lnTo>
                <a:lnTo>
                  <a:pt x="2927" y="323"/>
                </a:lnTo>
                <a:lnTo>
                  <a:pt x="2925" y="316"/>
                </a:lnTo>
                <a:lnTo>
                  <a:pt x="2929" y="311"/>
                </a:lnTo>
                <a:lnTo>
                  <a:pt x="2929" y="304"/>
                </a:lnTo>
                <a:lnTo>
                  <a:pt x="2937" y="299"/>
                </a:lnTo>
                <a:lnTo>
                  <a:pt x="2937" y="291"/>
                </a:lnTo>
                <a:lnTo>
                  <a:pt x="2949" y="292"/>
                </a:lnTo>
                <a:lnTo>
                  <a:pt x="2956" y="286"/>
                </a:lnTo>
                <a:lnTo>
                  <a:pt x="2959" y="286"/>
                </a:lnTo>
                <a:lnTo>
                  <a:pt x="2966" y="294"/>
                </a:lnTo>
                <a:lnTo>
                  <a:pt x="2973" y="294"/>
                </a:lnTo>
                <a:lnTo>
                  <a:pt x="2978" y="284"/>
                </a:lnTo>
                <a:lnTo>
                  <a:pt x="2985" y="279"/>
                </a:lnTo>
                <a:lnTo>
                  <a:pt x="2981" y="269"/>
                </a:lnTo>
                <a:lnTo>
                  <a:pt x="2991" y="269"/>
                </a:lnTo>
                <a:lnTo>
                  <a:pt x="2993" y="262"/>
                </a:lnTo>
                <a:lnTo>
                  <a:pt x="3002" y="260"/>
                </a:lnTo>
                <a:lnTo>
                  <a:pt x="3012" y="257"/>
                </a:lnTo>
                <a:lnTo>
                  <a:pt x="3022" y="252"/>
                </a:lnTo>
                <a:lnTo>
                  <a:pt x="3027" y="243"/>
                </a:lnTo>
                <a:lnTo>
                  <a:pt x="3025" y="236"/>
                </a:lnTo>
                <a:lnTo>
                  <a:pt x="3027" y="231"/>
                </a:lnTo>
                <a:lnTo>
                  <a:pt x="3027" y="221"/>
                </a:lnTo>
                <a:lnTo>
                  <a:pt x="3032" y="223"/>
                </a:lnTo>
                <a:lnTo>
                  <a:pt x="3041" y="216"/>
                </a:lnTo>
                <a:lnTo>
                  <a:pt x="3048" y="214"/>
                </a:lnTo>
                <a:lnTo>
                  <a:pt x="3053" y="209"/>
                </a:lnTo>
                <a:lnTo>
                  <a:pt x="3058" y="202"/>
                </a:lnTo>
                <a:lnTo>
                  <a:pt x="3056" y="199"/>
                </a:lnTo>
                <a:lnTo>
                  <a:pt x="3054" y="189"/>
                </a:lnTo>
                <a:lnTo>
                  <a:pt x="3061" y="187"/>
                </a:lnTo>
                <a:lnTo>
                  <a:pt x="3070" y="184"/>
                </a:lnTo>
                <a:lnTo>
                  <a:pt x="3076" y="175"/>
                </a:lnTo>
                <a:lnTo>
                  <a:pt x="3085" y="172"/>
                </a:lnTo>
                <a:lnTo>
                  <a:pt x="3088" y="167"/>
                </a:lnTo>
                <a:lnTo>
                  <a:pt x="3087" y="158"/>
                </a:lnTo>
                <a:lnTo>
                  <a:pt x="3093" y="150"/>
                </a:lnTo>
                <a:lnTo>
                  <a:pt x="3100" y="144"/>
                </a:lnTo>
                <a:lnTo>
                  <a:pt x="3110" y="141"/>
                </a:lnTo>
                <a:lnTo>
                  <a:pt x="3116" y="138"/>
                </a:lnTo>
                <a:lnTo>
                  <a:pt x="3119" y="131"/>
                </a:lnTo>
                <a:lnTo>
                  <a:pt x="3127" y="127"/>
                </a:lnTo>
                <a:lnTo>
                  <a:pt x="3133" y="124"/>
                </a:lnTo>
                <a:lnTo>
                  <a:pt x="3138" y="119"/>
                </a:lnTo>
                <a:lnTo>
                  <a:pt x="3146" y="119"/>
                </a:lnTo>
                <a:lnTo>
                  <a:pt x="3156" y="119"/>
                </a:lnTo>
                <a:lnTo>
                  <a:pt x="3161" y="119"/>
                </a:lnTo>
                <a:lnTo>
                  <a:pt x="3172" y="119"/>
                </a:lnTo>
                <a:lnTo>
                  <a:pt x="3184" y="122"/>
                </a:lnTo>
                <a:lnTo>
                  <a:pt x="3189" y="121"/>
                </a:lnTo>
                <a:lnTo>
                  <a:pt x="3194" y="116"/>
                </a:lnTo>
                <a:lnTo>
                  <a:pt x="3197" y="116"/>
                </a:lnTo>
                <a:lnTo>
                  <a:pt x="3207" y="117"/>
                </a:lnTo>
                <a:lnTo>
                  <a:pt x="3214" y="116"/>
                </a:lnTo>
                <a:lnTo>
                  <a:pt x="3221" y="109"/>
                </a:lnTo>
                <a:lnTo>
                  <a:pt x="3226" y="109"/>
                </a:lnTo>
                <a:lnTo>
                  <a:pt x="3231" y="104"/>
                </a:lnTo>
                <a:lnTo>
                  <a:pt x="3240" y="100"/>
                </a:lnTo>
                <a:lnTo>
                  <a:pt x="3250" y="100"/>
                </a:lnTo>
                <a:lnTo>
                  <a:pt x="3253" y="99"/>
                </a:lnTo>
                <a:lnTo>
                  <a:pt x="3265" y="97"/>
                </a:lnTo>
                <a:lnTo>
                  <a:pt x="3263" y="90"/>
                </a:lnTo>
                <a:lnTo>
                  <a:pt x="3272" y="87"/>
                </a:lnTo>
                <a:lnTo>
                  <a:pt x="3277" y="87"/>
                </a:lnTo>
                <a:lnTo>
                  <a:pt x="3287" y="90"/>
                </a:lnTo>
                <a:lnTo>
                  <a:pt x="3294" y="82"/>
                </a:lnTo>
                <a:lnTo>
                  <a:pt x="3297" y="75"/>
                </a:lnTo>
                <a:lnTo>
                  <a:pt x="3303" y="68"/>
                </a:lnTo>
                <a:lnTo>
                  <a:pt x="3301" y="59"/>
                </a:lnTo>
                <a:lnTo>
                  <a:pt x="3301" y="49"/>
                </a:lnTo>
                <a:lnTo>
                  <a:pt x="3306" y="42"/>
                </a:lnTo>
                <a:lnTo>
                  <a:pt x="3311" y="41"/>
                </a:lnTo>
                <a:lnTo>
                  <a:pt x="3314" y="36"/>
                </a:lnTo>
                <a:lnTo>
                  <a:pt x="3314" y="29"/>
                </a:lnTo>
                <a:lnTo>
                  <a:pt x="3321" y="24"/>
                </a:lnTo>
                <a:lnTo>
                  <a:pt x="3331" y="25"/>
                </a:lnTo>
                <a:lnTo>
                  <a:pt x="3340" y="24"/>
                </a:lnTo>
                <a:lnTo>
                  <a:pt x="3350" y="24"/>
                </a:lnTo>
                <a:lnTo>
                  <a:pt x="3357" y="20"/>
                </a:lnTo>
                <a:lnTo>
                  <a:pt x="3360" y="17"/>
                </a:lnTo>
                <a:lnTo>
                  <a:pt x="3369" y="13"/>
                </a:lnTo>
                <a:lnTo>
                  <a:pt x="3379" y="19"/>
                </a:lnTo>
                <a:lnTo>
                  <a:pt x="3386" y="17"/>
                </a:lnTo>
                <a:lnTo>
                  <a:pt x="3394" y="17"/>
                </a:lnTo>
                <a:lnTo>
                  <a:pt x="3399" y="22"/>
                </a:lnTo>
                <a:lnTo>
                  <a:pt x="3401" y="19"/>
                </a:lnTo>
                <a:lnTo>
                  <a:pt x="3406" y="20"/>
                </a:lnTo>
                <a:lnTo>
                  <a:pt x="3418" y="15"/>
                </a:lnTo>
                <a:lnTo>
                  <a:pt x="3420" y="13"/>
                </a:lnTo>
                <a:lnTo>
                  <a:pt x="3433" y="12"/>
                </a:lnTo>
                <a:lnTo>
                  <a:pt x="3435" y="12"/>
                </a:lnTo>
                <a:lnTo>
                  <a:pt x="3445" y="13"/>
                </a:lnTo>
                <a:lnTo>
                  <a:pt x="3449" y="13"/>
                </a:lnTo>
                <a:lnTo>
                  <a:pt x="3452" y="7"/>
                </a:lnTo>
                <a:lnTo>
                  <a:pt x="3464" y="5"/>
                </a:lnTo>
                <a:lnTo>
                  <a:pt x="3471" y="8"/>
                </a:lnTo>
                <a:lnTo>
                  <a:pt x="3476" y="3"/>
                </a:lnTo>
                <a:lnTo>
                  <a:pt x="3483" y="0"/>
                </a:lnTo>
                <a:lnTo>
                  <a:pt x="3488" y="3"/>
                </a:lnTo>
                <a:lnTo>
                  <a:pt x="3500" y="5"/>
                </a:lnTo>
                <a:lnTo>
                  <a:pt x="3503" y="5"/>
                </a:lnTo>
                <a:lnTo>
                  <a:pt x="3513" y="5"/>
                </a:lnTo>
                <a:lnTo>
                  <a:pt x="3522" y="10"/>
                </a:lnTo>
                <a:lnTo>
                  <a:pt x="3529" y="13"/>
                </a:lnTo>
                <a:lnTo>
                  <a:pt x="3537" y="13"/>
                </a:lnTo>
                <a:lnTo>
                  <a:pt x="3542" y="19"/>
                </a:lnTo>
                <a:lnTo>
                  <a:pt x="3554" y="17"/>
                </a:lnTo>
                <a:lnTo>
                  <a:pt x="3563" y="24"/>
                </a:lnTo>
                <a:lnTo>
                  <a:pt x="3564" y="27"/>
                </a:lnTo>
                <a:lnTo>
                  <a:pt x="3578" y="27"/>
                </a:lnTo>
                <a:lnTo>
                  <a:pt x="3580" y="34"/>
                </a:lnTo>
                <a:lnTo>
                  <a:pt x="3588" y="36"/>
                </a:lnTo>
                <a:lnTo>
                  <a:pt x="3592" y="39"/>
                </a:lnTo>
                <a:lnTo>
                  <a:pt x="3598" y="42"/>
                </a:lnTo>
                <a:lnTo>
                  <a:pt x="3605" y="49"/>
                </a:lnTo>
                <a:lnTo>
                  <a:pt x="3614" y="46"/>
                </a:lnTo>
                <a:lnTo>
                  <a:pt x="3622" y="46"/>
                </a:lnTo>
                <a:lnTo>
                  <a:pt x="3632" y="46"/>
                </a:lnTo>
                <a:lnTo>
                  <a:pt x="3639" y="53"/>
                </a:lnTo>
                <a:lnTo>
                  <a:pt x="3643" y="59"/>
                </a:lnTo>
                <a:lnTo>
                  <a:pt x="3648" y="61"/>
                </a:lnTo>
                <a:lnTo>
                  <a:pt x="3654" y="59"/>
                </a:lnTo>
                <a:lnTo>
                  <a:pt x="3660" y="59"/>
                </a:lnTo>
                <a:lnTo>
                  <a:pt x="3671" y="59"/>
                </a:lnTo>
                <a:lnTo>
                  <a:pt x="3677" y="58"/>
                </a:lnTo>
                <a:lnTo>
                  <a:pt x="3687" y="56"/>
                </a:lnTo>
                <a:lnTo>
                  <a:pt x="3697" y="51"/>
                </a:lnTo>
                <a:lnTo>
                  <a:pt x="3700" y="51"/>
                </a:lnTo>
                <a:lnTo>
                  <a:pt x="3704" y="53"/>
                </a:lnTo>
                <a:lnTo>
                  <a:pt x="3717" y="54"/>
                </a:lnTo>
                <a:lnTo>
                  <a:pt x="3728" y="53"/>
                </a:lnTo>
                <a:lnTo>
                  <a:pt x="3738" y="56"/>
                </a:lnTo>
                <a:lnTo>
                  <a:pt x="3746" y="49"/>
                </a:lnTo>
                <a:lnTo>
                  <a:pt x="3758" y="51"/>
                </a:lnTo>
                <a:lnTo>
                  <a:pt x="3762" y="49"/>
                </a:lnTo>
                <a:lnTo>
                  <a:pt x="3772" y="48"/>
                </a:lnTo>
                <a:lnTo>
                  <a:pt x="3780" y="48"/>
                </a:lnTo>
                <a:lnTo>
                  <a:pt x="3790" y="44"/>
                </a:lnTo>
                <a:lnTo>
                  <a:pt x="3801" y="46"/>
                </a:lnTo>
                <a:lnTo>
                  <a:pt x="3802" y="48"/>
                </a:lnTo>
                <a:lnTo>
                  <a:pt x="3816" y="48"/>
                </a:lnTo>
                <a:lnTo>
                  <a:pt x="3826" y="51"/>
                </a:lnTo>
                <a:lnTo>
                  <a:pt x="3828" y="54"/>
                </a:lnTo>
                <a:lnTo>
                  <a:pt x="3833" y="51"/>
                </a:lnTo>
                <a:lnTo>
                  <a:pt x="3840" y="53"/>
                </a:lnTo>
                <a:lnTo>
                  <a:pt x="3847" y="56"/>
                </a:lnTo>
                <a:lnTo>
                  <a:pt x="3857" y="59"/>
                </a:lnTo>
                <a:lnTo>
                  <a:pt x="3858" y="59"/>
                </a:lnTo>
                <a:lnTo>
                  <a:pt x="3870" y="54"/>
                </a:lnTo>
                <a:lnTo>
                  <a:pt x="3877" y="54"/>
                </a:lnTo>
                <a:lnTo>
                  <a:pt x="3882" y="58"/>
                </a:lnTo>
                <a:lnTo>
                  <a:pt x="3889" y="65"/>
                </a:lnTo>
                <a:lnTo>
                  <a:pt x="3899" y="63"/>
                </a:lnTo>
                <a:lnTo>
                  <a:pt x="3904" y="65"/>
                </a:lnTo>
                <a:lnTo>
                  <a:pt x="3908" y="75"/>
                </a:lnTo>
                <a:lnTo>
                  <a:pt x="3914" y="80"/>
                </a:lnTo>
                <a:lnTo>
                  <a:pt x="3913" y="80"/>
                </a:lnTo>
                <a:lnTo>
                  <a:pt x="3914" y="80"/>
                </a:lnTo>
                <a:lnTo>
                  <a:pt x="3921" y="109"/>
                </a:lnTo>
                <a:lnTo>
                  <a:pt x="3923" y="110"/>
                </a:lnTo>
                <a:lnTo>
                  <a:pt x="3952" y="213"/>
                </a:lnTo>
                <a:lnTo>
                  <a:pt x="3969" y="270"/>
                </a:lnTo>
                <a:lnTo>
                  <a:pt x="3972" y="286"/>
                </a:lnTo>
                <a:lnTo>
                  <a:pt x="3972" y="294"/>
                </a:lnTo>
                <a:lnTo>
                  <a:pt x="3971" y="304"/>
                </a:lnTo>
                <a:lnTo>
                  <a:pt x="3967" y="342"/>
                </a:lnTo>
                <a:lnTo>
                  <a:pt x="3969" y="361"/>
                </a:lnTo>
                <a:lnTo>
                  <a:pt x="3996" y="391"/>
                </a:lnTo>
                <a:lnTo>
                  <a:pt x="4003" y="401"/>
                </a:lnTo>
                <a:lnTo>
                  <a:pt x="4003" y="425"/>
                </a:lnTo>
                <a:lnTo>
                  <a:pt x="4020" y="469"/>
                </a:lnTo>
                <a:lnTo>
                  <a:pt x="4049" y="486"/>
                </a:lnTo>
                <a:lnTo>
                  <a:pt x="4049" y="495"/>
                </a:lnTo>
                <a:lnTo>
                  <a:pt x="4050" y="500"/>
                </a:lnTo>
                <a:lnTo>
                  <a:pt x="4054" y="548"/>
                </a:lnTo>
                <a:lnTo>
                  <a:pt x="4064" y="566"/>
                </a:lnTo>
                <a:lnTo>
                  <a:pt x="4071" y="578"/>
                </a:lnTo>
                <a:lnTo>
                  <a:pt x="4073" y="580"/>
                </a:lnTo>
                <a:lnTo>
                  <a:pt x="4078" y="621"/>
                </a:lnTo>
                <a:lnTo>
                  <a:pt x="4076" y="653"/>
                </a:lnTo>
                <a:lnTo>
                  <a:pt x="4073" y="682"/>
                </a:lnTo>
                <a:lnTo>
                  <a:pt x="4073" y="714"/>
                </a:lnTo>
                <a:lnTo>
                  <a:pt x="4074" y="745"/>
                </a:lnTo>
                <a:lnTo>
                  <a:pt x="4076" y="782"/>
                </a:lnTo>
                <a:lnTo>
                  <a:pt x="4076" y="801"/>
                </a:lnTo>
                <a:lnTo>
                  <a:pt x="4076" y="813"/>
                </a:lnTo>
                <a:lnTo>
                  <a:pt x="4076" y="815"/>
                </a:lnTo>
                <a:lnTo>
                  <a:pt x="4074" y="830"/>
                </a:lnTo>
                <a:lnTo>
                  <a:pt x="4071" y="847"/>
                </a:lnTo>
                <a:lnTo>
                  <a:pt x="4069" y="859"/>
                </a:lnTo>
                <a:lnTo>
                  <a:pt x="4069" y="867"/>
                </a:lnTo>
                <a:lnTo>
                  <a:pt x="4069" y="869"/>
                </a:lnTo>
                <a:lnTo>
                  <a:pt x="4062" y="878"/>
                </a:lnTo>
                <a:lnTo>
                  <a:pt x="4062" y="879"/>
                </a:lnTo>
                <a:lnTo>
                  <a:pt x="4059" y="888"/>
                </a:lnTo>
                <a:lnTo>
                  <a:pt x="4059" y="891"/>
                </a:lnTo>
                <a:lnTo>
                  <a:pt x="4057" y="901"/>
                </a:lnTo>
                <a:lnTo>
                  <a:pt x="4059" y="905"/>
                </a:lnTo>
                <a:lnTo>
                  <a:pt x="4062" y="905"/>
                </a:lnTo>
                <a:lnTo>
                  <a:pt x="4062" y="922"/>
                </a:lnTo>
                <a:lnTo>
                  <a:pt x="4064" y="932"/>
                </a:lnTo>
                <a:lnTo>
                  <a:pt x="4064" y="937"/>
                </a:lnTo>
                <a:lnTo>
                  <a:pt x="4061" y="946"/>
                </a:lnTo>
                <a:lnTo>
                  <a:pt x="4056" y="951"/>
                </a:lnTo>
                <a:lnTo>
                  <a:pt x="4054" y="958"/>
                </a:lnTo>
                <a:lnTo>
                  <a:pt x="4052" y="963"/>
                </a:lnTo>
                <a:lnTo>
                  <a:pt x="4050" y="968"/>
                </a:lnTo>
                <a:lnTo>
                  <a:pt x="4047" y="975"/>
                </a:lnTo>
                <a:lnTo>
                  <a:pt x="4044" y="983"/>
                </a:lnTo>
                <a:lnTo>
                  <a:pt x="4042" y="990"/>
                </a:lnTo>
                <a:lnTo>
                  <a:pt x="4052" y="1019"/>
                </a:lnTo>
                <a:lnTo>
                  <a:pt x="4035" y="1026"/>
                </a:lnTo>
                <a:lnTo>
                  <a:pt x="4027" y="1031"/>
                </a:lnTo>
                <a:lnTo>
                  <a:pt x="4023" y="1031"/>
                </a:lnTo>
                <a:lnTo>
                  <a:pt x="4013" y="1024"/>
                </a:lnTo>
                <a:lnTo>
                  <a:pt x="4005" y="1019"/>
                </a:lnTo>
                <a:lnTo>
                  <a:pt x="3996" y="1014"/>
                </a:lnTo>
                <a:lnTo>
                  <a:pt x="3986" y="1007"/>
                </a:lnTo>
                <a:lnTo>
                  <a:pt x="3957" y="988"/>
                </a:lnTo>
                <a:lnTo>
                  <a:pt x="3952" y="985"/>
                </a:lnTo>
                <a:lnTo>
                  <a:pt x="3947" y="981"/>
                </a:lnTo>
                <a:lnTo>
                  <a:pt x="3940" y="976"/>
                </a:lnTo>
                <a:lnTo>
                  <a:pt x="3930" y="969"/>
                </a:lnTo>
                <a:lnTo>
                  <a:pt x="3928" y="968"/>
                </a:lnTo>
                <a:lnTo>
                  <a:pt x="3921" y="964"/>
                </a:lnTo>
                <a:lnTo>
                  <a:pt x="3909" y="956"/>
                </a:lnTo>
                <a:lnTo>
                  <a:pt x="3899" y="959"/>
                </a:lnTo>
                <a:lnTo>
                  <a:pt x="3882" y="963"/>
                </a:lnTo>
                <a:lnTo>
                  <a:pt x="3869" y="981"/>
                </a:lnTo>
                <a:lnTo>
                  <a:pt x="3862" y="986"/>
                </a:lnTo>
                <a:lnTo>
                  <a:pt x="3847" y="998"/>
                </a:lnTo>
                <a:lnTo>
                  <a:pt x="3840" y="1005"/>
                </a:lnTo>
                <a:lnTo>
                  <a:pt x="3831" y="1010"/>
                </a:lnTo>
                <a:lnTo>
                  <a:pt x="3830" y="1021"/>
                </a:lnTo>
                <a:lnTo>
                  <a:pt x="3828" y="1027"/>
                </a:lnTo>
                <a:lnTo>
                  <a:pt x="3824" y="1032"/>
                </a:lnTo>
                <a:lnTo>
                  <a:pt x="3821" y="1039"/>
                </a:lnTo>
                <a:lnTo>
                  <a:pt x="3816" y="1049"/>
                </a:lnTo>
                <a:lnTo>
                  <a:pt x="3811" y="1060"/>
                </a:lnTo>
                <a:lnTo>
                  <a:pt x="3801" y="1073"/>
                </a:lnTo>
                <a:lnTo>
                  <a:pt x="3796" y="1083"/>
                </a:lnTo>
                <a:lnTo>
                  <a:pt x="3794" y="1089"/>
                </a:lnTo>
                <a:lnTo>
                  <a:pt x="3789" y="1095"/>
                </a:lnTo>
                <a:lnTo>
                  <a:pt x="3785" y="1100"/>
                </a:lnTo>
                <a:lnTo>
                  <a:pt x="3768" y="1116"/>
                </a:lnTo>
                <a:lnTo>
                  <a:pt x="3767" y="1117"/>
                </a:lnTo>
                <a:lnTo>
                  <a:pt x="3762" y="1124"/>
                </a:lnTo>
                <a:lnTo>
                  <a:pt x="3756" y="1134"/>
                </a:lnTo>
                <a:lnTo>
                  <a:pt x="3750" y="1141"/>
                </a:lnTo>
                <a:lnTo>
                  <a:pt x="3746" y="1148"/>
                </a:lnTo>
                <a:lnTo>
                  <a:pt x="3743" y="1157"/>
                </a:lnTo>
                <a:lnTo>
                  <a:pt x="3741" y="1165"/>
                </a:lnTo>
                <a:lnTo>
                  <a:pt x="3739" y="1172"/>
                </a:lnTo>
                <a:lnTo>
                  <a:pt x="3738" y="1184"/>
                </a:lnTo>
                <a:lnTo>
                  <a:pt x="3738" y="1192"/>
                </a:lnTo>
                <a:lnTo>
                  <a:pt x="3738" y="1204"/>
                </a:lnTo>
                <a:lnTo>
                  <a:pt x="3736" y="1204"/>
                </a:lnTo>
                <a:lnTo>
                  <a:pt x="3736" y="1206"/>
                </a:lnTo>
                <a:lnTo>
                  <a:pt x="3736" y="1214"/>
                </a:lnTo>
                <a:lnTo>
                  <a:pt x="3736" y="1220"/>
                </a:lnTo>
                <a:lnTo>
                  <a:pt x="3736" y="1221"/>
                </a:lnTo>
                <a:lnTo>
                  <a:pt x="3736" y="1231"/>
                </a:lnTo>
                <a:lnTo>
                  <a:pt x="3738" y="1242"/>
                </a:lnTo>
                <a:lnTo>
                  <a:pt x="3738" y="1243"/>
                </a:lnTo>
                <a:lnTo>
                  <a:pt x="3738" y="1248"/>
                </a:lnTo>
                <a:lnTo>
                  <a:pt x="3738" y="1250"/>
                </a:lnTo>
                <a:lnTo>
                  <a:pt x="3741" y="1255"/>
                </a:lnTo>
                <a:lnTo>
                  <a:pt x="3750" y="1250"/>
                </a:lnTo>
                <a:lnTo>
                  <a:pt x="3760" y="1245"/>
                </a:lnTo>
                <a:lnTo>
                  <a:pt x="3762" y="1240"/>
                </a:lnTo>
                <a:lnTo>
                  <a:pt x="3762" y="1247"/>
                </a:lnTo>
                <a:lnTo>
                  <a:pt x="3763" y="1252"/>
                </a:lnTo>
                <a:lnTo>
                  <a:pt x="3763" y="1259"/>
                </a:lnTo>
                <a:lnTo>
                  <a:pt x="3765" y="1260"/>
                </a:lnTo>
                <a:lnTo>
                  <a:pt x="3773" y="1267"/>
                </a:lnTo>
                <a:lnTo>
                  <a:pt x="3782" y="1274"/>
                </a:lnTo>
                <a:lnTo>
                  <a:pt x="3782" y="1277"/>
                </a:lnTo>
                <a:lnTo>
                  <a:pt x="3782" y="1286"/>
                </a:lnTo>
                <a:lnTo>
                  <a:pt x="3777" y="1296"/>
                </a:lnTo>
                <a:lnTo>
                  <a:pt x="3780" y="1301"/>
                </a:lnTo>
                <a:lnTo>
                  <a:pt x="3784" y="1308"/>
                </a:lnTo>
                <a:lnTo>
                  <a:pt x="3792" y="1317"/>
                </a:lnTo>
                <a:lnTo>
                  <a:pt x="3797" y="1318"/>
                </a:lnTo>
                <a:lnTo>
                  <a:pt x="3802" y="1323"/>
                </a:lnTo>
                <a:lnTo>
                  <a:pt x="3806" y="1328"/>
                </a:lnTo>
                <a:lnTo>
                  <a:pt x="3821" y="1347"/>
                </a:lnTo>
                <a:lnTo>
                  <a:pt x="3824" y="1352"/>
                </a:lnTo>
                <a:lnTo>
                  <a:pt x="3840" y="1357"/>
                </a:lnTo>
                <a:lnTo>
                  <a:pt x="3845" y="1359"/>
                </a:lnTo>
                <a:lnTo>
                  <a:pt x="3857" y="1362"/>
                </a:lnTo>
                <a:close/>
                <a:moveTo>
                  <a:pt x="467" y="3106"/>
                </a:moveTo>
                <a:lnTo>
                  <a:pt x="469" y="3111"/>
                </a:lnTo>
                <a:lnTo>
                  <a:pt x="465" y="3113"/>
                </a:lnTo>
                <a:lnTo>
                  <a:pt x="462" y="3108"/>
                </a:lnTo>
                <a:lnTo>
                  <a:pt x="467" y="3106"/>
                </a:lnTo>
                <a:close/>
                <a:moveTo>
                  <a:pt x="394" y="3006"/>
                </a:moveTo>
                <a:lnTo>
                  <a:pt x="399" y="3009"/>
                </a:lnTo>
                <a:lnTo>
                  <a:pt x="394" y="3011"/>
                </a:lnTo>
                <a:lnTo>
                  <a:pt x="394" y="300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48122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現地通貨であるランドについては、持ち込みも持ち出しも</a:t>
            </a:r>
            <a:r>
              <a:rPr lang="en-US" altLang="ja-JP" dirty="0"/>
              <a:t>25,000</a:t>
            </a:r>
            <a:r>
              <a:rPr lang="ja-JP" altLang="en-US" dirty="0"/>
              <a:t>ランドまでと制限されている。</a:t>
            </a:r>
            <a:endParaRPr lang="en-US" altLang="ja-JP" dirty="0"/>
          </a:p>
          <a:p>
            <a:r>
              <a:rPr lang="ja-JP" altLang="en-US" dirty="0"/>
              <a:t>ただし、共通通貨圏内（ボツワナ、レソト、ナミビア、スワジランド、南アフリカ）での出入国の場合は無制限。</a:t>
            </a:r>
            <a:endParaRPr lang="en-US" altLang="ja-JP" dirty="0"/>
          </a:p>
        </p:txBody>
      </p:sp>
      <p:sp>
        <p:nvSpPr>
          <p:cNvPr id="28" name="角丸四角形 27"/>
          <p:cNvSpPr/>
          <p:nvPr/>
        </p:nvSpPr>
        <p:spPr>
          <a:xfrm>
            <a:off x="776536" y="237592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776536" y="424813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072680" y="4597526"/>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784648" y="3168011"/>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633634" y="2231907"/>
            <a:ext cx="2161184" cy="2173051"/>
            <a:chOff x="2287194" y="2575129"/>
            <a:chExt cx="2161184" cy="2173051"/>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36900" y="3486296"/>
              <a:ext cx="2061783" cy="126188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sz="2000"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en-US" altLang="ja-JP" sz="20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金額の制限はないが、</a:t>
              </a:r>
              <a:endPar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申告が必要</a:t>
              </a:r>
            </a:p>
            <a:p>
              <a:pPr algn="ct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5355783" y="4126243"/>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38701" y="3486296"/>
              <a:ext cx="1858201" cy="738664"/>
            </a:xfrm>
            <a:prstGeom prst="rect">
              <a:avLst/>
            </a:prstGeom>
            <a:noFill/>
          </p:spPr>
          <p:txBody>
            <a:bodyPr wrap="none" rtlCol="0">
              <a:spAutoFit/>
            </a:bodyPr>
            <a:lstStyle/>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現地通貨は</a:t>
              </a:r>
            </a:p>
            <a:p>
              <a:pPr algn="ctr"/>
              <a:r>
                <a:rPr lang="en-US" altLang="ja-JP" b="1" spc="-100" dirty="0">
                  <a:latin typeface="Arial Black" panose="020B0A04020102020204" pitchFamily="34" charset="0"/>
                  <a:ea typeface="ＭＳ Ｐゴシック" panose="020B0600070205080204" pitchFamily="50" charset="-128"/>
                  <a:cs typeface="Arial" panose="020B0604020202020204" pitchFamily="34" charset="0"/>
                </a:rPr>
                <a:t>25,000</a:t>
              </a:r>
              <a:r>
                <a:rPr lang="ja-JP" altLang="en-US" b="1" spc="-100" dirty="0">
                  <a:latin typeface="Arial Black" panose="020B0A04020102020204" pitchFamily="34" charset="0"/>
                  <a:ea typeface="ＭＳ Ｐゴシック" panose="020B0600070205080204" pitchFamily="50" charset="-128"/>
                  <a:cs typeface="Arial" panose="020B0604020202020204" pitchFamily="34" charset="0"/>
                </a:rPr>
                <a:t>ランドまで</a:t>
              </a:r>
              <a:endParaRPr lang="ja-JP" altLang="en-US" sz="1200" b="1" spc="-100" baseline="30000"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外貨は入国時申告額まで</a:t>
              </a:r>
              <a:r>
                <a:rPr lang="en-US" altLang="ja-JP" sz="1200" b="1" spc="-100" dirty="0">
                  <a:latin typeface="Arial Black" panose="020B0A04020102020204" pitchFamily="34" charset="0"/>
                  <a:ea typeface="ＭＳ Ｐゴシック" panose="020B0600070205080204" pitchFamily="50" charset="-128"/>
                  <a:cs typeface="Arial" panose="020B0604020202020204" pitchFamily="34" charset="0"/>
                </a:rPr>
                <a:t>1</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72"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199647" y="6387387"/>
            <a:ext cx="9289794" cy="276793"/>
          </a:xfrm>
          <a:prstGeom prst="rect">
            <a:avLst/>
          </a:prstGeom>
          <a:noFill/>
        </p:spPr>
        <p:txBody>
          <a:bodyPr wrap="square" lIns="0" tIns="0" rIns="0" bIns="0" rtlCol="0">
            <a:noAutofit/>
          </a:bodyPr>
          <a:lstStyle/>
          <a:p>
            <a:pPr>
              <a:lnSpc>
                <a:spcPct val="150000"/>
              </a:lnSpc>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居住者が帰国時の納税のために限度額以上のランドを持ち出す場合は、事前申請が必要。外貨については、事前申請によって、大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人当たり百万ラン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歳未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ランド相当を持ち出せ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lnSpc>
                <a:spcPct val="150000"/>
              </a:lnSpc>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南アフリカ歳入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outh Africa Revenue Service)</a:t>
            </a:r>
          </a:p>
        </p:txBody>
      </p:sp>
      <p:sp>
        <p:nvSpPr>
          <p:cNvPr id="22" name="Rectangle 1" hidden="1">
            <a:extLst>
              <a:ext uri="{FF2B5EF4-FFF2-40B4-BE49-F238E27FC236}">
                <a16:creationId xmlns:a16="http://schemas.microsoft.com/office/drawing/2014/main" id="{8DAC222F-B9F8-424B-8578-BE0800B377FD}"/>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239248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E31699-2AEB-46AF-ABB1-53AAF19E60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0E31699-2AEB-46AF-ABB1-53AAF19E60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8" name="Picture 57">
            <a:extLst>
              <a:ext uri="{FF2B5EF4-FFF2-40B4-BE49-F238E27FC236}">
                <a16:creationId xmlns:a16="http://schemas.microsoft.com/office/drawing/2014/main" id="{464BBD67-696D-43D3-8BDD-1C19D4B5B258}"/>
              </a:ext>
            </a:extLst>
          </p:cNvPr>
          <p:cNvPicPr>
            <a:picLocks noChangeAspect="1"/>
          </p:cNvPicPr>
          <p:nvPr/>
        </p:nvPicPr>
        <p:blipFill>
          <a:blip r:embed="rId6"/>
          <a:stretch>
            <a:fillRect/>
          </a:stretch>
        </p:blipFill>
        <p:spPr>
          <a:xfrm>
            <a:off x="5961112" y="4077072"/>
            <a:ext cx="1008112" cy="594712"/>
          </a:xfrm>
          <a:prstGeom prst="rect">
            <a:avLst/>
          </a:prstGeom>
        </p:spPr>
      </p:pic>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p>
        </p:txBody>
      </p:sp>
      <p:sp>
        <p:nvSpPr>
          <p:cNvPr id="4" name="テキスト プレースホルダ 1"/>
          <p:cNvSpPr txBox="1">
            <a:spLocks/>
          </p:cNvSpPr>
          <p:nvPr/>
        </p:nvSpPr>
        <p:spPr>
          <a:xfrm>
            <a:off x="199709" y="1124744"/>
            <a:ext cx="9505055" cy="814967"/>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a:buSzPct val="125000"/>
              <a:buFont typeface="Arial" panose="020B0604020202020204" pitchFamily="34" charset="0"/>
              <a:buChar char="•"/>
            </a:pPr>
            <a:r>
              <a:rPr lang="ja-JP" altLang="en-US" sz="1600" b="0" i="0" dirty="0">
                <a:solidFill>
                  <a:srgbClr val="000000"/>
                </a:solidFill>
                <a:effectLst/>
                <a:latin typeface="ヒラギノ角ゴ Pro W3"/>
              </a:rPr>
              <a:t>自動車、観光、輸出製造業、化学、情報通信、鉱業および鉱物関連産業、繊維および衣料、農産品加工、映画については、助成金支給などを通じて投資が奨励されている。</a:t>
            </a:r>
          </a:p>
          <a:p>
            <a:pPr>
              <a:buSzPct val="125000"/>
              <a:buFont typeface="Arial" panose="020B0604020202020204" pitchFamily="34" charset="0"/>
              <a:buChar char="•"/>
            </a:pPr>
            <a:r>
              <a:rPr lang="ja-JP" altLang="en-US" sz="1600" dirty="0"/>
              <a:t>全国に</a:t>
            </a:r>
            <a:r>
              <a:rPr lang="en-US" altLang="ja-JP" sz="1600" dirty="0"/>
              <a:t>10</a:t>
            </a:r>
            <a:r>
              <a:rPr lang="ja-JP" altLang="en-US" sz="1600" dirty="0"/>
              <a:t>の経済特別区（</a:t>
            </a:r>
            <a:r>
              <a:rPr lang="en-US" altLang="ja-JP" sz="1600" dirty="0"/>
              <a:t>SEZ</a:t>
            </a:r>
            <a:r>
              <a:rPr lang="ja-JP" altLang="en-US" sz="1600" dirty="0"/>
              <a:t>）があり、内資・外資ともに条件に合えば優遇措置を利用できる。（</a:t>
            </a:r>
            <a:r>
              <a:rPr lang="en-US" altLang="ja-JP" sz="1600" dirty="0"/>
              <a:t>2022</a:t>
            </a:r>
            <a:r>
              <a:rPr lang="ja-JP" altLang="en-US" sz="1600" dirty="0"/>
              <a:t>年</a:t>
            </a:r>
            <a:r>
              <a:rPr lang="en-US" altLang="ja-JP" sz="1600" dirty="0"/>
              <a:t>10</a:t>
            </a:r>
            <a:r>
              <a:rPr lang="ja-JP" altLang="en-US" sz="1600" dirty="0"/>
              <a:t>月）</a:t>
            </a:r>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dustrial Financing</a:t>
            </a:r>
          </a:p>
        </p:txBody>
      </p:sp>
      <p:sp>
        <p:nvSpPr>
          <p:cNvPr id="11" name="テキスト プレースホルダ 1">
            <a:extLst>
              <a:ext uri="{FF2B5EF4-FFF2-40B4-BE49-F238E27FC236}">
                <a16:creationId xmlns:a16="http://schemas.microsoft.com/office/drawing/2014/main" id="{45D40E34-C240-4FFB-8206-7F6AE4E08CF7}"/>
              </a:ext>
            </a:extLst>
          </p:cNvPr>
          <p:cNvSpPr txBox="1">
            <a:spLocks/>
          </p:cNvSpPr>
          <p:nvPr/>
        </p:nvSpPr>
        <p:spPr>
          <a:xfrm>
            <a:off x="7329264" y="2204864"/>
            <a:ext cx="2232248" cy="222336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en-US" altLang="ja-JP" sz="1600" b="1" dirty="0"/>
              <a:t>SEZ</a:t>
            </a:r>
            <a:r>
              <a:rPr lang="ja-JP" altLang="en-US" sz="1600" b="1" dirty="0"/>
              <a:t>での優遇措置</a:t>
            </a:r>
          </a:p>
          <a:p>
            <a:pPr>
              <a:buSzPct val="125000"/>
              <a:buFont typeface="Arial" panose="020B0604020202020204" pitchFamily="34" charset="0"/>
              <a:buChar char="•"/>
            </a:pPr>
            <a:r>
              <a:rPr lang="ja-JP" altLang="en-US" dirty="0">
                <a:latin typeface="+mj-lt"/>
              </a:rPr>
              <a:t>軽</a:t>
            </a:r>
            <a:r>
              <a:rPr lang="ja-JP" altLang="en-US" dirty="0">
                <a:solidFill>
                  <a:srgbClr val="000000"/>
                </a:solidFill>
                <a:latin typeface="+mj-lt"/>
              </a:rPr>
              <a:t>減法人税率</a:t>
            </a:r>
            <a:r>
              <a:rPr lang="en-US" altLang="ja-JP" dirty="0">
                <a:solidFill>
                  <a:srgbClr val="000000"/>
                </a:solidFill>
                <a:latin typeface="+mj-lt"/>
              </a:rPr>
              <a:t>15%</a:t>
            </a:r>
            <a:r>
              <a:rPr lang="ja-JP" altLang="en-US" dirty="0">
                <a:solidFill>
                  <a:srgbClr val="000000"/>
                </a:solidFill>
                <a:latin typeface="+mj-lt"/>
              </a:rPr>
              <a:t>の適用</a:t>
            </a:r>
          </a:p>
          <a:p>
            <a:pPr>
              <a:buSzPct val="125000"/>
              <a:buFont typeface="Arial" panose="020B0604020202020204" pitchFamily="34" charset="0"/>
              <a:buChar char="•"/>
            </a:pPr>
            <a:r>
              <a:rPr lang="ja-JP" altLang="en-US" dirty="0">
                <a:solidFill>
                  <a:srgbClr val="000000"/>
                </a:solidFill>
                <a:latin typeface="+mj-lt"/>
              </a:rPr>
              <a:t>建物および構築物の新規取得に対する</a:t>
            </a:r>
            <a:r>
              <a:rPr lang="en-US" altLang="ja-JP" dirty="0">
                <a:solidFill>
                  <a:srgbClr val="000000"/>
                </a:solidFill>
                <a:latin typeface="+mj-lt"/>
              </a:rPr>
              <a:t>10</a:t>
            </a:r>
            <a:r>
              <a:rPr lang="ja-JP" altLang="en-US" dirty="0">
                <a:solidFill>
                  <a:srgbClr val="000000"/>
                </a:solidFill>
                <a:latin typeface="+mj-lt"/>
              </a:rPr>
              <a:t>％の税額控除などの優遇措置</a:t>
            </a:r>
            <a:endParaRPr lang="en-US" altLang="ja-JP" dirty="0">
              <a:solidFill>
                <a:srgbClr val="000000"/>
              </a:solidFill>
              <a:latin typeface="+mj-lt"/>
            </a:endParaRPr>
          </a:p>
          <a:p>
            <a:pPr>
              <a:buSzPct val="125000"/>
              <a:buFont typeface="Arial" panose="020B0604020202020204" pitchFamily="34" charset="0"/>
              <a:buChar char="•"/>
            </a:pPr>
            <a:r>
              <a:rPr lang="ja-JP" altLang="en-US" dirty="0">
                <a:solidFill>
                  <a:srgbClr val="000000"/>
                </a:solidFill>
                <a:latin typeface="+mj-lt"/>
              </a:rPr>
              <a:t>装置および資産に対する関税や付加価値税・輸入税の適用が免除される保税区域の設置</a:t>
            </a:r>
          </a:p>
        </p:txBody>
      </p:sp>
      <p:sp>
        <p:nvSpPr>
          <p:cNvPr id="17" name="Rectangle 16" hidden="1">
            <a:extLst>
              <a:ext uri="{FF2B5EF4-FFF2-40B4-BE49-F238E27FC236}">
                <a16:creationId xmlns:a16="http://schemas.microsoft.com/office/drawing/2014/main" id="{EB89D0F7-23EC-45DB-8BBF-AA7769AC8A6F}"/>
              </a:ext>
            </a:extLst>
          </p:cNvPr>
          <p:cNvSpPr/>
          <p:nvPr>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grpSp>
        <p:nvGrpSpPr>
          <p:cNvPr id="18" name="Group 17">
            <a:extLst>
              <a:ext uri="{FF2B5EF4-FFF2-40B4-BE49-F238E27FC236}">
                <a16:creationId xmlns:a16="http://schemas.microsoft.com/office/drawing/2014/main" id="{D160A142-F442-49CE-8CB2-063B1EAABA51}"/>
              </a:ext>
            </a:extLst>
          </p:cNvPr>
          <p:cNvGrpSpPr/>
          <p:nvPr/>
        </p:nvGrpSpPr>
        <p:grpSpPr bwMode="gray">
          <a:xfrm>
            <a:off x="1439251" y="2551242"/>
            <a:ext cx="4597682" cy="3634100"/>
            <a:chOff x="2368550" y="615950"/>
            <a:chExt cx="6794500" cy="5370513"/>
          </a:xfrm>
        </p:grpSpPr>
        <p:sp>
          <p:nvSpPr>
            <p:cNvPr id="19" name="Freeform 8">
              <a:extLst>
                <a:ext uri="{FF2B5EF4-FFF2-40B4-BE49-F238E27FC236}">
                  <a16:creationId xmlns:a16="http://schemas.microsoft.com/office/drawing/2014/main" id="{576EF190-1344-4F71-A1C3-9656C978A663}"/>
                </a:ext>
              </a:extLst>
            </p:cNvPr>
            <p:cNvSpPr>
              <a:spLocks/>
            </p:cNvSpPr>
            <p:nvPr/>
          </p:nvSpPr>
          <p:spPr bwMode="gray">
            <a:xfrm>
              <a:off x="7473950" y="2595563"/>
              <a:ext cx="1689100" cy="1806575"/>
            </a:xfrm>
            <a:custGeom>
              <a:avLst/>
              <a:gdLst>
                <a:gd name="T0" fmla="*/ 299 w 1064"/>
                <a:gd name="T1" fmla="*/ 1085 h 1138"/>
                <a:gd name="T2" fmla="*/ 260 w 1064"/>
                <a:gd name="T3" fmla="*/ 1071 h 1138"/>
                <a:gd name="T4" fmla="*/ 241 w 1064"/>
                <a:gd name="T5" fmla="*/ 1051 h 1138"/>
                <a:gd name="T6" fmla="*/ 207 w 1064"/>
                <a:gd name="T7" fmla="*/ 1041 h 1138"/>
                <a:gd name="T8" fmla="*/ 160 w 1064"/>
                <a:gd name="T9" fmla="*/ 1024 h 1138"/>
                <a:gd name="T10" fmla="*/ 80 w 1064"/>
                <a:gd name="T11" fmla="*/ 1015 h 1138"/>
                <a:gd name="T12" fmla="*/ 56 w 1064"/>
                <a:gd name="T13" fmla="*/ 993 h 1138"/>
                <a:gd name="T14" fmla="*/ 88 w 1064"/>
                <a:gd name="T15" fmla="*/ 954 h 1138"/>
                <a:gd name="T16" fmla="*/ 75 w 1064"/>
                <a:gd name="T17" fmla="*/ 929 h 1138"/>
                <a:gd name="T18" fmla="*/ 49 w 1064"/>
                <a:gd name="T19" fmla="*/ 893 h 1138"/>
                <a:gd name="T20" fmla="*/ 24 w 1064"/>
                <a:gd name="T21" fmla="*/ 850 h 1138"/>
                <a:gd name="T22" fmla="*/ 58 w 1064"/>
                <a:gd name="T23" fmla="*/ 813 h 1138"/>
                <a:gd name="T24" fmla="*/ 73 w 1064"/>
                <a:gd name="T25" fmla="*/ 762 h 1138"/>
                <a:gd name="T26" fmla="*/ 100 w 1064"/>
                <a:gd name="T27" fmla="*/ 721 h 1138"/>
                <a:gd name="T28" fmla="*/ 141 w 1064"/>
                <a:gd name="T29" fmla="*/ 675 h 1138"/>
                <a:gd name="T30" fmla="*/ 122 w 1064"/>
                <a:gd name="T31" fmla="*/ 617 h 1138"/>
                <a:gd name="T32" fmla="*/ 71 w 1064"/>
                <a:gd name="T33" fmla="*/ 583 h 1138"/>
                <a:gd name="T34" fmla="*/ 27 w 1064"/>
                <a:gd name="T35" fmla="*/ 561 h 1138"/>
                <a:gd name="T36" fmla="*/ 8 w 1064"/>
                <a:gd name="T37" fmla="*/ 519 h 1138"/>
                <a:gd name="T38" fmla="*/ 54 w 1064"/>
                <a:gd name="T39" fmla="*/ 464 h 1138"/>
                <a:gd name="T40" fmla="*/ 102 w 1064"/>
                <a:gd name="T41" fmla="*/ 430 h 1138"/>
                <a:gd name="T42" fmla="*/ 156 w 1064"/>
                <a:gd name="T43" fmla="*/ 400 h 1138"/>
                <a:gd name="T44" fmla="*/ 202 w 1064"/>
                <a:gd name="T45" fmla="*/ 367 h 1138"/>
                <a:gd name="T46" fmla="*/ 217 w 1064"/>
                <a:gd name="T47" fmla="*/ 306 h 1138"/>
                <a:gd name="T48" fmla="*/ 229 w 1064"/>
                <a:gd name="T49" fmla="*/ 243 h 1138"/>
                <a:gd name="T50" fmla="*/ 243 w 1064"/>
                <a:gd name="T51" fmla="*/ 190 h 1138"/>
                <a:gd name="T52" fmla="*/ 262 w 1064"/>
                <a:gd name="T53" fmla="*/ 160 h 1138"/>
                <a:gd name="T54" fmla="*/ 330 w 1064"/>
                <a:gd name="T55" fmla="*/ 149 h 1138"/>
                <a:gd name="T56" fmla="*/ 394 w 1064"/>
                <a:gd name="T57" fmla="*/ 131 h 1138"/>
                <a:gd name="T58" fmla="*/ 445 w 1064"/>
                <a:gd name="T59" fmla="*/ 134 h 1138"/>
                <a:gd name="T60" fmla="*/ 508 w 1064"/>
                <a:gd name="T61" fmla="*/ 138 h 1138"/>
                <a:gd name="T62" fmla="*/ 552 w 1064"/>
                <a:gd name="T63" fmla="*/ 149 h 1138"/>
                <a:gd name="T64" fmla="*/ 603 w 1064"/>
                <a:gd name="T65" fmla="*/ 148 h 1138"/>
                <a:gd name="T66" fmla="*/ 651 w 1064"/>
                <a:gd name="T67" fmla="*/ 119 h 1138"/>
                <a:gd name="T68" fmla="*/ 715 w 1064"/>
                <a:gd name="T69" fmla="*/ 134 h 1138"/>
                <a:gd name="T70" fmla="*/ 823 w 1064"/>
                <a:gd name="T71" fmla="*/ 119 h 1138"/>
                <a:gd name="T72" fmla="*/ 829 w 1064"/>
                <a:gd name="T73" fmla="*/ 41 h 1138"/>
                <a:gd name="T74" fmla="*/ 860 w 1064"/>
                <a:gd name="T75" fmla="*/ 0 h 1138"/>
                <a:gd name="T76" fmla="*/ 919 w 1064"/>
                <a:gd name="T77" fmla="*/ 15 h 1138"/>
                <a:gd name="T78" fmla="*/ 1001 w 1064"/>
                <a:gd name="T79" fmla="*/ 15 h 1138"/>
                <a:gd name="T80" fmla="*/ 1061 w 1064"/>
                <a:gd name="T81" fmla="*/ 30 h 1138"/>
                <a:gd name="T82" fmla="*/ 1038 w 1064"/>
                <a:gd name="T83" fmla="*/ 102 h 1138"/>
                <a:gd name="T84" fmla="*/ 1011 w 1064"/>
                <a:gd name="T85" fmla="*/ 166 h 1138"/>
                <a:gd name="T86" fmla="*/ 982 w 1064"/>
                <a:gd name="T87" fmla="*/ 250 h 1138"/>
                <a:gd name="T88" fmla="*/ 964 w 1064"/>
                <a:gd name="T89" fmla="*/ 345 h 1138"/>
                <a:gd name="T90" fmla="*/ 933 w 1064"/>
                <a:gd name="T91" fmla="*/ 406 h 1138"/>
                <a:gd name="T92" fmla="*/ 908 w 1064"/>
                <a:gd name="T93" fmla="*/ 468 h 1138"/>
                <a:gd name="T94" fmla="*/ 841 w 1064"/>
                <a:gd name="T95" fmla="*/ 525 h 1138"/>
                <a:gd name="T96" fmla="*/ 826 w 1064"/>
                <a:gd name="T97" fmla="*/ 530 h 1138"/>
                <a:gd name="T98" fmla="*/ 766 w 1064"/>
                <a:gd name="T99" fmla="*/ 568 h 1138"/>
                <a:gd name="T100" fmla="*/ 700 w 1064"/>
                <a:gd name="T101" fmla="*/ 621 h 1138"/>
                <a:gd name="T102" fmla="*/ 651 w 1064"/>
                <a:gd name="T103" fmla="*/ 667 h 1138"/>
                <a:gd name="T104" fmla="*/ 603 w 1064"/>
                <a:gd name="T105" fmla="*/ 718 h 1138"/>
                <a:gd name="T106" fmla="*/ 563 w 1064"/>
                <a:gd name="T107" fmla="*/ 777 h 1138"/>
                <a:gd name="T108" fmla="*/ 540 w 1064"/>
                <a:gd name="T109" fmla="*/ 816 h 1138"/>
                <a:gd name="T110" fmla="*/ 525 w 1064"/>
                <a:gd name="T111" fmla="*/ 847 h 1138"/>
                <a:gd name="T112" fmla="*/ 481 w 1064"/>
                <a:gd name="T113" fmla="*/ 908 h 1138"/>
                <a:gd name="T114" fmla="*/ 447 w 1064"/>
                <a:gd name="T115" fmla="*/ 964 h 1138"/>
                <a:gd name="T116" fmla="*/ 401 w 1064"/>
                <a:gd name="T117" fmla="*/ 1029 h 1138"/>
                <a:gd name="T118" fmla="*/ 357 w 1064"/>
                <a:gd name="T119" fmla="*/ 108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4" h="1138">
                  <a:moveTo>
                    <a:pt x="314" y="1138"/>
                  </a:moveTo>
                  <a:lnTo>
                    <a:pt x="308" y="1129"/>
                  </a:lnTo>
                  <a:lnTo>
                    <a:pt x="309" y="1122"/>
                  </a:lnTo>
                  <a:lnTo>
                    <a:pt x="302" y="1121"/>
                  </a:lnTo>
                  <a:lnTo>
                    <a:pt x="301" y="1117"/>
                  </a:lnTo>
                  <a:lnTo>
                    <a:pt x="308" y="1109"/>
                  </a:lnTo>
                  <a:lnTo>
                    <a:pt x="301" y="1105"/>
                  </a:lnTo>
                  <a:lnTo>
                    <a:pt x="304" y="1095"/>
                  </a:lnTo>
                  <a:lnTo>
                    <a:pt x="299" y="1092"/>
                  </a:lnTo>
                  <a:lnTo>
                    <a:pt x="299" y="1085"/>
                  </a:lnTo>
                  <a:lnTo>
                    <a:pt x="285" y="1082"/>
                  </a:lnTo>
                  <a:lnTo>
                    <a:pt x="292" y="1083"/>
                  </a:lnTo>
                  <a:lnTo>
                    <a:pt x="292" y="1078"/>
                  </a:lnTo>
                  <a:lnTo>
                    <a:pt x="287" y="1080"/>
                  </a:lnTo>
                  <a:lnTo>
                    <a:pt x="285" y="1077"/>
                  </a:lnTo>
                  <a:lnTo>
                    <a:pt x="279" y="1075"/>
                  </a:lnTo>
                  <a:lnTo>
                    <a:pt x="274" y="1078"/>
                  </a:lnTo>
                  <a:lnTo>
                    <a:pt x="270" y="1070"/>
                  </a:lnTo>
                  <a:lnTo>
                    <a:pt x="268" y="1071"/>
                  </a:lnTo>
                  <a:lnTo>
                    <a:pt x="260" y="1071"/>
                  </a:lnTo>
                  <a:lnTo>
                    <a:pt x="262" y="1063"/>
                  </a:lnTo>
                  <a:lnTo>
                    <a:pt x="251" y="1065"/>
                  </a:lnTo>
                  <a:lnTo>
                    <a:pt x="257" y="1060"/>
                  </a:lnTo>
                  <a:lnTo>
                    <a:pt x="257" y="1054"/>
                  </a:lnTo>
                  <a:lnTo>
                    <a:pt x="248" y="1054"/>
                  </a:lnTo>
                  <a:lnTo>
                    <a:pt x="250" y="1060"/>
                  </a:lnTo>
                  <a:lnTo>
                    <a:pt x="245" y="1061"/>
                  </a:lnTo>
                  <a:lnTo>
                    <a:pt x="246" y="1054"/>
                  </a:lnTo>
                  <a:lnTo>
                    <a:pt x="240" y="1058"/>
                  </a:lnTo>
                  <a:lnTo>
                    <a:pt x="241" y="1051"/>
                  </a:lnTo>
                  <a:lnTo>
                    <a:pt x="231" y="1053"/>
                  </a:lnTo>
                  <a:lnTo>
                    <a:pt x="229" y="1046"/>
                  </a:lnTo>
                  <a:lnTo>
                    <a:pt x="226" y="1048"/>
                  </a:lnTo>
                  <a:lnTo>
                    <a:pt x="224" y="1041"/>
                  </a:lnTo>
                  <a:lnTo>
                    <a:pt x="219" y="1044"/>
                  </a:lnTo>
                  <a:lnTo>
                    <a:pt x="221" y="1036"/>
                  </a:lnTo>
                  <a:lnTo>
                    <a:pt x="217" y="1037"/>
                  </a:lnTo>
                  <a:lnTo>
                    <a:pt x="214" y="1034"/>
                  </a:lnTo>
                  <a:lnTo>
                    <a:pt x="214" y="1039"/>
                  </a:lnTo>
                  <a:lnTo>
                    <a:pt x="207" y="1041"/>
                  </a:lnTo>
                  <a:lnTo>
                    <a:pt x="206" y="1037"/>
                  </a:lnTo>
                  <a:lnTo>
                    <a:pt x="202" y="1043"/>
                  </a:lnTo>
                  <a:lnTo>
                    <a:pt x="200" y="1037"/>
                  </a:lnTo>
                  <a:lnTo>
                    <a:pt x="192" y="1037"/>
                  </a:lnTo>
                  <a:lnTo>
                    <a:pt x="187" y="1027"/>
                  </a:lnTo>
                  <a:lnTo>
                    <a:pt x="180" y="1032"/>
                  </a:lnTo>
                  <a:lnTo>
                    <a:pt x="177" y="1031"/>
                  </a:lnTo>
                  <a:lnTo>
                    <a:pt x="166" y="1032"/>
                  </a:lnTo>
                  <a:lnTo>
                    <a:pt x="165" y="1026"/>
                  </a:lnTo>
                  <a:lnTo>
                    <a:pt x="160" y="1024"/>
                  </a:lnTo>
                  <a:lnTo>
                    <a:pt x="148" y="1020"/>
                  </a:lnTo>
                  <a:lnTo>
                    <a:pt x="144" y="1014"/>
                  </a:lnTo>
                  <a:lnTo>
                    <a:pt x="134" y="1015"/>
                  </a:lnTo>
                  <a:lnTo>
                    <a:pt x="127" y="1019"/>
                  </a:lnTo>
                  <a:lnTo>
                    <a:pt x="115" y="1019"/>
                  </a:lnTo>
                  <a:lnTo>
                    <a:pt x="109" y="1022"/>
                  </a:lnTo>
                  <a:lnTo>
                    <a:pt x="102" y="1029"/>
                  </a:lnTo>
                  <a:lnTo>
                    <a:pt x="95" y="1020"/>
                  </a:lnTo>
                  <a:lnTo>
                    <a:pt x="85" y="1019"/>
                  </a:lnTo>
                  <a:lnTo>
                    <a:pt x="80" y="1015"/>
                  </a:lnTo>
                  <a:lnTo>
                    <a:pt x="70" y="1014"/>
                  </a:lnTo>
                  <a:lnTo>
                    <a:pt x="66" y="1014"/>
                  </a:lnTo>
                  <a:lnTo>
                    <a:pt x="59" y="1020"/>
                  </a:lnTo>
                  <a:lnTo>
                    <a:pt x="61" y="1014"/>
                  </a:lnTo>
                  <a:lnTo>
                    <a:pt x="47" y="1010"/>
                  </a:lnTo>
                  <a:lnTo>
                    <a:pt x="51" y="1009"/>
                  </a:lnTo>
                  <a:lnTo>
                    <a:pt x="42" y="1003"/>
                  </a:lnTo>
                  <a:lnTo>
                    <a:pt x="56" y="998"/>
                  </a:lnTo>
                  <a:lnTo>
                    <a:pt x="58" y="997"/>
                  </a:lnTo>
                  <a:lnTo>
                    <a:pt x="56" y="993"/>
                  </a:lnTo>
                  <a:lnTo>
                    <a:pt x="53" y="997"/>
                  </a:lnTo>
                  <a:lnTo>
                    <a:pt x="49" y="991"/>
                  </a:lnTo>
                  <a:lnTo>
                    <a:pt x="53" y="985"/>
                  </a:lnTo>
                  <a:lnTo>
                    <a:pt x="59" y="986"/>
                  </a:lnTo>
                  <a:lnTo>
                    <a:pt x="63" y="978"/>
                  </a:lnTo>
                  <a:lnTo>
                    <a:pt x="66" y="973"/>
                  </a:lnTo>
                  <a:lnTo>
                    <a:pt x="66" y="964"/>
                  </a:lnTo>
                  <a:lnTo>
                    <a:pt x="73" y="963"/>
                  </a:lnTo>
                  <a:lnTo>
                    <a:pt x="76" y="957"/>
                  </a:lnTo>
                  <a:lnTo>
                    <a:pt x="88" y="954"/>
                  </a:lnTo>
                  <a:lnTo>
                    <a:pt x="87" y="949"/>
                  </a:lnTo>
                  <a:lnTo>
                    <a:pt x="95" y="951"/>
                  </a:lnTo>
                  <a:lnTo>
                    <a:pt x="92" y="942"/>
                  </a:lnTo>
                  <a:lnTo>
                    <a:pt x="93" y="935"/>
                  </a:lnTo>
                  <a:lnTo>
                    <a:pt x="90" y="929"/>
                  </a:lnTo>
                  <a:lnTo>
                    <a:pt x="85" y="923"/>
                  </a:lnTo>
                  <a:lnTo>
                    <a:pt x="78" y="920"/>
                  </a:lnTo>
                  <a:lnTo>
                    <a:pt x="81" y="930"/>
                  </a:lnTo>
                  <a:lnTo>
                    <a:pt x="76" y="930"/>
                  </a:lnTo>
                  <a:lnTo>
                    <a:pt x="75" y="929"/>
                  </a:lnTo>
                  <a:lnTo>
                    <a:pt x="64" y="927"/>
                  </a:lnTo>
                  <a:lnTo>
                    <a:pt x="58" y="923"/>
                  </a:lnTo>
                  <a:lnTo>
                    <a:pt x="56" y="918"/>
                  </a:lnTo>
                  <a:lnTo>
                    <a:pt x="53" y="918"/>
                  </a:lnTo>
                  <a:lnTo>
                    <a:pt x="49" y="908"/>
                  </a:lnTo>
                  <a:lnTo>
                    <a:pt x="51" y="906"/>
                  </a:lnTo>
                  <a:lnTo>
                    <a:pt x="46" y="905"/>
                  </a:lnTo>
                  <a:lnTo>
                    <a:pt x="49" y="900"/>
                  </a:lnTo>
                  <a:lnTo>
                    <a:pt x="44" y="896"/>
                  </a:lnTo>
                  <a:lnTo>
                    <a:pt x="49" y="893"/>
                  </a:lnTo>
                  <a:lnTo>
                    <a:pt x="46" y="889"/>
                  </a:lnTo>
                  <a:lnTo>
                    <a:pt x="49" y="889"/>
                  </a:lnTo>
                  <a:lnTo>
                    <a:pt x="49" y="879"/>
                  </a:lnTo>
                  <a:lnTo>
                    <a:pt x="47" y="878"/>
                  </a:lnTo>
                  <a:lnTo>
                    <a:pt x="49" y="876"/>
                  </a:lnTo>
                  <a:lnTo>
                    <a:pt x="47" y="876"/>
                  </a:lnTo>
                  <a:lnTo>
                    <a:pt x="42" y="864"/>
                  </a:lnTo>
                  <a:lnTo>
                    <a:pt x="37" y="861"/>
                  </a:lnTo>
                  <a:lnTo>
                    <a:pt x="30" y="852"/>
                  </a:lnTo>
                  <a:lnTo>
                    <a:pt x="24" y="850"/>
                  </a:lnTo>
                  <a:lnTo>
                    <a:pt x="29" y="845"/>
                  </a:lnTo>
                  <a:lnTo>
                    <a:pt x="37" y="842"/>
                  </a:lnTo>
                  <a:lnTo>
                    <a:pt x="42" y="837"/>
                  </a:lnTo>
                  <a:lnTo>
                    <a:pt x="47" y="840"/>
                  </a:lnTo>
                  <a:lnTo>
                    <a:pt x="49" y="833"/>
                  </a:lnTo>
                  <a:lnTo>
                    <a:pt x="61" y="830"/>
                  </a:lnTo>
                  <a:lnTo>
                    <a:pt x="64" y="826"/>
                  </a:lnTo>
                  <a:lnTo>
                    <a:pt x="63" y="818"/>
                  </a:lnTo>
                  <a:lnTo>
                    <a:pt x="58" y="816"/>
                  </a:lnTo>
                  <a:lnTo>
                    <a:pt x="58" y="813"/>
                  </a:lnTo>
                  <a:lnTo>
                    <a:pt x="47" y="809"/>
                  </a:lnTo>
                  <a:lnTo>
                    <a:pt x="56" y="803"/>
                  </a:lnTo>
                  <a:lnTo>
                    <a:pt x="54" y="798"/>
                  </a:lnTo>
                  <a:lnTo>
                    <a:pt x="56" y="789"/>
                  </a:lnTo>
                  <a:lnTo>
                    <a:pt x="54" y="787"/>
                  </a:lnTo>
                  <a:lnTo>
                    <a:pt x="63" y="779"/>
                  </a:lnTo>
                  <a:lnTo>
                    <a:pt x="61" y="774"/>
                  </a:lnTo>
                  <a:lnTo>
                    <a:pt x="64" y="772"/>
                  </a:lnTo>
                  <a:lnTo>
                    <a:pt x="64" y="765"/>
                  </a:lnTo>
                  <a:lnTo>
                    <a:pt x="73" y="762"/>
                  </a:lnTo>
                  <a:lnTo>
                    <a:pt x="75" y="758"/>
                  </a:lnTo>
                  <a:lnTo>
                    <a:pt x="85" y="753"/>
                  </a:lnTo>
                  <a:lnTo>
                    <a:pt x="97" y="755"/>
                  </a:lnTo>
                  <a:lnTo>
                    <a:pt x="100" y="745"/>
                  </a:lnTo>
                  <a:lnTo>
                    <a:pt x="98" y="738"/>
                  </a:lnTo>
                  <a:lnTo>
                    <a:pt x="107" y="738"/>
                  </a:lnTo>
                  <a:lnTo>
                    <a:pt x="109" y="735"/>
                  </a:lnTo>
                  <a:lnTo>
                    <a:pt x="104" y="731"/>
                  </a:lnTo>
                  <a:lnTo>
                    <a:pt x="105" y="726"/>
                  </a:lnTo>
                  <a:lnTo>
                    <a:pt x="100" y="721"/>
                  </a:lnTo>
                  <a:lnTo>
                    <a:pt x="105" y="719"/>
                  </a:lnTo>
                  <a:lnTo>
                    <a:pt x="102" y="714"/>
                  </a:lnTo>
                  <a:lnTo>
                    <a:pt x="109" y="713"/>
                  </a:lnTo>
                  <a:lnTo>
                    <a:pt x="110" y="709"/>
                  </a:lnTo>
                  <a:lnTo>
                    <a:pt x="119" y="709"/>
                  </a:lnTo>
                  <a:lnTo>
                    <a:pt x="131" y="702"/>
                  </a:lnTo>
                  <a:lnTo>
                    <a:pt x="136" y="694"/>
                  </a:lnTo>
                  <a:lnTo>
                    <a:pt x="136" y="689"/>
                  </a:lnTo>
                  <a:lnTo>
                    <a:pt x="143" y="684"/>
                  </a:lnTo>
                  <a:lnTo>
                    <a:pt x="141" y="675"/>
                  </a:lnTo>
                  <a:lnTo>
                    <a:pt x="144" y="673"/>
                  </a:lnTo>
                  <a:lnTo>
                    <a:pt x="141" y="665"/>
                  </a:lnTo>
                  <a:lnTo>
                    <a:pt x="141" y="655"/>
                  </a:lnTo>
                  <a:lnTo>
                    <a:pt x="136" y="651"/>
                  </a:lnTo>
                  <a:lnTo>
                    <a:pt x="138" y="650"/>
                  </a:lnTo>
                  <a:lnTo>
                    <a:pt x="134" y="639"/>
                  </a:lnTo>
                  <a:lnTo>
                    <a:pt x="122" y="638"/>
                  </a:lnTo>
                  <a:lnTo>
                    <a:pt x="117" y="633"/>
                  </a:lnTo>
                  <a:lnTo>
                    <a:pt x="119" y="624"/>
                  </a:lnTo>
                  <a:lnTo>
                    <a:pt x="122" y="617"/>
                  </a:lnTo>
                  <a:lnTo>
                    <a:pt x="114" y="610"/>
                  </a:lnTo>
                  <a:lnTo>
                    <a:pt x="110" y="604"/>
                  </a:lnTo>
                  <a:lnTo>
                    <a:pt x="102" y="604"/>
                  </a:lnTo>
                  <a:lnTo>
                    <a:pt x="95" y="607"/>
                  </a:lnTo>
                  <a:lnTo>
                    <a:pt x="88" y="600"/>
                  </a:lnTo>
                  <a:lnTo>
                    <a:pt x="88" y="597"/>
                  </a:lnTo>
                  <a:lnTo>
                    <a:pt x="85" y="595"/>
                  </a:lnTo>
                  <a:lnTo>
                    <a:pt x="87" y="590"/>
                  </a:lnTo>
                  <a:lnTo>
                    <a:pt x="76" y="583"/>
                  </a:lnTo>
                  <a:lnTo>
                    <a:pt x="71" y="583"/>
                  </a:lnTo>
                  <a:lnTo>
                    <a:pt x="68" y="578"/>
                  </a:lnTo>
                  <a:lnTo>
                    <a:pt x="63" y="578"/>
                  </a:lnTo>
                  <a:lnTo>
                    <a:pt x="64" y="573"/>
                  </a:lnTo>
                  <a:lnTo>
                    <a:pt x="56" y="566"/>
                  </a:lnTo>
                  <a:lnTo>
                    <a:pt x="51" y="566"/>
                  </a:lnTo>
                  <a:lnTo>
                    <a:pt x="53" y="561"/>
                  </a:lnTo>
                  <a:lnTo>
                    <a:pt x="42" y="561"/>
                  </a:lnTo>
                  <a:lnTo>
                    <a:pt x="37" y="551"/>
                  </a:lnTo>
                  <a:lnTo>
                    <a:pt x="36" y="556"/>
                  </a:lnTo>
                  <a:lnTo>
                    <a:pt x="27" y="561"/>
                  </a:lnTo>
                  <a:lnTo>
                    <a:pt x="20" y="551"/>
                  </a:lnTo>
                  <a:lnTo>
                    <a:pt x="22" y="548"/>
                  </a:lnTo>
                  <a:lnTo>
                    <a:pt x="17" y="546"/>
                  </a:lnTo>
                  <a:lnTo>
                    <a:pt x="20" y="544"/>
                  </a:lnTo>
                  <a:lnTo>
                    <a:pt x="19" y="537"/>
                  </a:lnTo>
                  <a:lnTo>
                    <a:pt x="12" y="534"/>
                  </a:lnTo>
                  <a:lnTo>
                    <a:pt x="20" y="530"/>
                  </a:lnTo>
                  <a:lnTo>
                    <a:pt x="15" y="527"/>
                  </a:lnTo>
                  <a:lnTo>
                    <a:pt x="19" y="525"/>
                  </a:lnTo>
                  <a:lnTo>
                    <a:pt x="8" y="519"/>
                  </a:lnTo>
                  <a:lnTo>
                    <a:pt x="0" y="522"/>
                  </a:lnTo>
                  <a:lnTo>
                    <a:pt x="5" y="515"/>
                  </a:lnTo>
                  <a:lnTo>
                    <a:pt x="8" y="505"/>
                  </a:lnTo>
                  <a:lnTo>
                    <a:pt x="7" y="502"/>
                  </a:lnTo>
                  <a:lnTo>
                    <a:pt x="13" y="493"/>
                  </a:lnTo>
                  <a:lnTo>
                    <a:pt x="20" y="490"/>
                  </a:lnTo>
                  <a:lnTo>
                    <a:pt x="20" y="483"/>
                  </a:lnTo>
                  <a:lnTo>
                    <a:pt x="27" y="478"/>
                  </a:lnTo>
                  <a:lnTo>
                    <a:pt x="29" y="469"/>
                  </a:lnTo>
                  <a:lnTo>
                    <a:pt x="54" y="464"/>
                  </a:lnTo>
                  <a:lnTo>
                    <a:pt x="61" y="462"/>
                  </a:lnTo>
                  <a:lnTo>
                    <a:pt x="71" y="468"/>
                  </a:lnTo>
                  <a:lnTo>
                    <a:pt x="78" y="461"/>
                  </a:lnTo>
                  <a:lnTo>
                    <a:pt x="80" y="457"/>
                  </a:lnTo>
                  <a:lnTo>
                    <a:pt x="87" y="462"/>
                  </a:lnTo>
                  <a:lnTo>
                    <a:pt x="92" y="456"/>
                  </a:lnTo>
                  <a:lnTo>
                    <a:pt x="87" y="449"/>
                  </a:lnTo>
                  <a:lnTo>
                    <a:pt x="93" y="442"/>
                  </a:lnTo>
                  <a:lnTo>
                    <a:pt x="97" y="439"/>
                  </a:lnTo>
                  <a:lnTo>
                    <a:pt x="102" y="430"/>
                  </a:lnTo>
                  <a:lnTo>
                    <a:pt x="112" y="434"/>
                  </a:lnTo>
                  <a:lnTo>
                    <a:pt x="121" y="430"/>
                  </a:lnTo>
                  <a:lnTo>
                    <a:pt x="121" y="425"/>
                  </a:lnTo>
                  <a:lnTo>
                    <a:pt x="131" y="420"/>
                  </a:lnTo>
                  <a:lnTo>
                    <a:pt x="134" y="417"/>
                  </a:lnTo>
                  <a:lnTo>
                    <a:pt x="144" y="417"/>
                  </a:lnTo>
                  <a:lnTo>
                    <a:pt x="149" y="408"/>
                  </a:lnTo>
                  <a:lnTo>
                    <a:pt x="151" y="405"/>
                  </a:lnTo>
                  <a:lnTo>
                    <a:pt x="151" y="403"/>
                  </a:lnTo>
                  <a:lnTo>
                    <a:pt x="156" y="400"/>
                  </a:lnTo>
                  <a:lnTo>
                    <a:pt x="163" y="394"/>
                  </a:lnTo>
                  <a:lnTo>
                    <a:pt x="163" y="389"/>
                  </a:lnTo>
                  <a:lnTo>
                    <a:pt x="172" y="388"/>
                  </a:lnTo>
                  <a:lnTo>
                    <a:pt x="182" y="383"/>
                  </a:lnTo>
                  <a:lnTo>
                    <a:pt x="183" y="386"/>
                  </a:lnTo>
                  <a:lnTo>
                    <a:pt x="197" y="383"/>
                  </a:lnTo>
                  <a:lnTo>
                    <a:pt x="199" y="381"/>
                  </a:lnTo>
                  <a:lnTo>
                    <a:pt x="200" y="377"/>
                  </a:lnTo>
                  <a:lnTo>
                    <a:pt x="197" y="374"/>
                  </a:lnTo>
                  <a:lnTo>
                    <a:pt x="202" y="367"/>
                  </a:lnTo>
                  <a:lnTo>
                    <a:pt x="211" y="364"/>
                  </a:lnTo>
                  <a:lnTo>
                    <a:pt x="209" y="354"/>
                  </a:lnTo>
                  <a:lnTo>
                    <a:pt x="211" y="350"/>
                  </a:lnTo>
                  <a:lnTo>
                    <a:pt x="211" y="342"/>
                  </a:lnTo>
                  <a:lnTo>
                    <a:pt x="204" y="335"/>
                  </a:lnTo>
                  <a:lnTo>
                    <a:pt x="200" y="330"/>
                  </a:lnTo>
                  <a:lnTo>
                    <a:pt x="207" y="321"/>
                  </a:lnTo>
                  <a:lnTo>
                    <a:pt x="207" y="316"/>
                  </a:lnTo>
                  <a:lnTo>
                    <a:pt x="211" y="308"/>
                  </a:lnTo>
                  <a:lnTo>
                    <a:pt x="217" y="306"/>
                  </a:lnTo>
                  <a:lnTo>
                    <a:pt x="212" y="296"/>
                  </a:lnTo>
                  <a:lnTo>
                    <a:pt x="221" y="289"/>
                  </a:lnTo>
                  <a:lnTo>
                    <a:pt x="221" y="279"/>
                  </a:lnTo>
                  <a:lnTo>
                    <a:pt x="226" y="279"/>
                  </a:lnTo>
                  <a:lnTo>
                    <a:pt x="224" y="270"/>
                  </a:lnTo>
                  <a:lnTo>
                    <a:pt x="233" y="265"/>
                  </a:lnTo>
                  <a:lnTo>
                    <a:pt x="228" y="262"/>
                  </a:lnTo>
                  <a:lnTo>
                    <a:pt x="226" y="255"/>
                  </a:lnTo>
                  <a:lnTo>
                    <a:pt x="228" y="252"/>
                  </a:lnTo>
                  <a:lnTo>
                    <a:pt x="229" y="243"/>
                  </a:lnTo>
                  <a:lnTo>
                    <a:pt x="229" y="236"/>
                  </a:lnTo>
                  <a:lnTo>
                    <a:pt x="219" y="229"/>
                  </a:lnTo>
                  <a:lnTo>
                    <a:pt x="219" y="224"/>
                  </a:lnTo>
                  <a:lnTo>
                    <a:pt x="221" y="221"/>
                  </a:lnTo>
                  <a:lnTo>
                    <a:pt x="231" y="218"/>
                  </a:lnTo>
                  <a:lnTo>
                    <a:pt x="236" y="212"/>
                  </a:lnTo>
                  <a:lnTo>
                    <a:pt x="240" y="214"/>
                  </a:lnTo>
                  <a:lnTo>
                    <a:pt x="250" y="209"/>
                  </a:lnTo>
                  <a:lnTo>
                    <a:pt x="248" y="200"/>
                  </a:lnTo>
                  <a:lnTo>
                    <a:pt x="243" y="190"/>
                  </a:lnTo>
                  <a:lnTo>
                    <a:pt x="234" y="190"/>
                  </a:lnTo>
                  <a:lnTo>
                    <a:pt x="231" y="187"/>
                  </a:lnTo>
                  <a:lnTo>
                    <a:pt x="236" y="180"/>
                  </a:lnTo>
                  <a:lnTo>
                    <a:pt x="229" y="177"/>
                  </a:lnTo>
                  <a:lnTo>
                    <a:pt x="231" y="173"/>
                  </a:lnTo>
                  <a:lnTo>
                    <a:pt x="233" y="175"/>
                  </a:lnTo>
                  <a:lnTo>
                    <a:pt x="245" y="168"/>
                  </a:lnTo>
                  <a:lnTo>
                    <a:pt x="253" y="173"/>
                  </a:lnTo>
                  <a:lnTo>
                    <a:pt x="262" y="165"/>
                  </a:lnTo>
                  <a:lnTo>
                    <a:pt x="262" y="160"/>
                  </a:lnTo>
                  <a:lnTo>
                    <a:pt x="267" y="151"/>
                  </a:lnTo>
                  <a:lnTo>
                    <a:pt x="277" y="151"/>
                  </a:lnTo>
                  <a:lnTo>
                    <a:pt x="280" y="153"/>
                  </a:lnTo>
                  <a:lnTo>
                    <a:pt x="285" y="144"/>
                  </a:lnTo>
                  <a:lnTo>
                    <a:pt x="296" y="148"/>
                  </a:lnTo>
                  <a:lnTo>
                    <a:pt x="302" y="149"/>
                  </a:lnTo>
                  <a:lnTo>
                    <a:pt x="311" y="156"/>
                  </a:lnTo>
                  <a:lnTo>
                    <a:pt x="319" y="155"/>
                  </a:lnTo>
                  <a:lnTo>
                    <a:pt x="325" y="148"/>
                  </a:lnTo>
                  <a:lnTo>
                    <a:pt x="330" y="149"/>
                  </a:lnTo>
                  <a:lnTo>
                    <a:pt x="336" y="153"/>
                  </a:lnTo>
                  <a:lnTo>
                    <a:pt x="345" y="161"/>
                  </a:lnTo>
                  <a:lnTo>
                    <a:pt x="347" y="155"/>
                  </a:lnTo>
                  <a:lnTo>
                    <a:pt x="353" y="151"/>
                  </a:lnTo>
                  <a:lnTo>
                    <a:pt x="359" y="146"/>
                  </a:lnTo>
                  <a:lnTo>
                    <a:pt x="369" y="153"/>
                  </a:lnTo>
                  <a:lnTo>
                    <a:pt x="381" y="149"/>
                  </a:lnTo>
                  <a:lnTo>
                    <a:pt x="381" y="139"/>
                  </a:lnTo>
                  <a:lnTo>
                    <a:pt x="382" y="134"/>
                  </a:lnTo>
                  <a:lnTo>
                    <a:pt x="394" y="131"/>
                  </a:lnTo>
                  <a:lnTo>
                    <a:pt x="403" y="134"/>
                  </a:lnTo>
                  <a:lnTo>
                    <a:pt x="404" y="122"/>
                  </a:lnTo>
                  <a:lnTo>
                    <a:pt x="411" y="124"/>
                  </a:lnTo>
                  <a:lnTo>
                    <a:pt x="420" y="122"/>
                  </a:lnTo>
                  <a:lnTo>
                    <a:pt x="420" y="129"/>
                  </a:lnTo>
                  <a:lnTo>
                    <a:pt x="418" y="134"/>
                  </a:lnTo>
                  <a:lnTo>
                    <a:pt x="425" y="138"/>
                  </a:lnTo>
                  <a:lnTo>
                    <a:pt x="428" y="138"/>
                  </a:lnTo>
                  <a:lnTo>
                    <a:pt x="437" y="134"/>
                  </a:lnTo>
                  <a:lnTo>
                    <a:pt x="445" y="134"/>
                  </a:lnTo>
                  <a:lnTo>
                    <a:pt x="454" y="138"/>
                  </a:lnTo>
                  <a:lnTo>
                    <a:pt x="461" y="138"/>
                  </a:lnTo>
                  <a:lnTo>
                    <a:pt x="462" y="136"/>
                  </a:lnTo>
                  <a:lnTo>
                    <a:pt x="479" y="127"/>
                  </a:lnTo>
                  <a:lnTo>
                    <a:pt x="493" y="126"/>
                  </a:lnTo>
                  <a:lnTo>
                    <a:pt x="495" y="127"/>
                  </a:lnTo>
                  <a:lnTo>
                    <a:pt x="495" y="126"/>
                  </a:lnTo>
                  <a:lnTo>
                    <a:pt x="498" y="131"/>
                  </a:lnTo>
                  <a:lnTo>
                    <a:pt x="506" y="132"/>
                  </a:lnTo>
                  <a:lnTo>
                    <a:pt x="508" y="138"/>
                  </a:lnTo>
                  <a:lnTo>
                    <a:pt x="513" y="134"/>
                  </a:lnTo>
                  <a:lnTo>
                    <a:pt x="518" y="141"/>
                  </a:lnTo>
                  <a:lnTo>
                    <a:pt x="523" y="143"/>
                  </a:lnTo>
                  <a:lnTo>
                    <a:pt x="522" y="144"/>
                  </a:lnTo>
                  <a:lnTo>
                    <a:pt x="530" y="143"/>
                  </a:lnTo>
                  <a:lnTo>
                    <a:pt x="534" y="134"/>
                  </a:lnTo>
                  <a:lnTo>
                    <a:pt x="535" y="134"/>
                  </a:lnTo>
                  <a:lnTo>
                    <a:pt x="547" y="132"/>
                  </a:lnTo>
                  <a:lnTo>
                    <a:pt x="547" y="139"/>
                  </a:lnTo>
                  <a:lnTo>
                    <a:pt x="552" y="149"/>
                  </a:lnTo>
                  <a:lnTo>
                    <a:pt x="556" y="146"/>
                  </a:lnTo>
                  <a:lnTo>
                    <a:pt x="568" y="146"/>
                  </a:lnTo>
                  <a:lnTo>
                    <a:pt x="569" y="144"/>
                  </a:lnTo>
                  <a:lnTo>
                    <a:pt x="573" y="146"/>
                  </a:lnTo>
                  <a:lnTo>
                    <a:pt x="576" y="143"/>
                  </a:lnTo>
                  <a:lnTo>
                    <a:pt x="580" y="144"/>
                  </a:lnTo>
                  <a:lnTo>
                    <a:pt x="581" y="143"/>
                  </a:lnTo>
                  <a:lnTo>
                    <a:pt x="593" y="139"/>
                  </a:lnTo>
                  <a:lnTo>
                    <a:pt x="593" y="141"/>
                  </a:lnTo>
                  <a:lnTo>
                    <a:pt x="603" y="148"/>
                  </a:lnTo>
                  <a:lnTo>
                    <a:pt x="610" y="149"/>
                  </a:lnTo>
                  <a:lnTo>
                    <a:pt x="617" y="139"/>
                  </a:lnTo>
                  <a:lnTo>
                    <a:pt x="619" y="139"/>
                  </a:lnTo>
                  <a:lnTo>
                    <a:pt x="620" y="136"/>
                  </a:lnTo>
                  <a:lnTo>
                    <a:pt x="629" y="127"/>
                  </a:lnTo>
                  <a:lnTo>
                    <a:pt x="631" y="126"/>
                  </a:lnTo>
                  <a:lnTo>
                    <a:pt x="632" y="122"/>
                  </a:lnTo>
                  <a:lnTo>
                    <a:pt x="641" y="115"/>
                  </a:lnTo>
                  <a:lnTo>
                    <a:pt x="644" y="117"/>
                  </a:lnTo>
                  <a:lnTo>
                    <a:pt x="651" y="119"/>
                  </a:lnTo>
                  <a:lnTo>
                    <a:pt x="661" y="122"/>
                  </a:lnTo>
                  <a:lnTo>
                    <a:pt x="664" y="124"/>
                  </a:lnTo>
                  <a:lnTo>
                    <a:pt x="668" y="126"/>
                  </a:lnTo>
                  <a:lnTo>
                    <a:pt x="671" y="126"/>
                  </a:lnTo>
                  <a:lnTo>
                    <a:pt x="683" y="131"/>
                  </a:lnTo>
                  <a:lnTo>
                    <a:pt x="693" y="134"/>
                  </a:lnTo>
                  <a:lnTo>
                    <a:pt x="697" y="134"/>
                  </a:lnTo>
                  <a:lnTo>
                    <a:pt x="700" y="134"/>
                  </a:lnTo>
                  <a:lnTo>
                    <a:pt x="712" y="134"/>
                  </a:lnTo>
                  <a:lnTo>
                    <a:pt x="715" y="134"/>
                  </a:lnTo>
                  <a:lnTo>
                    <a:pt x="726" y="134"/>
                  </a:lnTo>
                  <a:lnTo>
                    <a:pt x="751" y="134"/>
                  </a:lnTo>
                  <a:lnTo>
                    <a:pt x="763" y="136"/>
                  </a:lnTo>
                  <a:lnTo>
                    <a:pt x="778" y="136"/>
                  </a:lnTo>
                  <a:lnTo>
                    <a:pt x="799" y="136"/>
                  </a:lnTo>
                  <a:lnTo>
                    <a:pt x="809" y="136"/>
                  </a:lnTo>
                  <a:lnTo>
                    <a:pt x="823" y="136"/>
                  </a:lnTo>
                  <a:lnTo>
                    <a:pt x="821" y="134"/>
                  </a:lnTo>
                  <a:lnTo>
                    <a:pt x="821" y="131"/>
                  </a:lnTo>
                  <a:lnTo>
                    <a:pt x="823" y="119"/>
                  </a:lnTo>
                  <a:lnTo>
                    <a:pt x="823" y="110"/>
                  </a:lnTo>
                  <a:lnTo>
                    <a:pt x="823" y="102"/>
                  </a:lnTo>
                  <a:lnTo>
                    <a:pt x="823" y="90"/>
                  </a:lnTo>
                  <a:lnTo>
                    <a:pt x="824" y="85"/>
                  </a:lnTo>
                  <a:lnTo>
                    <a:pt x="823" y="81"/>
                  </a:lnTo>
                  <a:lnTo>
                    <a:pt x="824" y="75"/>
                  </a:lnTo>
                  <a:lnTo>
                    <a:pt x="826" y="66"/>
                  </a:lnTo>
                  <a:lnTo>
                    <a:pt x="826" y="61"/>
                  </a:lnTo>
                  <a:lnTo>
                    <a:pt x="828" y="51"/>
                  </a:lnTo>
                  <a:lnTo>
                    <a:pt x="829" y="41"/>
                  </a:lnTo>
                  <a:lnTo>
                    <a:pt x="831" y="37"/>
                  </a:lnTo>
                  <a:lnTo>
                    <a:pt x="833" y="34"/>
                  </a:lnTo>
                  <a:lnTo>
                    <a:pt x="831" y="30"/>
                  </a:lnTo>
                  <a:lnTo>
                    <a:pt x="833" y="25"/>
                  </a:lnTo>
                  <a:lnTo>
                    <a:pt x="836" y="8"/>
                  </a:lnTo>
                  <a:lnTo>
                    <a:pt x="838" y="3"/>
                  </a:lnTo>
                  <a:lnTo>
                    <a:pt x="836" y="0"/>
                  </a:lnTo>
                  <a:lnTo>
                    <a:pt x="840" y="0"/>
                  </a:lnTo>
                  <a:lnTo>
                    <a:pt x="848" y="3"/>
                  </a:lnTo>
                  <a:lnTo>
                    <a:pt x="860" y="0"/>
                  </a:lnTo>
                  <a:lnTo>
                    <a:pt x="865" y="8"/>
                  </a:lnTo>
                  <a:lnTo>
                    <a:pt x="870" y="8"/>
                  </a:lnTo>
                  <a:lnTo>
                    <a:pt x="880" y="15"/>
                  </a:lnTo>
                  <a:lnTo>
                    <a:pt x="885" y="12"/>
                  </a:lnTo>
                  <a:lnTo>
                    <a:pt x="891" y="7"/>
                  </a:lnTo>
                  <a:lnTo>
                    <a:pt x="899" y="10"/>
                  </a:lnTo>
                  <a:lnTo>
                    <a:pt x="906" y="10"/>
                  </a:lnTo>
                  <a:lnTo>
                    <a:pt x="913" y="13"/>
                  </a:lnTo>
                  <a:lnTo>
                    <a:pt x="916" y="12"/>
                  </a:lnTo>
                  <a:lnTo>
                    <a:pt x="919" y="15"/>
                  </a:lnTo>
                  <a:lnTo>
                    <a:pt x="923" y="12"/>
                  </a:lnTo>
                  <a:lnTo>
                    <a:pt x="923" y="15"/>
                  </a:lnTo>
                  <a:lnTo>
                    <a:pt x="938" y="15"/>
                  </a:lnTo>
                  <a:lnTo>
                    <a:pt x="948" y="15"/>
                  </a:lnTo>
                  <a:lnTo>
                    <a:pt x="955" y="15"/>
                  </a:lnTo>
                  <a:lnTo>
                    <a:pt x="967" y="15"/>
                  </a:lnTo>
                  <a:lnTo>
                    <a:pt x="979" y="15"/>
                  </a:lnTo>
                  <a:lnTo>
                    <a:pt x="982" y="15"/>
                  </a:lnTo>
                  <a:lnTo>
                    <a:pt x="991" y="15"/>
                  </a:lnTo>
                  <a:lnTo>
                    <a:pt x="1001" y="15"/>
                  </a:lnTo>
                  <a:lnTo>
                    <a:pt x="1011" y="15"/>
                  </a:lnTo>
                  <a:lnTo>
                    <a:pt x="1021" y="15"/>
                  </a:lnTo>
                  <a:lnTo>
                    <a:pt x="1033" y="13"/>
                  </a:lnTo>
                  <a:lnTo>
                    <a:pt x="1042" y="15"/>
                  </a:lnTo>
                  <a:lnTo>
                    <a:pt x="1049" y="15"/>
                  </a:lnTo>
                  <a:lnTo>
                    <a:pt x="1055" y="15"/>
                  </a:lnTo>
                  <a:lnTo>
                    <a:pt x="1064" y="13"/>
                  </a:lnTo>
                  <a:lnTo>
                    <a:pt x="1062" y="17"/>
                  </a:lnTo>
                  <a:lnTo>
                    <a:pt x="1062" y="24"/>
                  </a:lnTo>
                  <a:lnTo>
                    <a:pt x="1061" y="30"/>
                  </a:lnTo>
                  <a:lnTo>
                    <a:pt x="1059" y="39"/>
                  </a:lnTo>
                  <a:lnTo>
                    <a:pt x="1059" y="44"/>
                  </a:lnTo>
                  <a:lnTo>
                    <a:pt x="1055" y="52"/>
                  </a:lnTo>
                  <a:lnTo>
                    <a:pt x="1057" y="56"/>
                  </a:lnTo>
                  <a:lnTo>
                    <a:pt x="1052" y="68"/>
                  </a:lnTo>
                  <a:lnTo>
                    <a:pt x="1049" y="78"/>
                  </a:lnTo>
                  <a:lnTo>
                    <a:pt x="1049" y="80"/>
                  </a:lnTo>
                  <a:lnTo>
                    <a:pt x="1045" y="88"/>
                  </a:lnTo>
                  <a:lnTo>
                    <a:pt x="1042" y="93"/>
                  </a:lnTo>
                  <a:lnTo>
                    <a:pt x="1038" y="102"/>
                  </a:lnTo>
                  <a:lnTo>
                    <a:pt x="1035" y="109"/>
                  </a:lnTo>
                  <a:lnTo>
                    <a:pt x="1035" y="112"/>
                  </a:lnTo>
                  <a:lnTo>
                    <a:pt x="1030" y="121"/>
                  </a:lnTo>
                  <a:lnTo>
                    <a:pt x="1030" y="126"/>
                  </a:lnTo>
                  <a:lnTo>
                    <a:pt x="1023" y="136"/>
                  </a:lnTo>
                  <a:lnTo>
                    <a:pt x="1023" y="139"/>
                  </a:lnTo>
                  <a:lnTo>
                    <a:pt x="1020" y="148"/>
                  </a:lnTo>
                  <a:lnTo>
                    <a:pt x="1016" y="155"/>
                  </a:lnTo>
                  <a:lnTo>
                    <a:pt x="1013" y="160"/>
                  </a:lnTo>
                  <a:lnTo>
                    <a:pt x="1011" y="166"/>
                  </a:lnTo>
                  <a:lnTo>
                    <a:pt x="1006" y="175"/>
                  </a:lnTo>
                  <a:lnTo>
                    <a:pt x="1001" y="185"/>
                  </a:lnTo>
                  <a:lnTo>
                    <a:pt x="1003" y="195"/>
                  </a:lnTo>
                  <a:lnTo>
                    <a:pt x="1001" y="199"/>
                  </a:lnTo>
                  <a:lnTo>
                    <a:pt x="996" y="209"/>
                  </a:lnTo>
                  <a:lnTo>
                    <a:pt x="994" y="218"/>
                  </a:lnTo>
                  <a:lnTo>
                    <a:pt x="991" y="228"/>
                  </a:lnTo>
                  <a:lnTo>
                    <a:pt x="989" y="235"/>
                  </a:lnTo>
                  <a:lnTo>
                    <a:pt x="984" y="245"/>
                  </a:lnTo>
                  <a:lnTo>
                    <a:pt x="982" y="250"/>
                  </a:lnTo>
                  <a:lnTo>
                    <a:pt x="981" y="258"/>
                  </a:lnTo>
                  <a:lnTo>
                    <a:pt x="977" y="270"/>
                  </a:lnTo>
                  <a:lnTo>
                    <a:pt x="977" y="272"/>
                  </a:lnTo>
                  <a:lnTo>
                    <a:pt x="976" y="277"/>
                  </a:lnTo>
                  <a:lnTo>
                    <a:pt x="974" y="289"/>
                  </a:lnTo>
                  <a:lnTo>
                    <a:pt x="974" y="299"/>
                  </a:lnTo>
                  <a:lnTo>
                    <a:pt x="972" y="311"/>
                  </a:lnTo>
                  <a:lnTo>
                    <a:pt x="969" y="320"/>
                  </a:lnTo>
                  <a:lnTo>
                    <a:pt x="964" y="340"/>
                  </a:lnTo>
                  <a:lnTo>
                    <a:pt x="964" y="345"/>
                  </a:lnTo>
                  <a:lnTo>
                    <a:pt x="964" y="352"/>
                  </a:lnTo>
                  <a:lnTo>
                    <a:pt x="960" y="359"/>
                  </a:lnTo>
                  <a:lnTo>
                    <a:pt x="959" y="364"/>
                  </a:lnTo>
                  <a:lnTo>
                    <a:pt x="955" y="369"/>
                  </a:lnTo>
                  <a:lnTo>
                    <a:pt x="952" y="376"/>
                  </a:lnTo>
                  <a:lnTo>
                    <a:pt x="948" y="381"/>
                  </a:lnTo>
                  <a:lnTo>
                    <a:pt x="947" y="384"/>
                  </a:lnTo>
                  <a:lnTo>
                    <a:pt x="943" y="391"/>
                  </a:lnTo>
                  <a:lnTo>
                    <a:pt x="940" y="398"/>
                  </a:lnTo>
                  <a:lnTo>
                    <a:pt x="933" y="406"/>
                  </a:lnTo>
                  <a:lnTo>
                    <a:pt x="931" y="408"/>
                  </a:lnTo>
                  <a:lnTo>
                    <a:pt x="926" y="417"/>
                  </a:lnTo>
                  <a:lnTo>
                    <a:pt x="925" y="423"/>
                  </a:lnTo>
                  <a:lnTo>
                    <a:pt x="926" y="428"/>
                  </a:lnTo>
                  <a:lnTo>
                    <a:pt x="923" y="435"/>
                  </a:lnTo>
                  <a:lnTo>
                    <a:pt x="921" y="445"/>
                  </a:lnTo>
                  <a:lnTo>
                    <a:pt x="919" y="449"/>
                  </a:lnTo>
                  <a:lnTo>
                    <a:pt x="916" y="457"/>
                  </a:lnTo>
                  <a:lnTo>
                    <a:pt x="914" y="461"/>
                  </a:lnTo>
                  <a:lnTo>
                    <a:pt x="908" y="468"/>
                  </a:lnTo>
                  <a:lnTo>
                    <a:pt x="906" y="471"/>
                  </a:lnTo>
                  <a:lnTo>
                    <a:pt x="901" y="476"/>
                  </a:lnTo>
                  <a:lnTo>
                    <a:pt x="894" y="481"/>
                  </a:lnTo>
                  <a:lnTo>
                    <a:pt x="887" y="488"/>
                  </a:lnTo>
                  <a:lnTo>
                    <a:pt x="877" y="495"/>
                  </a:lnTo>
                  <a:lnTo>
                    <a:pt x="870" y="500"/>
                  </a:lnTo>
                  <a:lnTo>
                    <a:pt x="862" y="508"/>
                  </a:lnTo>
                  <a:lnTo>
                    <a:pt x="851" y="517"/>
                  </a:lnTo>
                  <a:lnTo>
                    <a:pt x="850" y="517"/>
                  </a:lnTo>
                  <a:lnTo>
                    <a:pt x="841" y="525"/>
                  </a:lnTo>
                  <a:lnTo>
                    <a:pt x="836" y="529"/>
                  </a:lnTo>
                  <a:lnTo>
                    <a:pt x="836" y="532"/>
                  </a:lnTo>
                  <a:lnTo>
                    <a:pt x="831" y="527"/>
                  </a:lnTo>
                  <a:lnTo>
                    <a:pt x="831" y="530"/>
                  </a:lnTo>
                  <a:lnTo>
                    <a:pt x="824" y="527"/>
                  </a:lnTo>
                  <a:lnTo>
                    <a:pt x="817" y="527"/>
                  </a:lnTo>
                  <a:lnTo>
                    <a:pt x="823" y="530"/>
                  </a:lnTo>
                  <a:lnTo>
                    <a:pt x="816" y="530"/>
                  </a:lnTo>
                  <a:lnTo>
                    <a:pt x="821" y="536"/>
                  </a:lnTo>
                  <a:lnTo>
                    <a:pt x="826" y="530"/>
                  </a:lnTo>
                  <a:lnTo>
                    <a:pt x="833" y="534"/>
                  </a:lnTo>
                  <a:lnTo>
                    <a:pt x="826" y="539"/>
                  </a:lnTo>
                  <a:lnTo>
                    <a:pt x="821" y="544"/>
                  </a:lnTo>
                  <a:lnTo>
                    <a:pt x="812" y="551"/>
                  </a:lnTo>
                  <a:lnTo>
                    <a:pt x="811" y="553"/>
                  </a:lnTo>
                  <a:lnTo>
                    <a:pt x="799" y="556"/>
                  </a:lnTo>
                  <a:lnTo>
                    <a:pt x="794" y="558"/>
                  </a:lnTo>
                  <a:lnTo>
                    <a:pt x="787" y="561"/>
                  </a:lnTo>
                  <a:lnTo>
                    <a:pt x="778" y="565"/>
                  </a:lnTo>
                  <a:lnTo>
                    <a:pt x="766" y="568"/>
                  </a:lnTo>
                  <a:lnTo>
                    <a:pt x="756" y="570"/>
                  </a:lnTo>
                  <a:lnTo>
                    <a:pt x="746" y="575"/>
                  </a:lnTo>
                  <a:lnTo>
                    <a:pt x="738" y="583"/>
                  </a:lnTo>
                  <a:lnTo>
                    <a:pt x="732" y="588"/>
                  </a:lnTo>
                  <a:lnTo>
                    <a:pt x="724" y="597"/>
                  </a:lnTo>
                  <a:lnTo>
                    <a:pt x="719" y="602"/>
                  </a:lnTo>
                  <a:lnTo>
                    <a:pt x="712" y="607"/>
                  </a:lnTo>
                  <a:lnTo>
                    <a:pt x="710" y="610"/>
                  </a:lnTo>
                  <a:lnTo>
                    <a:pt x="704" y="619"/>
                  </a:lnTo>
                  <a:lnTo>
                    <a:pt x="700" y="621"/>
                  </a:lnTo>
                  <a:lnTo>
                    <a:pt x="695" y="627"/>
                  </a:lnTo>
                  <a:lnTo>
                    <a:pt x="690" y="631"/>
                  </a:lnTo>
                  <a:lnTo>
                    <a:pt x="688" y="633"/>
                  </a:lnTo>
                  <a:lnTo>
                    <a:pt x="678" y="641"/>
                  </a:lnTo>
                  <a:lnTo>
                    <a:pt x="676" y="643"/>
                  </a:lnTo>
                  <a:lnTo>
                    <a:pt x="673" y="644"/>
                  </a:lnTo>
                  <a:lnTo>
                    <a:pt x="670" y="650"/>
                  </a:lnTo>
                  <a:lnTo>
                    <a:pt x="663" y="655"/>
                  </a:lnTo>
                  <a:lnTo>
                    <a:pt x="654" y="665"/>
                  </a:lnTo>
                  <a:lnTo>
                    <a:pt x="651" y="667"/>
                  </a:lnTo>
                  <a:lnTo>
                    <a:pt x="646" y="673"/>
                  </a:lnTo>
                  <a:lnTo>
                    <a:pt x="637" y="680"/>
                  </a:lnTo>
                  <a:lnTo>
                    <a:pt x="632" y="685"/>
                  </a:lnTo>
                  <a:lnTo>
                    <a:pt x="631" y="689"/>
                  </a:lnTo>
                  <a:lnTo>
                    <a:pt x="625" y="692"/>
                  </a:lnTo>
                  <a:lnTo>
                    <a:pt x="620" y="701"/>
                  </a:lnTo>
                  <a:lnTo>
                    <a:pt x="617" y="704"/>
                  </a:lnTo>
                  <a:lnTo>
                    <a:pt x="615" y="706"/>
                  </a:lnTo>
                  <a:lnTo>
                    <a:pt x="612" y="711"/>
                  </a:lnTo>
                  <a:lnTo>
                    <a:pt x="603" y="718"/>
                  </a:lnTo>
                  <a:lnTo>
                    <a:pt x="600" y="726"/>
                  </a:lnTo>
                  <a:lnTo>
                    <a:pt x="598" y="728"/>
                  </a:lnTo>
                  <a:lnTo>
                    <a:pt x="590" y="735"/>
                  </a:lnTo>
                  <a:lnTo>
                    <a:pt x="590" y="736"/>
                  </a:lnTo>
                  <a:lnTo>
                    <a:pt x="583" y="747"/>
                  </a:lnTo>
                  <a:lnTo>
                    <a:pt x="574" y="755"/>
                  </a:lnTo>
                  <a:lnTo>
                    <a:pt x="573" y="760"/>
                  </a:lnTo>
                  <a:lnTo>
                    <a:pt x="571" y="762"/>
                  </a:lnTo>
                  <a:lnTo>
                    <a:pt x="564" y="772"/>
                  </a:lnTo>
                  <a:lnTo>
                    <a:pt x="563" y="777"/>
                  </a:lnTo>
                  <a:lnTo>
                    <a:pt x="556" y="787"/>
                  </a:lnTo>
                  <a:lnTo>
                    <a:pt x="554" y="789"/>
                  </a:lnTo>
                  <a:lnTo>
                    <a:pt x="551" y="798"/>
                  </a:lnTo>
                  <a:lnTo>
                    <a:pt x="549" y="809"/>
                  </a:lnTo>
                  <a:lnTo>
                    <a:pt x="552" y="815"/>
                  </a:lnTo>
                  <a:lnTo>
                    <a:pt x="549" y="816"/>
                  </a:lnTo>
                  <a:lnTo>
                    <a:pt x="544" y="813"/>
                  </a:lnTo>
                  <a:lnTo>
                    <a:pt x="537" y="818"/>
                  </a:lnTo>
                  <a:lnTo>
                    <a:pt x="540" y="823"/>
                  </a:lnTo>
                  <a:lnTo>
                    <a:pt x="540" y="816"/>
                  </a:lnTo>
                  <a:lnTo>
                    <a:pt x="549" y="818"/>
                  </a:lnTo>
                  <a:lnTo>
                    <a:pt x="546" y="820"/>
                  </a:lnTo>
                  <a:lnTo>
                    <a:pt x="554" y="813"/>
                  </a:lnTo>
                  <a:lnTo>
                    <a:pt x="554" y="818"/>
                  </a:lnTo>
                  <a:lnTo>
                    <a:pt x="547" y="825"/>
                  </a:lnTo>
                  <a:lnTo>
                    <a:pt x="542" y="828"/>
                  </a:lnTo>
                  <a:lnTo>
                    <a:pt x="540" y="832"/>
                  </a:lnTo>
                  <a:lnTo>
                    <a:pt x="535" y="838"/>
                  </a:lnTo>
                  <a:lnTo>
                    <a:pt x="529" y="845"/>
                  </a:lnTo>
                  <a:lnTo>
                    <a:pt x="525" y="847"/>
                  </a:lnTo>
                  <a:lnTo>
                    <a:pt x="522" y="850"/>
                  </a:lnTo>
                  <a:lnTo>
                    <a:pt x="517" y="854"/>
                  </a:lnTo>
                  <a:lnTo>
                    <a:pt x="512" y="859"/>
                  </a:lnTo>
                  <a:lnTo>
                    <a:pt x="506" y="866"/>
                  </a:lnTo>
                  <a:lnTo>
                    <a:pt x="500" y="874"/>
                  </a:lnTo>
                  <a:lnTo>
                    <a:pt x="496" y="884"/>
                  </a:lnTo>
                  <a:lnTo>
                    <a:pt x="493" y="888"/>
                  </a:lnTo>
                  <a:lnTo>
                    <a:pt x="488" y="895"/>
                  </a:lnTo>
                  <a:lnTo>
                    <a:pt x="483" y="903"/>
                  </a:lnTo>
                  <a:lnTo>
                    <a:pt x="481" y="908"/>
                  </a:lnTo>
                  <a:lnTo>
                    <a:pt x="478" y="917"/>
                  </a:lnTo>
                  <a:lnTo>
                    <a:pt x="471" y="922"/>
                  </a:lnTo>
                  <a:lnTo>
                    <a:pt x="471" y="927"/>
                  </a:lnTo>
                  <a:lnTo>
                    <a:pt x="467" y="930"/>
                  </a:lnTo>
                  <a:lnTo>
                    <a:pt x="464" y="939"/>
                  </a:lnTo>
                  <a:lnTo>
                    <a:pt x="461" y="942"/>
                  </a:lnTo>
                  <a:lnTo>
                    <a:pt x="455" y="949"/>
                  </a:lnTo>
                  <a:lnTo>
                    <a:pt x="452" y="954"/>
                  </a:lnTo>
                  <a:lnTo>
                    <a:pt x="447" y="961"/>
                  </a:lnTo>
                  <a:lnTo>
                    <a:pt x="447" y="964"/>
                  </a:lnTo>
                  <a:lnTo>
                    <a:pt x="442" y="973"/>
                  </a:lnTo>
                  <a:lnTo>
                    <a:pt x="437" y="980"/>
                  </a:lnTo>
                  <a:lnTo>
                    <a:pt x="433" y="986"/>
                  </a:lnTo>
                  <a:lnTo>
                    <a:pt x="428" y="993"/>
                  </a:lnTo>
                  <a:lnTo>
                    <a:pt x="423" y="998"/>
                  </a:lnTo>
                  <a:lnTo>
                    <a:pt x="418" y="1007"/>
                  </a:lnTo>
                  <a:lnTo>
                    <a:pt x="413" y="1012"/>
                  </a:lnTo>
                  <a:lnTo>
                    <a:pt x="411" y="1017"/>
                  </a:lnTo>
                  <a:lnTo>
                    <a:pt x="404" y="1024"/>
                  </a:lnTo>
                  <a:lnTo>
                    <a:pt x="401" y="1029"/>
                  </a:lnTo>
                  <a:lnTo>
                    <a:pt x="394" y="1037"/>
                  </a:lnTo>
                  <a:lnTo>
                    <a:pt x="394" y="1039"/>
                  </a:lnTo>
                  <a:lnTo>
                    <a:pt x="389" y="1044"/>
                  </a:lnTo>
                  <a:lnTo>
                    <a:pt x="384" y="1053"/>
                  </a:lnTo>
                  <a:lnTo>
                    <a:pt x="379" y="1060"/>
                  </a:lnTo>
                  <a:lnTo>
                    <a:pt x="372" y="1070"/>
                  </a:lnTo>
                  <a:lnTo>
                    <a:pt x="370" y="1071"/>
                  </a:lnTo>
                  <a:lnTo>
                    <a:pt x="370" y="1073"/>
                  </a:lnTo>
                  <a:lnTo>
                    <a:pt x="364" y="1078"/>
                  </a:lnTo>
                  <a:lnTo>
                    <a:pt x="357" y="1088"/>
                  </a:lnTo>
                  <a:lnTo>
                    <a:pt x="352" y="1094"/>
                  </a:lnTo>
                  <a:lnTo>
                    <a:pt x="347" y="1099"/>
                  </a:lnTo>
                  <a:lnTo>
                    <a:pt x="343" y="1105"/>
                  </a:lnTo>
                  <a:lnTo>
                    <a:pt x="340" y="1109"/>
                  </a:lnTo>
                  <a:lnTo>
                    <a:pt x="335" y="1116"/>
                  </a:lnTo>
                  <a:lnTo>
                    <a:pt x="331" y="1121"/>
                  </a:lnTo>
                  <a:lnTo>
                    <a:pt x="325" y="1128"/>
                  </a:lnTo>
                  <a:lnTo>
                    <a:pt x="325" y="1131"/>
                  </a:lnTo>
                  <a:lnTo>
                    <a:pt x="314" y="11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0" name="Freeform 9">
              <a:extLst>
                <a:ext uri="{FF2B5EF4-FFF2-40B4-BE49-F238E27FC236}">
                  <a16:creationId xmlns:a16="http://schemas.microsoft.com/office/drawing/2014/main" id="{FAAC3661-7769-4938-85AF-08B0A3C8BF64}"/>
                </a:ext>
              </a:extLst>
            </p:cNvPr>
            <p:cNvSpPr>
              <a:spLocks/>
            </p:cNvSpPr>
            <p:nvPr/>
          </p:nvSpPr>
          <p:spPr bwMode="gray">
            <a:xfrm>
              <a:off x="4891088" y="3944938"/>
              <a:ext cx="3081337" cy="1779588"/>
            </a:xfrm>
            <a:custGeom>
              <a:avLst/>
              <a:gdLst>
                <a:gd name="T0" fmla="*/ 1880 w 1941"/>
                <a:gd name="T1" fmla="*/ 351 h 1121"/>
                <a:gd name="T2" fmla="*/ 1807 w 1941"/>
                <a:gd name="T3" fmla="*/ 407 h 1121"/>
                <a:gd name="T4" fmla="*/ 1722 w 1941"/>
                <a:gd name="T5" fmla="*/ 465 h 1121"/>
                <a:gd name="T6" fmla="*/ 1659 w 1941"/>
                <a:gd name="T7" fmla="*/ 531 h 1121"/>
                <a:gd name="T8" fmla="*/ 1583 w 1941"/>
                <a:gd name="T9" fmla="*/ 611 h 1121"/>
                <a:gd name="T10" fmla="*/ 1503 w 1941"/>
                <a:gd name="T11" fmla="*/ 679 h 1121"/>
                <a:gd name="T12" fmla="*/ 1426 w 1941"/>
                <a:gd name="T13" fmla="*/ 733 h 1121"/>
                <a:gd name="T14" fmla="*/ 1351 w 1941"/>
                <a:gd name="T15" fmla="*/ 790 h 1121"/>
                <a:gd name="T16" fmla="*/ 1297 w 1941"/>
                <a:gd name="T17" fmla="*/ 825 h 1121"/>
                <a:gd name="T18" fmla="*/ 1205 w 1941"/>
                <a:gd name="T19" fmla="*/ 881 h 1121"/>
                <a:gd name="T20" fmla="*/ 1127 w 1941"/>
                <a:gd name="T21" fmla="*/ 932 h 1121"/>
                <a:gd name="T22" fmla="*/ 1011 w 1941"/>
                <a:gd name="T23" fmla="*/ 980 h 1121"/>
                <a:gd name="T24" fmla="*/ 899 w 1941"/>
                <a:gd name="T25" fmla="*/ 997 h 1121"/>
                <a:gd name="T26" fmla="*/ 787 w 1941"/>
                <a:gd name="T27" fmla="*/ 992 h 1121"/>
                <a:gd name="T28" fmla="*/ 731 w 1941"/>
                <a:gd name="T29" fmla="*/ 1043 h 1121"/>
                <a:gd name="T30" fmla="*/ 707 w 1941"/>
                <a:gd name="T31" fmla="*/ 1074 h 1121"/>
                <a:gd name="T32" fmla="*/ 556 w 1941"/>
                <a:gd name="T33" fmla="*/ 1069 h 1121"/>
                <a:gd name="T34" fmla="*/ 503 w 1941"/>
                <a:gd name="T35" fmla="*/ 1115 h 1121"/>
                <a:gd name="T36" fmla="*/ 410 w 1941"/>
                <a:gd name="T37" fmla="*/ 1092 h 1121"/>
                <a:gd name="T38" fmla="*/ 313 w 1941"/>
                <a:gd name="T39" fmla="*/ 1074 h 1121"/>
                <a:gd name="T40" fmla="*/ 226 w 1941"/>
                <a:gd name="T41" fmla="*/ 1041 h 1121"/>
                <a:gd name="T42" fmla="*/ 165 w 1941"/>
                <a:gd name="T43" fmla="*/ 1009 h 1121"/>
                <a:gd name="T44" fmla="*/ 224 w 1941"/>
                <a:gd name="T45" fmla="*/ 955 h 1121"/>
                <a:gd name="T46" fmla="*/ 160 w 1941"/>
                <a:gd name="T47" fmla="*/ 921 h 1121"/>
                <a:gd name="T48" fmla="*/ 0 w 1941"/>
                <a:gd name="T49" fmla="*/ 898 h 1121"/>
                <a:gd name="T50" fmla="*/ 53 w 1941"/>
                <a:gd name="T51" fmla="*/ 803 h 1121"/>
                <a:gd name="T52" fmla="*/ 151 w 1941"/>
                <a:gd name="T53" fmla="*/ 747 h 1121"/>
                <a:gd name="T54" fmla="*/ 139 w 1941"/>
                <a:gd name="T55" fmla="*/ 655 h 1121"/>
                <a:gd name="T56" fmla="*/ 230 w 1941"/>
                <a:gd name="T57" fmla="*/ 623 h 1121"/>
                <a:gd name="T58" fmla="*/ 296 w 1941"/>
                <a:gd name="T59" fmla="*/ 596 h 1121"/>
                <a:gd name="T60" fmla="*/ 364 w 1941"/>
                <a:gd name="T61" fmla="*/ 555 h 1121"/>
                <a:gd name="T62" fmla="*/ 365 w 1941"/>
                <a:gd name="T63" fmla="*/ 507 h 1121"/>
                <a:gd name="T64" fmla="*/ 420 w 1941"/>
                <a:gd name="T65" fmla="*/ 465 h 1121"/>
                <a:gd name="T66" fmla="*/ 476 w 1941"/>
                <a:gd name="T67" fmla="*/ 398 h 1121"/>
                <a:gd name="T68" fmla="*/ 564 w 1941"/>
                <a:gd name="T69" fmla="*/ 364 h 1121"/>
                <a:gd name="T70" fmla="*/ 641 w 1941"/>
                <a:gd name="T71" fmla="*/ 327 h 1121"/>
                <a:gd name="T72" fmla="*/ 709 w 1941"/>
                <a:gd name="T73" fmla="*/ 301 h 1121"/>
                <a:gd name="T74" fmla="*/ 731 w 1941"/>
                <a:gd name="T75" fmla="*/ 225 h 1121"/>
                <a:gd name="T76" fmla="*/ 743 w 1941"/>
                <a:gd name="T77" fmla="*/ 164 h 1121"/>
                <a:gd name="T78" fmla="*/ 823 w 1941"/>
                <a:gd name="T79" fmla="*/ 167 h 1121"/>
                <a:gd name="T80" fmla="*/ 881 w 1941"/>
                <a:gd name="T81" fmla="*/ 138 h 1121"/>
                <a:gd name="T82" fmla="*/ 957 w 1941"/>
                <a:gd name="T83" fmla="*/ 159 h 1121"/>
                <a:gd name="T84" fmla="*/ 1039 w 1941"/>
                <a:gd name="T85" fmla="*/ 177 h 1121"/>
                <a:gd name="T86" fmla="*/ 1119 w 1941"/>
                <a:gd name="T87" fmla="*/ 159 h 1121"/>
                <a:gd name="T88" fmla="*/ 1180 w 1941"/>
                <a:gd name="T89" fmla="*/ 130 h 1121"/>
                <a:gd name="T90" fmla="*/ 1222 w 1941"/>
                <a:gd name="T91" fmla="*/ 107 h 1121"/>
                <a:gd name="T92" fmla="*/ 1263 w 1941"/>
                <a:gd name="T93" fmla="*/ 102 h 1121"/>
                <a:gd name="T94" fmla="*/ 1326 w 1941"/>
                <a:gd name="T95" fmla="*/ 164 h 1121"/>
                <a:gd name="T96" fmla="*/ 1411 w 1941"/>
                <a:gd name="T97" fmla="*/ 162 h 1121"/>
                <a:gd name="T98" fmla="*/ 1450 w 1941"/>
                <a:gd name="T99" fmla="*/ 90 h 1121"/>
                <a:gd name="T100" fmla="*/ 1498 w 1941"/>
                <a:gd name="T101" fmla="*/ 39 h 1121"/>
                <a:gd name="T102" fmla="*/ 1591 w 1941"/>
                <a:gd name="T103" fmla="*/ 29 h 1121"/>
                <a:gd name="T104" fmla="*/ 1674 w 1941"/>
                <a:gd name="T105" fmla="*/ 28 h 1121"/>
                <a:gd name="T106" fmla="*/ 1702 w 1941"/>
                <a:gd name="T107" fmla="*/ 79 h 1121"/>
                <a:gd name="T108" fmla="*/ 1693 w 1941"/>
                <a:gd name="T109" fmla="*/ 123 h 1121"/>
                <a:gd name="T110" fmla="*/ 1693 w 1941"/>
                <a:gd name="T111" fmla="*/ 164 h 1121"/>
                <a:gd name="T112" fmla="*/ 1793 w 1941"/>
                <a:gd name="T113" fmla="*/ 182 h 1121"/>
                <a:gd name="T114" fmla="*/ 1851 w 1941"/>
                <a:gd name="T115" fmla="*/ 191 h 1121"/>
                <a:gd name="T116" fmla="*/ 1887 w 1941"/>
                <a:gd name="T117" fmla="*/ 221 h 1121"/>
                <a:gd name="T118" fmla="*/ 1935 w 1941"/>
                <a:gd name="T119" fmla="*/ 259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1" h="1121">
                  <a:moveTo>
                    <a:pt x="1941" y="288"/>
                  </a:moveTo>
                  <a:lnTo>
                    <a:pt x="1936" y="296"/>
                  </a:lnTo>
                  <a:lnTo>
                    <a:pt x="1933" y="300"/>
                  </a:lnTo>
                  <a:lnTo>
                    <a:pt x="1931" y="303"/>
                  </a:lnTo>
                  <a:lnTo>
                    <a:pt x="1926" y="306"/>
                  </a:lnTo>
                  <a:lnTo>
                    <a:pt x="1923" y="312"/>
                  </a:lnTo>
                  <a:lnTo>
                    <a:pt x="1916" y="317"/>
                  </a:lnTo>
                  <a:lnTo>
                    <a:pt x="1909" y="324"/>
                  </a:lnTo>
                  <a:lnTo>
                    <a:pt x="1907" y="329"/>
                  </a:lnTo>
                  <a:lnTo>
                    <a:pt x="1902" y="332"/>
                  </a:lnTo>
                  <a:lnTo>
                    <a:pt x="1901" y="337"/>
                  </a:lnTo>
                  <a:lnTo>
                    <a:pt x="1892" y="342"/>
                  </a:lnTo>
                  <a:lnTo>
                    <a:pt x="1889" y="347"/>
                  </a:lnTo>
                  <a:lnTo>
                    <a:pt x="1880" y="351"/>
                  </a:lnTo>
                  <a:lnTo>
                    <a:pt x="1878" y="356"/>
                  </a:lnTo>
                  <a:lnTo>
                    <a:pt x="1870" y="363"/>
                  </a:lnTo>
                  <a:lnTo>
                    <a:pt x="1867" y="364"/>
                  </a:lnTo>
                  <a:lnTo>
                    <a:pt x="1865" y="366"/>
                  </a:lnTo>
                  <a:lnTo>
                    <a:pt x="1865" y="368"/>
                  </a:lnTo>
                  <a:lnTo>
                    <a:pt x="1856" y="371"/>
                  </a:lnTo>
                  <a:lnTo>
                    <a:pt x="1851" y="378"/>
                  </a:lnTo>
                  <a:lnTo>
                    <a:pt x="1844" y="381"/>
                  </a:lnTo>
                  <a:lnTo>
                    <a:pt x="1833" y="383"/>
                  </a:lnTo>
                  <a:lnTo>
                    <a:pt x="1826" y="385"/>
                  </a:lnTo>
                  <a:lnTo>
                    <a:pt x="1816" y="393"/>
                  </a:lnTo>
                  <a:lnTo>
                    <a:pt x="1816" y="395"/>
                  </a:lnTo>
                  <a:lnTo>
                    <a:pt x="1807" y="405"/>
                  </a:lnTo>
                  <a:lnTo>
                    <a:pt x="1807" y="407"/>
                  </a:lnTo>
                  <a:lnTo>
                    <a:pt x="1799" y="414"/>
                  </a:lnTo>
                  <a:lnTo>
                    <a:pt x="1793" y="415"/>
                  </a:lnTo>
                  <a:lnTo>
                    <a:pt x="1790" y="420"/>
                  </a:lnTo>
                  <a:lnTo>
                    <a:pt x="1782" y="426"/>
                  </a:lnTo>
                  <a:lnTo>
                    <a:pt x="1778" y="427"/>
                  </a:lnTo>
                  <a:lnTo>
                    <a:pt x="1770" y="432"/>
                  </a:lnTo>
                  <a:lnTo>
                    <a:pt x="1768" y="436"/>
                  </a:lnTo>
                  <a:lnTo>
                    <a:pt x="1758" y="441"/>
                  </a:lnTo>
                  <a:lnTo>
                    <a:pt x="1754" y="444"/>
                  </a:lnTo>
                  <a:lnTo>
                    <a:pt x="1746" y="446"/>
                  </a:lnTo>
                  <a:lnTo>
                    <a:pt x="1736" y="449"/>
                  </a:lnTo>
                  <a:lnTo>
                    <a:pt x="1731" y="456"/>
                  </a:lnTo>
                  <a:lnTo>
                    <a:pt x="1731" y="461"/>
                  </a:lnTo>
                  <a:lnTo>
                    <a:pt x="1722" y="465"/>
                  </a:lnTo>
                  <a:lnTo>
                    <a:pt x="1719" y="468"/>
                  </a:lnTo>
                  <a:lnTo>
                    <a:pt x="1717" y="480"/>
                  </a:lnTo>
                  <a:lnTo>
                    <a:pt x="1708" y="482"/>
                  </a:lnTo>
                  <a:lnTo>
                    <a:pt x="1703" y="485"/>
                  </a:lnTo>
                  <a:lnTo>
                    <a:pt x="1697" y="494"/>
                  </a:lnTo>
                  <a:lnTo>
                    <a:pt x="1693" y="495"/>
                  </a:lnTo>
                  <a:lnTo>
                    <a:pt x="1693" y="500"/>
                  </a:lnTo>
                  <a:lnTo>
                    <a:pt x="1688" y="502"/>
                  </a:lnTo>
                  <a:lnTo>
                    <a:pt x="1683" y="512"/>
                  </a:lnTo>
                  <a:lnTo>
                    <a:pt x="1680" y="514"/>
                  </a:lnTo>
                  <a:lnTo>
                    <a:pt x="1680" y="517"/>
                  </a:lnTo>
                  <a:lnTo>
                    <a:pt x="1671" y="519"/>
                  </a:lnTo>
                  <a:lnTo>
                    <a:pt x="1663" y="528"/>
                  </a:lnTo>
                  <a:lnTo>
                    <a:pt x="1659" y="531"/>
                  </a:lnTo>
                  <a:lnTo>
                    <a:pt x="1657" y="536"/>
                  </a:lnTo>
                  <a:lnTo>
                    <a:pt x="1649" y="546"/>
                  </a:lnTo>
                  <a:lnTo>
                    <a:pt x="1646" y="548"/>
                  </a:lnTo>
                  <a:lnTo>
                    <a:pt x="1646" y="553"/>
                  </a:lnTo>
                  <a:lnTo>
                    <a:pt x="1639" y="558"/>
                  </a:lnTo>
                  <a:lnTo>
                    <a:pt x="1627" y="563"/>
                  </a:lnTo>
                  <a:lnTo>
                    <a:pt x="1623" y="572"/>
                  </a:lnTo>
                  <a:lnTo>
                    <a:pt x="1615" y="580"/>
                  </a:lnTo>
                  <a:lnTo>
                    <a:pt x="1612" y="582"/>
                  </a:lnTo>
                  <a:lnTo>
                    <a:pt x="1608" y="587"/>
                  </a:lnTo>
                  <a:lnTo>
                    <a:pt x="1601" y="596"/>
                  </a:lnTo>
                  <a:lnTo>
                    <a:pt x="1595" y="597"/>
                  </a:lnTo>
                  <a:lnTo>
                    <a:pt x="1591" y="606"/>
                  </a:lnTo>
                  <a:lnTo>
                    <a:pt x="1583" y="611"/>
                  </a:lnTo>
                  <a:lnTo>
                    <a:pt x="1576" y="613"/>
                  </a:lnTo>
                  <a:lnTo>
                    <a:pt x="1572" y="619"/>
                  </a:lnTo>
                  <a:lnTo>
                    <a:pt x="1564" y="623"/>
                  </a:lnTo>
                  <a:lnTo>
                    <a:pt x="1555" y="631"/>
                  </a:lnTo>
                  <a:lnTo>
                    <a:pt x="1554" y="637"/>
                  </a:lnTo>
                  <a:lnTo>
                    <a:pt x="1549" y="638"/>
                  </a:lnTo>
                  <a:lnTo>
                    <a:pt x="1542" y="645"/>
                  </a:lnTo>
                  <a:lnTo>
                    <a:pt x="1538" y="647"/>
                  </a:lnTo>
                  <a:lnTo>
                    <a:pt x="1530" y="654"/>
                  </a:lnTo>
                  <a:lnTo>
                    <a:pt x="1528" y="660"/>
                  </a:lnTo>
                  <a:lnTo>
                    <a:pt x="1516" y="665"/>
                  </a:lnTo>
                  <a:lnTo>
                    <a:pt x="1515" y="669"/>
                  </a:lnTo>
                  <a:lnTo>
                    <a:pt x="1510" y="671"/>
                  </a:lnTo>
                  <a:lnTo>
                    <a:pt x="1503" y="679"/>
                  </a:lnTo>
                  <a:lnTo>
                    <a:pt x="1501" y="684"/>
                  </a:lnTo>
                  <a:lnTo>
                    <a:pt x="1494" y="686"/>
                  </a:lnTo>
                  <a:lnTo>
                    <a:pt x="1491" y="693"/>
                  </a:lnTo>
                  <a:lnTo>
                    <a:pt x="1484" y="694"/>
                  </a:lnTo>
                  <a:lnTo>
                    <a:pt x="1481" y="696"/>
                  </a:lnTo>
                  <a:lnTo>
                    <a:pt x="1470" y="699"/>
                  </a:lnTo>
                  <a:lnTo>
                    <a:pt x="1465" y="706"/>
                  </a:lnTo>
                  <a:lnTo>
                    <a:pt x="1460" y="710"/>
                  </a:lnTo>
                  <a:lnTo>
                    <a:pt x="1455" y="715"/>
                  </a:lnTo>
                  <a:lnTo>
                    <a:pt x="1453" y="720"/>
                  </a:lnTo>
                  <a:lnTo>
                    <a:pt x="1447" y="720"/>
                  </a:lnTo>
                  <a:lnTo>
                    <a:pt x="1436" y="725"/>
                  </a:lnTo>
                  <a:lnTo>
                    <a:pt x="1431" y="728"/>
                  </a:lnTo>
                  <a:lnTo>
                    <a:pt x="1426" y="733"/>
                  </a:lnTo>
                  <a:lnTo>
                    <a:pt x="1416" y="739"/>
                  </a:lnTo>
                  <a:lnTo>
                    <a:pt x="1404" y="740"/>
                  </a:lnTo>
                  <a:lnTo>
                    <a:pt x="1401" y="742"/>
                  </a:lnTo>
                  <a:lnTo>
                    <a:pt x="1392" y="747"/>
                  </a:lnTo>
                  <a:lnTo>
                    <a:pt x="1387" y="752"/>
                  </a:lnTo>
                  <a:lnTo>
                    <a:pt x="1387" y="759"/>
                  </a:lnTo>
                  <a:lnTo>
                    <a:pt x="1384" y="761"/>
                  </a:lnTo>
                  <a:lnTo>
                    <a:pt x="1380" y="769"/>
                  </a:lnTo>
                  <a:lnTo>
                    <a:pt x="1375" y="773"/>
                  </a:lnTo>
                  <a:lnTo>
                    <a:pt x="1377" y="774"/>
                  </a:lnTo>
                  <a:lnTo>
                    <a:pt x="1370" y="776"/>
                  </a:lnTo>
                  <a:lnTo>
                    <a:pt x="1363" y="783"/>
                  </a:lnTo>
                  <a:lnTo>
                    <a:pt x="1357" y="786"/>
                  </a:lnTo>
                  <a:lnTo>
                    <a:pt x="1351" y="790"/>
                  </a:lnTo>
                  <a:lnTo>
                    <a:pt x="1345" y="793"/>
                  </a:lnTo>
                  <a:lnTo>
                    <a:pt x="1341" y="798"/>
                  </a:lnTo>
                  <a:lnTo>
                    <a:pt x="1334" y="802"/>
                  </a:lnTo>
                  <a:lnTo>
                    <a:pt x="1333" y="805"/>
                  </a:lnTo>
                  <a:lnTo>
                    <a:pt x="1328" y="803"/>
                  </a:lnTo>
                  <a:lnTo>
                    <a:pt x="1331" y="807"/>
                  </a:lnTo>
                  <a:lnTo>
                    <a:pt x="1334" y="805"/>
                  </a:lnTo>
                  <a:lnTo>
                    <a:pt x="1329" y="810"/>
                  </a:lnTo>
                  <a:lnTo>
                    <a:pt x="1324" y="810"/>
                  </a:lnTo>
                  <a:lnTo>
                    <a:pt x="1314" y="817"/>
                  </a:lnTo>
                  <a:lnTo>
                    <a:pt x="1311" y="819"/>
                  </a:lnTo>
                  <a:lnTo>
                    <a:pt x="1309" y="820"/>
                  </a:lnTo>
                  <a:lnTo>
                    <a:pt x="1304" y="822"/>
                  </a:lnTo>
                  <a:lnTo>
                    <a:pt x="1297" y="825"/>
                  </a:lnTo>
                  <a:lnTo>
                    <a:pt x="1292" y="825"/>
                  </a:lnTo>
                  <a:lnTo>
                    <a:pt x="1283" y="830"/>
                  </a:lnTo>
                  <a:lnTo>
                    <a:pt x="1275" y="839"/>
                  </a:lnTo>
                  <a:lnTo>
                    <a:pt x="1266" y="844"/>
                  </a:lnTo>
                  <a:lnTo>
                    <a:pt x="1258" y="851"/>
                  </a:lnTo>
                  <a:lnTo>
                    <a:pt x="1253" y="853"/>
                  </a:lnTo>
                  <a:lnTo>
                    <a:pt x="1249" y="858"/>
                  </a:lnTo>
                  <a:lnTo>
                    <a:pt x="1244" y="858"/>
                  </a:lnTo>
                  <a:lnTo>
                    <a:pt x="1243" y="861"/>
                  </a:lnTo>
                  <a:lnTo>
                    <a:pt x="1231" y="866"/>
                  </a:lnTo>
                  <a:lnTo>
                    <a:pt x="1227" y="870"/>
                  </a:lnTo>
                  <a:lnTo>
                    <a:pt x="1219" y="875"/>
                  </a:lnTo>
                  <a:lnTo>
                    <a:pt x="1217" y="878"/>
                  </a:lnTo>
                  <a:lnTo>
                    <a:pt x="1205" y="881"/>
                  </a:lnTo>
                  <a:lnTo>
                    <a:pt x="1200" y="888"/>
                  </a:lnTo>
                  <a:lnTo>
                    <a:pt x="1190" y="893"/>
                  </a:lnTo>
                  <a:lnTo>
                    <a:pt x="1185" y="895"/>
                  </a:lnTo>
                  <a:lnTo>
                    <a:pt x="1180" y="898"/>
                  </a:lnTo>
                  <a:lnTo>
                    <a:pt x="1176" y="900"/>
                  </a:lnTo>
                  <a:lnTo>
                    <a:pt x="1175" y="902"/>
                  </a:lnTo>
                  <a:lnTo>
                    <a:pt x="1170" y="904"/>
                  </a:lnTo>
                  <a:lnTo>
                    <a:pt x="1161" y="910"/>
                  </a:lnTo>
                  <a:lnTo>
                    <a:pt x="1154" y="914"/>
                  </a:lnTo>
                  <a:lnTo>
                    <a:pt x="1147" y="921"/>
                  </a:lnTo>
                  <a:lnTo>
                    <a:pt x="1141" y="922"/>
                  </a:lnTo>
                  <a:lnTo>
                    <a:pt x="1132" y="926"/>
                  </a:lnTo>
                  <a:lnTo>
                    <a:pt x="1129" y="927"/>
                  </a:lnTo>
                  <a:lnTo>
                    <a:pt x="1127" y="932"/>
                  </a:lnTo>
                  <a:lnTo>
                    <a:pt x="1120" y="938"/>
                  </a:lnTo>
                  <a:lnTo>
                    <a:pt x="1115" y="938"/>
                  </a:lnTo>
                  <a:lnTo>
                    <a:pt x="1107" y="941"/>
                  </a:lnTo>
                  <a:lnTo>
                    <a:pt x="1102" y="946"/>
                  </a:lnTo>
                  <a:lnTo>
                    <a:pt x="1093" y="950"/>
                  </a:lnTo>
                  <a:lnTo>
                    <a:pt x="1083" y="951"/>
                  </a:lnTo>
                  <a:lnTo>
                    <a:pt x="1074" y="953"/>
                  </a:lnTo>
                  <a:lnTo>
                    <a:pt x="1066" y="958"/>
                  </a:lnTo>
                  <a:lnTo>
                    <a:pt x="1056" y="965"/>
                  </a:lnTo>
                  <a:lnTo>
                    <a:pt x="1045" y="967"/>
                  </a:lnTo>
                  <a:lnTo>
                    <a:pt x="1034" y="970"/>
                  </a:lnTo>
                  <a:lnTo>
                    <a:pt x="1023" y="972"/>
                  </a:lnTo>
                  <a:lnTo>
                    <a:pt x="1015" y="977"/>
                  </a:lnTo>
                  <a:lnTo>
                    <a:pt x="1011" y="980"/>
                  </a:lnTo>
                  <a:lnTo>
                    <a:pt x="1000" y="984"/>
                  </a:lnTo>
                  <a:lnTo>
                    <a:pt x="993" y="989"/>
                  </a:lnTo>
                  <a:lnTo>
                    <a:pt x="984" y="990"/>
                  </a:lnTo>
                  <a:lnTo>
                    <a:pt x="976" y="997"/>
                  </a:lnTo>
                  <a:lnTo>
                    <a:pt x="967" y="999"/>
                  </a:lnTo>
                  <a:lnTo>
                    <a:pt x="960" y="1002"/>
                  </a:lnTo>
                  <a:lnTo>
                    <a:pt x="957" y="1002"/>
                  </a:lnTo>
                  <a:lnTo>
                    <a:pt x="952" y="1004"/>
                  </a:lnTo>
                  <a:lnTo>
                    <a:pt x="942" y="1001"/>
                  </a:lnTo>
                  <a:lnTo>
                    <a:pt x="930" y="1001"/>
                  </a:lnTo>
                  <a:lnTo>
                    <a:pt x="923" y="1001"/>
                  </a:lnTo>
                  <a:lnTo>
                    <a:pt x="916" y="1002"/>
                  </a:lnTo>
                  <a:lnTo>
                    <a:pt x="906" y="1001"/>
                  </a:lnTo>
                  <a:lnTo>
                    <a:pt x="899" y="997"/>
                  </a:lnTo>
                  <a:lnTo>
                    <a:pt x="889" y="994"/>
                  </a:lnTo>
                  <a:lnTo>
                    <a:pt x="881" y="992"/>
                  </a:lnTo>
                  <a:lnTo>
                    <a:pt x="872" y="989"/>
                  </a:lnTo>
                  <a:lnTo>
                    <a:pt x="867" y="989"/>
                  </a:lnTo>
                  <a:lnTo>
                    <a:pt x="858" y="987"/>
                  </a:lnTo>
                  <a:lnTo>
                    <a:pt x="853" y="985"/>
                  </a:lnTo>
                  <a:lnTo>
                    <a:pt x="843" y="985"/>
                  </a:lnTo>
                  <a:lnTo>
                    <a:pt x="838" y="985"/>
                  </a:lnTo>
                  <a:lnTo>
                    <a:pt x="830" y="985"/>
                  </a:lnTo>
                  <a:lnTo>
                    <a:pt x="823" y="987"/>
                  </a:lnTo>
                  <a:lnTo>
                    <a:pt x="811" y="987"/>
                  </a:lnTo>
                  <a:lnTo>
                    <a:pt x="806" y="989"/>
                  </a:lnTo>
                  <a:lnTo>
                    <a:pt x="792" y="990"/>
                  </a:lnTo>
                  <a:lnTo>
                    <a:pt x="787" y="992"/>
                  </a:lnTo>
                  <a:lnTo>
                    <a:pt x="779" y="995"/>
                  </a:lnTo>
                  <a:lnTo>
                    <a:pt x="770" y="1002"/>
                  </a:lnTo>
                  <a:lnTo>
                    <a:pt x="765" y="1002"/>
                  </a:lnTo>
                  <a:lnTo>
                    <a:pt x="756" y="1009"/>
                  </a:lnTo>
                  <a:lnTo>
                    <a:pt x="753" y="1016"/>
                  </a:lnTo>
                  <a:lnTo>
                    <a:pt x="755" y="1011"/>
                  </a:lnTo>
                  <a:lnTo>
                    <a:pt x="751" y="1011"/>
                  </a:lnTo>
                  <a:lnTo>
                    <a:pt x="753" y="1012"/>
                  </a:lnTo>
                  <a:lnTo>
                    <a:pt x="748" y="1016"/>
                  </a:lnTo>
                  <a:lnTo>
                    <a:pt x="743" y="1021"/>
                  </a:lnTo>
                  <a:lnTo>
                    <a:pt x="738" y="1028"/>
                  </a:lnTo>
                  <a:lnTo>
                    <a:pt x="738" y="1029"/>
                  </a:lnTo>
                  <a:lnTo>
                    <a:pt x="734" y="1036"/>
                  </a:lnTo>
                  <a:lnTo>
                    <a:pt x="731" y="1043"/>
                  </a:lnTo>
                  <a:lnTo>
                    <a:pt x="731" y="1050"/>
                  </a:lnTo>
                  <a:lnTo>
                    <a:pt x="738" y="1052"/>
                  </a:lnTo>
                  <a:lnTo>
                    <a:pt x="738" y="1055"/>
                  </a:lnTo>
                  <a:lnTo>
                    <a:pt x="739" y="1052"/>
                  </a:lnTo>
                  <a:lnTo>
                    <a:pt x="741" y="1058"/>
                  </a:lnTo>
                  <a:lnTo>
                    <a:pt x="746" y="1060"/>
                  </a:lnTo>
                  <a:lnTo>
                    <a:pt x="750" y="1063"/>
                  </a:lnTo>
                  <a:lnTo>
                    <a:pt x="753" y="1072"/>
                  </a:lnTo>
                  <a:lnTo>
                    <a:pt x="743" y="1072"/>
                  </a:lnTo>
                  <a:lnTo>
                    <a:pt x="734" y="1077"/>
                  </a:lnTo>
                  <a:lnTo>
                    <a:pt x="722" y="1077"/>
                  </a:lnTo>
                  <a:lnTo>
                    <a:pt x="719" y="1077"/>
                  </a:lnTo>
                  <a:lnTo>
                    <a:pt x="711" y="1075"/>
                  </a:lnTo>
                  <a:lnTo>
                    <a:pt x="707" y="1074"/>
                  </a:lnTo>
                  <a:lnTo>
                    <a:pt x="694" y="1072"/>
                  </a:lnTo>
                  <a:lnTo>
                    <a:pt x="687" y="1074"/>
                  </a:lnTo>
                  <a:lnTo>
                    <a:pt x="677" y="1074"/>
                  </a:lnTo>
                  <a:lnTo>
                    <a:pt x="663" y="1069"/>
                  </a:lnTo>
                  <a:lnTo>
                    <a:pt x="653" y="1062"/>
                  </a:lnTo>
                  <a:lnTo>
                    <a:pt x="639" y="1058"/>
                  </a:lnTo>
                  <a:lnTo>
                    <a:pt x="626" y="1055"/>
                  </a:lnTo>
                  <a:lnTo>
                    <a:pt x="614" y="1055"/>
                  </a:lnTo>
                  <a:lnTo>
                    <a:pt x="602" y="1055"/>
                  </a:lnTo>
                  <a:lnTo>
                    <a:pt x="593" y="1055"/>
                  </a:lnTo>
                  <a:lnTo>
                    <a:pt x="581" y="1057"/>
                  </a:lnTo>
                  <a:lnTo>
                    <a:pt x="569" y="1058"/>
                  </a:lnTo>
                  <a:lnTo>
                    <a:pt x="566" y="1062"/>
                  </a:lnTo>
                  <a:lnTo>
                    <a:pt x="556" y="1069"/>
                  </a:lnTo>
                  <a:lnTo>
                    <a:pt x="556" y="1074"/>
                  </a:lnTo>
                  <a:lnTo>
                    <a:pt x="554" y="1079"/>
                  </a:lnTo>
                  <a:lnTo>
                    <a:pt x="552" y="1086"/>
                  </a:lnTo>
                  <a:lnTo>
                    <a:pt x="549" y="1087"/>
                  </a:lnTo>
                  <a:lnTo>
                    <a:pt x="544" y="1094"/>
                  </a:lnTo>
                  <a:lnTo>
                    <a:pt x="537" y="1097"/>
                  </a:lnTo>
                  <a:lnTo>
                    <a:pt x="532" y="1103"/>
                  </a:lnTo>
                  <a:lnTo>
                    <a:pt x="529" y="1109"/>
                  </a:lnTo>
                  <a:lnTo>
                    <a:pt x="539" y="1116"/>
                  </a:lnTo>
                  <a:lnTo>
                    <a:pt x="530" y="1116"/>
                  </a:lnTo>
                  <a:lnTo>
                    <a:pt x="530" y="1121"/>
                  </a:lnTo>
                  <a:lnTo>
                    <a:pt x="518" y="1116"/>
                  </a:lnTo>
                  <a:lnTo>
                    <a:pt x="512" y="1116"/>
                  </a:lnTo>
                  <a:lnTo>
                    <a:pt x="503" y="1115"/>
                  </a:lnTo>
                  <a:lnTo>
                    <a:pt x="498" y="1116"/>
                  </a:lnTo>
                  <a:lnTo>
                    <a:pt x="493" y="1115"/>
                  </a:lnTo>
                  <a:lnTo>
                    <a:pt x="481" y="1109"/>
                  </a:lnTo>
                  <a:lnTo>
                    <a:pt x="474" y="1111"/>
                  </a:lnTo>
                  <a:lnTo>
                    <a:pt x="471" y="1115"/>
                  </a:lnTo>
                  <a:lnTo>
                    <a:pt x="459" y="1111"/>
                  </a:lnTo>
                  <a:lnTo>
                    <a:pt x="447" y="1109"/>
                  </a:lnTo>
                  <a:lnTo>
                    <a:pt x="442" y="1109"/>
                  </a:lnTo>
                  <a:lnTo>
                    <a:pt x="437" y="1108"/>
                  </a:lnTo>
                  <a:lnTo>
                    <a:pt x="430" y="1103"/>
                  </a:lnTo>
                  <a:lnTo>
                    <a:pt x="425" y="1097"/>
                  </a:lnTo>
                  <a:lnTo>
                    <a:pt x="420" y="1096"/>
                  </a:lnTo>
                  <a:lnTo>
                    <a:pt x="415" y="1092"/>
                  </a:lnTo>
                  <a:lnTo>
                    <a:pt x="410" y="1092"/>
                  </a:lnTo>
                  <a:lnTo>
                    <a:pt x="396" y="1091"/>
                  </a:lnTo>
                  <a:lnTo>
                    <a:pt x="391" y="1089"/>
                  </a:lnTo>
                  <a:lnTo>
                    <a:pt x="381" y="1086"/>
                  </a:lnTo>
                  <a:lnTo>
                    <a:pt x="374" y="1084"/>
                  </a:lnTo>
                  <a:lnTo>
                    <a:pt x="372" y="1084"/>
                  </a:lnTo>
                  <a:lnTo>
                    <a:pt x="364" y="1079"/>
                  </a:lnTo>
                  <a:lnTo>
                    <a:pt x="350" y="1077"/>
                  </a:lnTo>
                  <a:lnTo>
                    <a:pt x="348" y="1079"/>
                  </a:lnTo>
                  <a:lnTo>
                    <a:pt x="338" y="1075"/>
                  </a:lnTo>
                  <a:lnTo>
                    <a:pt x="335" y="1077"/>
                  </a:lnTo>
                  <a:lnTo>
                    <a:pt x="328" y="1075"/>
                  </a:lnTo>
                  <a:lnTo>
                    <a:pt x="321" y="1074"/>
                  </a:lnTo>
                  <a:lnTo>
                    <a:pt x="314" y="1074"/>
                  </a:lnTo>
                  <a:lnTo>
                    <a:pt x="313" y="1074"/>
                  </a:lnTo>
                  <a:lnTo>
                    <a:pt x="311" y="1074"/>
                  </a:lnTo>
                  <a:lnTo>
                    <a:pt x="304" y="1072"/>
                  </a:lnTo>
                  <a:lnTo>
                    <a:pt x="294" y="1070"/>
                  </a:lnTo>
                  <a:lnTo>
                    <a:pt x="292" y="1070"/>
                  </a:lnTo>
                  <a:lnTo>
                    <a:pt x="291" y="1070"/>
                  </a:lnTo>
                  <a:lnTo>
                    <a:pt x="279" y="1069"/>
                  </a:lnTo>
                  <a:lnTo>
                    <a:pt x="272" y="1067"/>
                  </a:lnTo>
                  <a:lnTo>
                    <a:pt x="260" y="1067"/>
                  </a:lnTo>
                  <a:lnTo>
                    <a:pt x="250" y="1062"/>
                  </a:lnTo>
                  <a:lnTo>
                    <a:pt x="250" y="1063"/>
                  </a:lnTo>
                  <a:lnTo>
                    <a:pt x="238" y="1060"/>
                  </a:lnTo>
                  <a:lnTo>
                    <a:pt x="228" y="1058"/>
                  </a:lnTo>
                  <a:lnTo>
                    <a:pt x="224" y="1052"/>
                  </a:lnTo>
                  <a:lnTo>
                    <a:pt x="226" y="1041"/>
                  </a:lnTo>
                  <a:lnTo>
                    <a:pt x="231" y="1040"/>
                  </a:lnTo>
                  <a:lnTo>
                    <a:pt x="228" y="1036"/>
                  </a:lnTo>
                  <a:lnTo>
                    <a:pt x="238" y="1033"/>
                  </a:lnTo>
                  <a:lnTo>
                    <a:pt x="243" y="1028"/>
                  </a:lnTo>
                  <a:lnTo>
                    <a:pt x="221" y="1023"/>
                  </a:lnTo>
                  <a:lnTo>
                    <a:pt x="219" y="1019"/>
                  </a:lnTo>
                  <a:lnTo>
                    <a:pt x="207" y="1019"/>
                  </a:lnTo>
                  <a:lnTo>
                    <a:pt x="206" y="1009"/>
                  </a:lnTo>
                  <a:lnTo>
                    <a:pt x="197" y="1006"/>
                  </a:lnTo>
                  <a:lnTo>
                    <a:pt x="189" y="1009"/>
                  </a:lnTo>
                  <a:lnTo>
                    <a:pt x="189" y="1012"/>
                  </a:lnTo>
                  <a:lnTo>
                    <a:pt x="184" y="1012"/>
                  </a:lnTo>
                  <a:lnTo>
                    <a:pt x="170" y="1009"/>
                  </a:lnTo>
                  <a:lnTo>
                    <a:pt x="165" y="1009"/>
                  </a:lnTo>
                  <a:lnTo>
                    <a:pt x="173" y="1001"/>
                  </a:lnTo>
                  <a:lnTo>
                    <a:pt x="175" y="999"/>
                  </a:lnTo>
                  <a:lnTo>
                    <a:pt x="177" y="989"/>
                  </a:lnTo>
                  <a:lnTo>
                    <a:pt x="185" y="989"/>
                  </a:lnTo>
                  <a:lnTo>
                    <a:pt x="199" y="985"/>
                  </a:lnTo>
                  <a:lnTo>
                    <a:pt x="202" y="984"/>
                  </a:lnTo>
                  <a:lnTo>
                    <a:pt x="207" y="977"/>
                  </a:lnTo>
                  <a:lnTo>
                    <a:pt x="207" y="972"/>
                  </a:lnTo>
                  <a:lnTo>
                    <a:pt x="214" y="977"/>
                  </a:lnTo>
                  <a:lnTo>
                    <a:pt x="226" y="977"/>
                  </a:lnTo>
                  <a:lnTo>
                    <a:pt x="236" y="977"/>
                  </a:lnTo>
                  <a:lnTo>
                    <a:pt x="236" y="972"/>
                  </a:lnTo>
                  <a:lnTo>
                    <a:pt x="238" y="965"/>
                  </a:lnTo>
                  <a:lnTo>
                    <a:pt x="224" y="955"/>
                  </a:lnTo>
                  <a:lnTo>
                    <a:pt x="224" y="950"/>
                  </a:lnTo>
                  <a:lnTo>
                    <a:pt x="218" y="950"/>
                  </a:lnTo>
                  <a:lnTo>
                    <a:pt x="219" y="938"/>
                  </a:lnTo>
                  <a:lnTo>
                    <a:pt x="221" y="932"/>
                  </a:lnTo>
                  <a:lnTo>
                    <a:pt x="221" y="931"/>
                  </a:lnTo>
                  <a:lnTo>
                    <a:pt x="214" y="927"/>
                  </a:lnTo>
                  <a:lnTo>
                    <a:pt x="206" y="924"/>
                  </a:lnTo>
                  <a:lnTo>
                    <a:pt x="199" y="921"/>
                  </a:lnTo>
                  <a:lnTo>
                    <a:pt x="194" y="915"/>
                  </a:lnTo>
                  <a:lnTo>
                    <a:pt x="187" y="917"/>
                  </a:lnTo>
                  <a:lnTo>
                    <a:pt x="175" y="915"/>
                  </a:lnTo>
                  <a:lnTo>
                    <a:pt x="168" y="917"/>
                  </a:lnTo>
                  <a:lnTo>
                    <a:pt x="158" y="915"/>
                  </a:lnTo>
                  <a:lnTo>
                    <a:pt x="160" y="921"/>
                  </a:lnTo>
                  <a:lnTo>
                    <a:pt x="150" y="907"/>
                  </a:lnTo>
                  <a:lnTo>
                    <a:pt x="148" y="905"/>
                  </a:lnTo>
                  <a:lnTo>
                    <a:pt x="143" y="902"/>
                  </a:lnTo>
                  <a:lnTo>
                    <a:pt x="117" y="900"/>
                  </a:lnTo>
                  <a:lnTo>
                    <a:pt x="102" y="902"/>
                  </a:lnTo>
                  <a:lnTo>
                    <a:pt x="95" y="905"/>
                  </a:lnTo>
                  <a:lnTo>
                    <a:pt x="83" y="905"/>
                  </a:lnTo>
                  <a:lnTo>
                    <a:pt x="71" y="907"/>
                  </a:lnTo>
                  <a:lnTo>
                    <a:pt x="60" y="910"/>
                  </a:lnTo>
                  <a:lnTo>
                    <a:pt x="49" y="912"/>
                  </a:lnTo>
                  <a:lnTo>
                    <a:pt x="24" y="909"/>
                  </a:lnTo>
                  <a:lnTo>
                    <a:pt x="9" y="910"/>
                  </a:lnTo>
                  <a:lnTo>
                    <a:pt x="0" y="904"/>
                  </a:lnTo>
                  <a:lnTo>
                    <a:pt x="0" y="898"/>
                  </a:lnTo>
                  <a:lnTo>
                    <a:pt x="0" y="885"/>
                  </a:lnTo>
                  <a:lnTo>
                    <a:pt x="10" y="885"/>
                  </a:lnTo>
                  <a:lnTo>
                    <a:pt x="10" y="880"/>
                  </a:lnTo>
                  <a:lnTo>
                    <a:pt x="14" y="880"/>
                  </a:lnTo>
                  <a:lnTo>
                    <a:pt x="20" y="868"/>
                  </a:lnTo>
                  <a:lnTo>
                    <a:pt x="24" y="863"/>
                  </a:lnTo>
                  <a:lnTo>
                    <a:pt x="27" y="856"/>
                  </a:lnTo>
                  <a:lnTo>
                    <a:pt x="31" y="854"/>
                  </a:lnTo>
                  <a:lnTo>
                    <a:pt x="37" y="847"/>
                  </a:lnTo>
                  <a:lnTo>
                    <a:pt x="43" y="836"/>
                  </a:lnTo>
                  <a:lnTo>
                    <a:pt x="49" y="827"/>
                  </a:lnTo>
                  <a:lnTo>
                    <a:pt x="58" y="817"/>
                  </a:lnTo>
                  <a:lnTo>
                    <a:pt x="60" y="810"/>
                  </a:lnTo>
                  <a:lnTo>
                    <a:pt x="53" y="803"/>
                  </a:lnTo>
                  <a:lnTo>
                    <a:pt x="63" y="796"/>
                  </a:lnTo>
                  <a:lnTo>
                    <a:pt x="58" y="784"/>
                  </a:lnTo>
                  <a:lnTo>
                    <a:pt x="73" y="771"/>
                  </a:lnTo>
                  <a:lnTo>
                    <a:pt x="73" y="764"/>
                  </a:lnTo>
                  <a:lnTo>
                    <a:pt x="97" y="764"/>
                  </a:lnTo>
                  <a:lnTo>
                    <a:pt x="102" y="761"/>
                  </a:lnTo>
                  <a:lnTo>
                    <a:pt x="102" y="759"/>
                  </a:lnTo>
                  <a:lnTo>
                    <a:pt x="95" y="745"/>
                  </a:lnTo>
                  <a:lnTo>
                    <a:pt x="95" y="744"/>
                  </a:lnTo>
                  <a:lnTo>
                    <a:pt x="111" y="735"/>
                  </a:lnTo>
                  <a:lnTo>
                    <a:pt x="121" y="735"/>
                  </a:lnTo>
                  <a:lnTo>
                    <a:pt x="124" y="740"/>
                  </a:lnTo>
                  <a:lnTo>
                    <a:pt x="138" y="742"/>
                  </a:lnTo>
                  <a:lnTo>
                    <a:pt x="151" y="747"/>
                  </a:lnTo>
                  <a:lnTo>
                    <a:pt x="170" y="752"/>
                  </a:lnTo>
                  <a:lnTo>
                    <a:pt x="175" y="735"/>
                  </a:lnTo>
                  <a:lnTo>
                    <a:pt x="163" y="735"/>
                  </a:lnTo>
                  <a:lnTo>
                    <a:pt x="163" y="727"/>
                  </a:lnTo>
                  <a:lnTo>
                    <a:pt x="158" y="720"/>
                  </a:lnTo>
                  <a:lnTo>
                    <a:pt x="145" y="711"/>
                  </a:lnTo>
                  <a:lnTo>
                    <a:pt x="143" y="710"/>
                  </a:lnTo>
                  <a:lnTo>
                    <a:pt x="151" y="705"/>
                  </a:lnTo>
                  <a:lnTo>
                    <a:pt x="153" y="694"/>
                  </a:lnTo>
                  <a:lnTo>
                    <a:pt x="151" y="686"/>
                  </a:lnTo>
                  <a:lnTo>
                    <a:pt x="148" y="679"/>
                  </a:lnTo>
                  <a:lnTo>
                    <a:pt x="138" y="669"/>
                  </a:lnTo>
                  <a:lnTo>
                    <a:pt x="139" y="659"/>
                  </a:lnTo>
                  <a:lnTo>
                    <a:pt x="139" y="655"/>
                  </a:lnTo>
                  <a:lnTo>
                    <a:pt x="133" y="645"/>
                  </a:lnTo>
                  <a:lnTo>
                    <a:pt x="146" y="638"/>
                  </a:lnTo>
                  <a:lnTo>
                    <a:pt x="155" y="637"/>
                  </a:lnTo>
                  <a:lnTo>
                    <a:pt x="158" y="633"/>
                  </a:lnTo>
                  <a:lnTo>
                    <a:pt x="162" y="625"/>
                  </a:lnTo>
                  <a:lnTo>
                    <a:pt x="167" y="628"/>
                  </a:lnTo>
                  <a:lnTo>
                    <a:pt x="177" y="633"/>
                  </a:lnTo>
                  <a:lnTo>
                    <a:pt x="182" y="635"/>
                  </a:lnTo>
                  <a:lnTo>
                    <a:pt x="185" y="626"/>
                  </a:lnTo>
                  <a:lnTo>
                    <a:pt x="192" y="618"/>
                  </a:lnTo>
                  <a:lnTo>
                    <a:pt x="206" y="619"/>
                  </a:lnTo>
                  <a:lnTo>
                    <a:pt x="211" y="619"/>
                  </a:lnTo>
                  <a:lnTo>
                    <a:pt x="219" y="621"/>
                  </a:lnTo>
                  <a:lnTo>
                    <a:pt x="230" y="623"/>
                  </a:lnTo>
                  <a:lnTo>
                    <a:pt x="247" y="623"/>
                  </a:lnTo>
                  <a:lnTo>
                    <a:pt x="248" y="623"/>
                  </a:lnTo>
                  <a:lnTo>
                    <a:pt x="252" y="619"/>
                  </a:lnTo>
                  <a:lnTo>
                    <a:pt x="243" y="611"/>
                  </a:lnTo>
                  <a:lnTo>
                    <a:pt x="247" y="602"/>
                  </a:lnTo>
                  <a:lnTo>
                    <a:pt x="250" y="596"/>
                  </a:lnTo>
                  <a:lnTo>
                    <a:pt x="255" y="594"/>
                  </a:lnTo>
                  <a:lnTo>
                    <a:pt x="260" y="591"/>
                  </a:lnTo>
                  <a:lnTo>
                    <a:pt x="270" y="585"/>
                  </a:lnTo>
                  <a:lnTo>
                    <a:pt x="275" y="579"/>
                  </a:lnTo>
                  <a:lnTo>
                    <a:pt x="282" y="584"/>
                  </a:lnTo>
                  <a:lnTo>
                    <a:pt x="287" y="587"/>
                  </a:lnTo>
                  <a:lnTo>
                    <a:pt x="292" y="594"/>
                  </a:lnTo>
                  <a:lnTo>
                    <a:pt x="296" y="596"/>
                  </a:lnTo>
                  <a:lnTo>
                    <a:pt x="306" y="599"/>
                  </a:lnTo>
                  <a:lnTo>
                    <a:pt x="318" y="594"/>
                  </a:lnTo>
                  <a:lnTo>
                    <a:pt x="325" y="587"/>
                  </a:lnTo>
                  <a:lnTo>
                    <a:pt x="331" y="584"/>
                  </a:lnTo>
                  <a:lnTo>
                    <a:pt x="343" y="584"/>
                  </a:lnTo>
                  <a:lnTo>
                    <a:pt x="347" y="580"/>
                  </a:lnTo>
                  <a:lnTo>
                    <a:pt x="345" y="574"/>
                  </a:lnTo>
                  <a:lnTo>
                    <a:pt x="354" y="574"/>
                  </a:lnTo>
                  <a:lnTo>
                    <a:pt x="360" y="575"/>
                  </a:lnTo>
                  <a:lnTo>
                    <a:pt x="364" y="572"/>
                  </a:lnTo>
                  <a:lnTo>
                    <a:pt x="362" y="572"/>
                  </a:lnTo>
                  <a:lnTo>
                    <a:pt x="371" y="565"/>
                  </a:lnTo>
                  <a:lnTo>
                    <a:pt x="371" y="558"/>
                  </a:lnTo>
                  <a:lnTo>
                    <a:pt x="364" y="555"/>
                  </a:lnTo>
                  <a:lnTo>
                    <a:pt x="360" y="562"/>
                  </a:lnTo>
                  <a:lnTo>
                    <a:pt x="362" y="550"/>
                  </a:lnTo>
                  <a:lnTo>
                    <a:pt x="372" y="545"/>
                  </a:lnTo>
                  <a:lnTo>
                    <a:pt x="369" y="543"/>
                  </a:lnTo>
                  <a:lnTo>
                    <a:pt x="372" y="534"/>
                  </a:lnTo>
                  <a:lnTo>
                    <a:pt x="386" y="534"/>
                  </a:lnTo>
                  <a:lnTo>
                    <a:pt x="384" y="531"/>
                  </a:lnTo>
                  <a:lnTo>
                    <a:pt x="389" y="526"/>
                  </a:lnTo>
                  <a:lnTo>
                    <a:pt x="394" y="519"/>
                  </a:lnTo>
                  <a:lnTo>
                    <a:pt x="386" y="514"/>
                  </a:lnTo>
                  <a:lnTo>
                    <a:pt x="388" y="511"/>
                  </a:lnTo>
                  <a:lnTo>
                    <a:pt x="381" y="506"/>
                  </a:lnTo>
                  <a:lnTo>
                    <a:pt x="376" y="504"/>
                  </a:lnTo>
                  <a:lnTo>
                    <a:pt x="365" y="507"/>
                  </a:lnTo>
                  <a:lnTo>
                    <a:pt x="365" y="502"/>
                  </a:lnTo>
                  <a:lnTo>
                    <a:pt x="371" y="490"/>
                  </a:lnTo>
                  <a:lnTo>
                    <a:pt x="377" y="494"/>
                  </a:lnTo>
                  <a:lnTo>
                    <a:pt x="379" y="485"/>
                  </a:lnTo>
                  <a:lnTo>
                    <a:pt x="386" y="482"/>
                  </a:lnTo>
                  <a:lnTo>
                    <a:pt x="377" y="475"/>
                  </a:lnTo>
                  <a:lnTo>
                    <a:pt x="377" y="470"/>
                  </a:lnTo>
                  <a:lnTo>
                    <a:pt x="381" y="463"/>
                  </a:lnTo>
                  <a:lnTo>
                    <a:pt x="393" y="465"/>
                  </a:lnTo>
                  <a:lnTo>
                    <a:pt x="398" y="465"/>
                  </a:lnTo>
                  <a:lnTo>
                    <a:pt x="408" y="470"/>
                  </a:lnTo>
                  <a:lnTo>
                    <a:pt x="408" y="466"/>
                  </a:lnTo>
                  <a:lnTo>
                    <a:pt x="413" y="470"/>
                  </a:lnTo>
                  <a:lnTo>
                    <a:pt x="420" y="465"/>
                  </a:lnTo>
                  <a:lnTo>
                    <a:pt x="427" y="456"/>
                  </a:lnTo>
                  <a:lnTo>
                    <a:pt x="428" y="456"/>
                  </a:lnTo>
                  <a:lnTo>
                    <a:pt x="449" y="454"/>
                  </a:lnTo>
                  <a:lnTo>
                    <a:pt x="445" y="449"/>
                  </a:lnTo>
                  <a:lnTo>
                    <a:pt x="454" y="454"/>
                  </a:lnTo>
                  <a:lnTo>
                    <a:pt x="461" y="453"/>
                  </a:lnTo>
                  <a:lnTo>
                    <a:pt x="473" y="453"/>
                  </a:lnTo>
                  <a:lnTo>
                    <a:pt x="473" y="444"/>
                  </a:lnTo>
                  <a:lnTo>
                    <a:pt x="473" y="437"/>
                  </a:lnTo>
                  <a:lnTo>
                    <a:pt x="476" y="426"/>
                  </a:lnTo>
                  <a:lnTo>
                    <a:pt x="471" y="417"/>
                  </a:lnTo>
                  <a:lnTo>
                    <a:pt x="476" y="410"/>
                  </a:lnTo>
                  <a:lnTo>
                    <a:pt x="479" y="402"/>
                  </a:lnTo>
                  <a:lnTo>
                    <a:pt x="476" y="398"/>
                  </a:lnTo>
                  <a:lnTo>
                    <a:pt x="486" y="393"/>
                  </a:lnTo>
                  <a:lnTo>
                    <a:pt x="488" y="380"/>
                  </a:lnTo>
                  <a:lnTo>
                    <a:pt x="488" y="376"/>
                  </a:lnTo>
                  <a:lnTo>
                    <a:pt x="496" y="371"/>
                  </a:lnTo>
                  <a:lnTo>
                    <a:pt x="510" y="369"/>
                  </a:lnTo>
                  <a:lnTo>
                    <a:pt x="513" y="368"/>
                  </a:lnTo>
                  <a:lnTo>
                    <a:pt x="524" y="373"/>
                  </a:lnTo>
                  <a:lnTo>
                    <a:pt x="525" y="375"/>
                  </a:lnTo>
                  <a:lnTo>
                    <a:pt x="529" y="371"/>
                  </a:lnTo>
                  <a:lnTo>
                    <a:pt x="535" y="371"/>
                  </a:lnTo>
                  <a:lnTo>
                    <a:pt x="546" y="369"/>
                  </a:lnTo>
                  <a:lnTo>
                    <a:pt x="554" y="361"/>
                  </a:lnTo>
                  <a:lnTo>
                    <a:pt x="556" y="361"/>
                  </a:lnTo>
                  <a:lnTo>
                    <a:pt x="564" y="364"/>
                  </a:lnTo>
                  <a:lnTo>
                    <a:pt x="564" y="361"/>
                  </a:lnTo>
                  <a:lnTo>
                    <a:pt x="563" y="352"/>
                  </a:lnTo>
                  <a:lnTo>
                    <a:pt x="575" y="349"/>
                  </a:lnTo>
                  <a:lnTo>
                    <a:pt x="583" y="351"/>
                  </a:lnTo>
                  <a:lnTo>
                    <a:pt x="592" y="342"/>
                  </a:lnTo>
                  <a:lnTo>
                    <a:pt x="603" y="335"/>
                  </a:lnTo>
                  <a:lnTo>
                    <a:pt x="612" y="337"/>
                  </a:lnTo>
                  <a:lnTo>
                    <a:pt x="617" y="337"/>
                  </a:lnTo>
                  <a:lnTo>
                    <a:pt x="620" y="334"/>
                  </a:lnTo>
                  <a:lnTo>
                    <a:pt x="624" y="335"/>
                  </a:lnTo>
                  <a:lnTo>
                    <a:pt x="627" y="335"/>
                  </a:lnTo>
                  <a:lnTo>
                    <a:pt x="636" y="329"/>
                  </a:lnTo>
                  <a:lnTo>
                    <a:pt x="641" y="330"/>
                  </a:lnTo>
                  <a:lnTo>
                    <a:pt x="641" y="327"/>
                  </a:lnTo>
                  <a:lnTo>
                    <a:pt x="646" y="329"/>
                  </a:lnTo>
                  <a:lnTo>
                    <a:pt x="654" y="324"/>
                  </a:lnTo>
                  <a:lnTo>
                    <a:pt x="656" y="317"/>
                  </a:lnTo>
                  <a:lnTo>
                    <a:pt x="658" y="317"/>
                  </a:lnTo>
                  <a:lnTo>
                    <a:pt x="660" y="317"/>
                  </a:lnTo>
                  <a:lnTo>
                    <a:pt x="671" y="322"/>
                  </a:lnTo>
                  <a:lnTo>
                    <a:pt x="671" y="324"/>
                  </a:lnTo>
                  <a:lnTo>
                    <a:pt x="677" y="322"/>
                  </a:lnTo>
                  <a:lnTo>
                    <a:pt x="694" y="329"/>
                  </a:lnTo>
                  <a:lnTo>
                    <a:pt x="702" y="324"/>
                  </a:lnTo>
                  <a:lnTo>
                    <a:pt x="699" y="318"/>
                  </a:lnTo>
                  <a:lnTo>
                    <a:pt x="702" y="306"/>
                  </a:lnTo>
                  <a:lnTo>
                    <a:pt x="705" y="300"/>
                  </a:lnTo>
                  <a:lnTo>
                    <a:pt x="709" y="301"/>
                  </a:lnTo>
                  <a:lnTo>
                    <a:pt x="717" y="293"/>
                  </a:lnTo>
                  <a:lnTo>
                    <a:pt x="721" y="286"/>
                  </a:lnTo>
                  <a:lnTo>
                    <a:pt x="716" y="283"/>
                  </a:lnTo>
                  <a:lnTo>
                    <a:pt x="722" y="279"/>
                  </a:lnTo>
                  <a:lnTo>
                    <a:pt x="729" y="276"/>
                  </a:lnTo>
                  <a:lnTo>
                    <a:pt x="733" y="267"/>
                  </a:lnTo>
                  <a:lnTo>
                    <a:pt x="729" y="267"/>
                  </a:lnTo>
                  <a:lnTo>
                    <a:pt x="726" y="261"/>
                  </a:lnTo>
                  <a:lnTo>
                    <a:pt x="736" y="254"/>
                  </a:lnTo>
                  <a:lnTo>
                    <a:pt x="734" y="247"/>
                  </a:lnTo>
                  <a:lnTo>
                    <a:pt x="738" y="240"/>
                  </a:lnTo>
                  <a:lnTo>
                    <a:pt x="736" y="238"/>
                  </a:lnTo>
                  <a:lnTo>
                    <a:pt x="726" y="232"/>
                  </a:lnTo>
                  <a:lnTo>
                    <a:pt x="731" y="225"/>
                  </a:lnTo>
                  <a:lnTo>
                    <a:pt x="739" y="221"/>
                  </a:lnTo>
                  <a:lnTo>
                    <a:pt x="748" y="210"/>
                  </a:lnTo>
                  <a:lnTo>
                    <a:pt x="741" y="211"/>
                  </a:lnTo>
                  <a:lnTo>
                    <a:pt x="729" y="206"/>
                  </a:lnTo>
                  <a:lnTo>
                    <a:pt x="729" y="198"/>
                  </a:lnTo>
                  <a:lnTo>
                    <a:pt x="729" y="193"/>
                  </a:lnTo>
                  <a:lnTo>
                    <a:pt x="726" y="191"/>
                  </a:lnTo>
                  <a:lnTo>
                    <a:pt x="726" y="181"/>
                  </a:lnTo>
                  <a:lnTo>
                    <a:pt x="729" y="179"/>
                  </a:lnTo>
                  <a:lnTo>
                    <a:pt x="726" y="169"/>
                  </a:lnTo>
                  <a:lnTo>
                    <a:pt x="728" y="165"/>
                  </a:lnTo>
                  <a:lnTo>
                    <a:pt x="729" y="169"/>
                  </a:lnTo>
                  <a:lnTo>
                    <a:pt x="738" y="165"/>
                  </a:lnTo>
                  <a:lnTo>
                    <a:pt x="743" y="164"/>
                  </a:lnTo>
                  <a:lnTo>
                    <a:pt x="753" y="164"/>
                  </a:lnTo>
                  <a:lnTo>
                    <a:pt x="762" y="157"/>
                  </a:lnTo>
                  <a:lnTo>
                    <a:pt x="768" y="165"/>
                  </a:lnTo>
                  <a:lnTo>
                    <a:pt x="765" y="174"/>
                  </a:lnTo>
                  <a:lnTo>
                    <a:pt x="772" y="174"/>
                  </a:lnTo>
                  <a:lnTo>
                    <a:pt x="782" y="170"/>
                  </a:lnTo>
                  <a:lnTo>
                    <a:pt x="785" y="179"/>
                  </a:lnTo>
                  <a:lnTo>
                    <a:pt x="792" y="181"/>
                  </a:lnTo>
                  <a:lnTo>
                    <a:pt x="801" y="181"/>
                  </a:lnTo>
                  <a:lnTo>
                    <a:pt x="804" y="182"/>
                  </a:lnTo>
                  <a:lnTo>
                    <a:pt x="807" y="181"/>
                  </a:lnTo>
                  <a:lnTo>
                    <a:pt x="809" y="172"/>
                  </a:lnTo>
                  <a:lnTo>
                    <a:pt x="813" y="169"/>
                  </a:lnTo>
                  <a:lnTo>
                    <a:pt x="823" y="167"/>
                  </a:lnTo>
                  <a:lnTo>
                    <a:pt x="826" y="169"/>
                  </a:lnTo>
                  <a:lnTo>
                    <a:pt x="830" y="162"/>
                  </a:lnTo>
                  <a:lnTo>
                    <a:pt x="838" y="162"/>
                  </a:lnTo>
                  <a:lnTo>
                    <a:pt x="838" y="159"/>
                  </a:lnTo>
                  <a:lnTo>
                    <a:pt x="833" y="148"/>
                  </a:lnTo>
                  <a:lnTo>
                    <a:pt x="838" y="143"/>
                  </a:lnTo>
                  <a:lnTo>
                    <a:pt x="841" y="143"/>
                  </a:lnTo>
                  <a:lnTo>
                    <a:pt x="847" y="153"/>
                  </a:lnTo>
                  <a:lnTo>
                    <a:pt x="848" y="155"/>
                  </a:lnTo>
                  <a:lnTo>
                    <a:pt x="852" y="148"/>
                  </a:lnTo>
                  <a:lnTo>
                    <a:pt x="860" y="143"/>
                  </a:lnTo>
                  <a:lnTo>
                    <a:pt x="865" y="141"/>
                  </a:lnTo>
                  <a:lnTo>
                    <a:pt x="874" y="141"/>
                  </a:lnTo>
                  <a:lnTo>
                    <a:pt x="881" y="138"/>
                  </a:lnTo>
                  <a:lnTo>
                    <a:pt x="891" y="136"/>
                  </a:lnTo>
                  <a:lnTo>
                    <a:pt x="898" y="141"/>
                  </a:lnTo>
                  <a:lnTo>
                    <a:pt x="903" y="143"/>
                  </a:lnTo>
                  <a:lnTo>
                    <a:pt x="904" y="136"/>
                  </a:lnTo>
                  <a:lnTo>
                    <a:pt x="901" y="133"/>
                  </a:lnTo>
                  <a:lnTo>
                    <a:pt x="909" y="128"/>
                  </a:lnTo>
                  <a:lnTo>
                    <a:pt x="916" y="133"/>
                  </a:lnTo>
                  <a:lnTo>
                    <a:pt x="918" y="141"/>
                  </a:lnTo>
                  <a:lnTo>
                    <a:pt x="923" y="141"/>
                  </a:lnTo>
                  <a:lnTo>
                    <a:pt x="935" y="143"/>
                  </a:lnTo>
                  <a:lnTo>
                    <a:pt x="935" y="150"/>
                  </a:lnTo>
                  <a:lnTo>
                    <a:pt x="938" y="157"/>
                  </a:lnTo>
                  <a:lnTo>
                    <a:pt x="947" y="155"/>
                  </a:lnTo>
                  <a:lnTo>
                    <a:pt x="957" y="159"/>
                  </a:lnTo>
                  <a:lnTo>
                    <a:pt x="962" y="153"/>
                  </a:lnTo>
                  <a:lnTo>
                    <a:pt x="974" y="150"/>
                  </a:lnTo>
                  <a:lnTo>
                    <a:pt x="983" y="152"/>
                  </a:lnTo>
                  <a:lnTo>
                    <a:pt x="993" y="157"/>
                  </a:lnTo>
                  <a:lnTo>
                    <a:pt x="989" y="167"/>
                  </a:lnTo>
                  <a:lnTo>
                    <a:pt x="996" y="167"/>
                  </a:lnTo>
                  <a:lnTo>
                    <a:pt x="1000" y="170"/>
                  </a:lnTo>
                  <a:lnTo>
                    <a:pt x="1010" y="176"/>
                  </a:lnTo>
                  <a:lnTo>
                    <a:pt x="1013" y="177"/>
                  </a:lnTo>
                  <a:lnTo>
                    <a:pt x="1018" y="176"/>
                  </a:lnTo>
                  <a:lnTo>
                    <a:pt x="1027" y="176"/>
                  </a:lnTo>
                  <a:lnTo>
                    <a:pt x="1027" y="184"/>
                  </a:lnTo>
                  <a:lnTo>
                    <a:pt x="1034" y="182"/>
                  </a:lnTo>
                  <a:lnTo>
                    <a:pt x="1039" y="177"/>
                  </a:lnTo>
                  <a:lnTo>
                    <a:pt x="1045" y="182"/>
                  </a:lnTo>
                  <a:lnTo>
                    <a:pt x="1052" y="177"/>
                  </a:lnTo>
                  <a:lnTo>
                    <a:pt x="1059" y="177"/>
                  </a:lnTo>
                  <a:lnTo>
                    <a:pt x="1066" y="172"/>
                  </a:lnTo>
                  <a:lnTo>
                    <a:pt x="1073" y="169"/>
                  </a:lnTo>
                  <a:lnTo>
                    <a:pt x="1081" y="177"/>
                  </a:lnTo>
                  <a:lnTo>
                    <a:pt x="1083" y="181"/>
                  </a:lnTo>
                  <a:lnTo>
                    <a:pt x="1088" y="181"/>
                  </a:lnTo>
                  <a:lnTo>
                    <a:pt x="1091" y="176"/>
                  </a:lnTo>
                  <a:lnTo>
                    <a:pt x="1098" y="177"/>
                  </a:lnTo>
                  <a:lnTo>
                    <a:pt x="1110" y="174"/>
                  </a:lnTo>
                  <a:lnTo>
                    <a:pt x="1105" y="165"/>
                  </a:lnTo>
                  <a:lnTo>
                    <a:pt x="1110" y="160"/>
                  </a:lnTo>
                  <a:lnTo>
                    <a:pt x="1119" y="159"/>
                  </a:lnTo>
                  <a:lnTo>
                    <a:pt x="1124" y="157"/>
                  </a:lnTo>
                  <a:lnTo>
                    <a:pt x="1127" y="160"/>
                  </a:lnTo>
                  <a:lnTo>
                    <a:pt x="1132" y="159"/>
                  </a:lnTo>
                  <a:lnTo>
                    <a:pt x="1134" y="153"/>
                  </a:lnTo>
                  <a:lnTo>
                    <a:pt x="1125" y="147"/>
                  </a:lnTo>
                  <a:lnTo>
                    <a:pt x="1125" y="143"/>
                  </a:lnTo>
                  <a:lnTo>
                    <a:pt x="1136" y="141"/>
                  </a:lnTo>
                  <a:lnTo>
                    <a:pt x="1146" y="140"/>
                  </a:lnTo>
                  <a:lnTo>
                    <a:pt x="1151" y="148"/>
                  </a:lnTo>
                  <a:lnTo>
                    <a:pt x="1159" y="141"/>
                  </a:lnTo>
                  <a:lnTo>
                    <a:pt x="1158" y="135"/>
                  </a:lnTo>
                  <a:lnTo>
                    <a:pt x="1168" y="136"/>
                  </a:lnTo>
                  <a:lnTo>
                    <a:pt x="1173" y="140"/>
                  </a:lnTo>
                  <a:lnTo>
                    <a:pt x="1180" y="130"/>
                  </a:lnTo>
                  <a:lnTo>
                    <a:pt x="1183" y="135"/>
                  </a:lnTo>
                  <a:lnTo>
                    <a:pt x="1187" y="128"/>
                  </a:lnTo>
                  <a:lnTo>
                    <a:pt x="1190" y="133"/>
                  </a:lnTo>
                  <a:lnTo>
                    <a:pt x="1202" y="136"/>
                  </a:lnTo>
                  <a:lnTo>
                    <a:pt x="1202" y="131"/>
                  </a:lnTo>
                  <a:lnTo>
                    <a:pt x="1210" y="128"/>
                  </a:lnTo>
                  <a:lnTo>
                    <a:pt x="1202" y="123"/>
                  </a:lnTo>
                  <a:lnTo>
                    <a:pt x="1204" y="118"/>
                  </a:lnTo>
                  <a:lnTo>
                    <a:pt x="1214" y="119"/>
                  </a:lnTo>
                  <a:lnTo>
                    <a:pt x="1221" y="116"/>
                  </a:lnTo>
                  <a:lnTo>
                    <a:pt x="1219" y="113"/>
                  </a:lnTo>
                  <a:lnTo>
                    <a:pt x="1209" y="113"/>
                  </a:lnTo>
                  <a:lnTo>
                    <a:pt x="1214" y="106"/>
                  </a:lnTo>
                  <a:lnTo>
                    <a:pt x="1222" y="107"/>
                  </a:lnTo>
                  <a:lnTo>
                    <a:pt x="1231" y="104"/>
                  </a:lnTo>
                  <a:lnTo>
                    <a:pt x="1229" y="96"/>
                  </a:lnTo>
                  <a:lnTo>
                    <a:pt x="1222" y="99"/>
                  </a:lnTo>
                  <a:lnTo>
                    <a:pt x="1221" y="89"/>
                  </a:lnTo>
                  <a:lnTo>
                    <a:pt x="1217" y="87"/>
                  </a:lnTo>
                  <a:lnTo>
                    <a:pt x="1224" y="87"/>
                  </a:lnTo>
                  <a:lnTo>
                    <a:pt x="1227" y="90"/>
                  </a:lnTo>
                  <a:lnTo>
                    <a:pt x="1236" y="85"/>
                  </a:lnTo>
                  <a:lnTo>
                    <a:pt x="1244" y="82"/>
                  </a:lnTo>
                  <a:lnTo>
                    <a:pt x="1249" y="85"/>
                  </a:lnTo>
                  <a:lnTo>
                    <a:pt x="1249" y="94"/>
                  </a:lnTo>
                  <a:lnTo>
                    <a:pt x="1253" y="99"/>
                  </a:lnTo>
                  <a:lnTo>
                    <a:pt x="1256" y="102"/>
                  </a:lnTo>
                  <a:lnTo>
                    <a:pt x="1263" y="102"/>
                  </a:lnTo>
                  <a:lnTo>
                    <a:pt x="1268" y="106"/>
                  </a:lnTo>
                  <a:lnTo>
                    <a:pt x="1273" y="113"/>
                  </a:lnTo>
                  <a:lnTo>
                    <a:pt x="1272" y="118"/>
                  </a:lnTo>
                  <a:lnTo>
                    <a:pt x="1282" y="118"/>
                  </a:lnTo>
                  <a:lnTo>
                    <a:pt x="1283" y="126"/>
                  </a:lnTo>
                  <a:lnTo>
                    <a:pt x="1282" y="131"/>
                  </a:lnTo>
                  <a:lnTo>
                    <a:pt x="1285" y="131"/>
                  </a:lnTo>
                  <a:lnTo>
                    <a:pt x="1285" y="135"/>
                  </a:lnTo>
                  <a:lnTo>
                    <a:pt x="1294" y="136"/>
                  </a:lnTo>
                  <a:lnTo>
                    <a:pt x="1302" y="143"/>
                  </a:lnTo>
                  <a:lnTo>
                    <a:pt x="1304" y="148"/>
                  </a:lnTo>
                  <a:lnTo>
                    <a:pt x="1309" y="150"/>
                  </a:lnTo>
                  <a:lnTo>
                    <a:pt x="1316" y="160"/>
                  </a:lnTo>
                  <a:lnTo>
                    <a:pt x="1326" y="164"/>
                  </a:lnTo>
                  <a:lnTo>
                    <a:pt x="1329" y="164"/>
                  </a:lnTo>
                  <a:lnTo>
                    <a:pt x="1338" y="162"/>
                  </a:lnTo>
                  <a:lnTo>
                    <a:pt x="1351" y="162"/>
                  </a:lnTo>
                  <a:lnTo>
                    <a:pt x="1360" y="160"/>
                  </a:lnTo>
                  <a:lnTo>
                    <a:pt x="1362" y="165"/>
                  </a:lnTo>
                  <a:lnTo>
                    <a:pt x="1367" y="170"/>
                  </a:lnTo>
                  <a:lnTo>
                    <a:pt x="1379" y="172"/>
                  </a:lnTo>
                  <a:lnTo>
                    <a:pt x="1382" y="176"/>
                  </a:lnTo>
                  <a:lnTo>
                    <a:pt x="1394" y="174"/>
                  </a:lnTo>
                  <a:lnTo>
                    <a:pt x="1402" y="174"/>
                  </a:lnTo>
                  <a:lnTo>
                    <a:pt x="1411" y="179"/>
                  </a:lnTo>
                  <a:lnTo>
                    <a:pt x="1413" y="176"/>
                  </a:lnTo>
                  <a:lnTo>
                    <a:pt x="1413" y="165"/>
                  </a:lnTo>
                  <a:lnTo>
                    <a:pt x="1411" y="162"/>
                  </a:lnTo>
                  <a:lnTo>
                    <a:pt x="1411" y="159"/>
                  </a:lnTo>
                  <a:lnTo>
                    <a:pt x="1421" y="155"/>
                  </a:lnTo>
                  <a:lnTo>
                    <a:pt x="1423" y="145"/>
                  </a:lnTo>
                  <a:lnTo>
                    <a:pt x="1428" y="140"/>
                  </a:lnTo>
                  <a:lnTo>
                    <a:pt x="1430" y="130"/>
                  </a:lnTo>
                  <a:lnTo>
                    <a:pt x="1423" y="123"/>
                  </a:lnTo>
                  <a:lnTo>
                    <a:pt x="1431" y="116"/>
                  </a:lnTo>
                  <a:lnTo>
                    <a:pt x="1443" y="114"/>
                  </a:lnTo>
                  <a:lnTo>
                    <a:pt x="1445" y="109"/>
                  </a:lnTo>
                  <a:lnTo>
                    <a:pt x="1450" y="111"/>
                  </a:lnTo>
                  <a:lnTo>
                    <a:pt x="1450" y="107"/>
                  </a:lnTo>
                  <a:lnTo>
                    <a:pt x="1453" y="102"/>
                  </a:lnTo>
                  <a:lnTo>
                    <a:pt x="1453" y="94"/>
                  </a:lnTo>
                  <a:lnTo>
                    <a:pt x="1450" y="90"/>
                  </a:lnTo>
                  <a:lnTo>
                    <a:pt x="1452" y="85"/>
                  </a:lnTo>
                  <a:lnTo>
                    <a:pt x="1440" y="80"/>
                  </a:lnTo>
                  <a:lnTo>
                    <a:pt x="1438" y="77"/>
                  </a:lnTo>
                  <a:lnTo>
                    <a:pt x="1447" y="68"/>
                  </a:lnTo>
                  <a:lnTo>
                    <a:pt x="1453" y="67"/>
                  </a:lnTo>
                  <a:lnTo>
                    <a:pt x="1464" y="68"/>
                  </a:lnTo>
                  <a:lnTo>
                    <a:pt x="1470" y="60"/>
                  </a:lnTo>
                  <a:lnTo>
                    <a:pt x="1476" y="62"/>
                  </a:lnTo>
                  <a:lnTo>
                    <a:pt x="1476" y="56"/>
                  </a:lnTo>
                  <a:lnTo>
                    <a:pt x="1479" y="51"/>
                  </a:lnTo>
                  <a:lnTo>
                    <a:pt x="1481" y="45"/>
                  </a:lnTo>
                  <a:lnTo>
                    <a:pt x="1486" y="45"/>
                  </a:lnTo>
                  <a:lnTo>
                    <a:pt x="1491" y="38"/>
                  </a:lnTo>
                  <a:lnTo>
                    <a:pt x="1498" y="39"/>
                  </a:lnTo>
                  <a:lnTo>
                    <a:pt x="1503" y="41"/>
                  </a:lnTo>
                  <a:lnTo>
                    <a:pt x="1510" y="41"/>
                  </a:lnTo>
                  <a:lnTo>
                    <a:pt x="1516" y="39"/>
                  </a:lnTo>
                  <a:lnTo>
                    <a:pt x="1525" y="33"/>
                  </a:lnTo>
                  <a:lnTo>
                    <a:pt x="1530" y="31"/>
                  </a:lnTo>
                  <a:lnTo>
                    <a:pt x="1530" y="33"/>
                  </a:lnTo>
                  <a:lnTo>
                    <a:pt x="1540" y="33"/>
                  </a:lnTo>
                  <a:lnTo>
                    <a:pt x="1547" y="36"/>
                  </a:lnTo>
                  <a:lnTo>
                    <a:pt x="1552" y="34"/>
                  </a:lnTo>
                  <a:lnTo>
                    <a:pt x="1559" y="36"/>
                  </a:lnTo>
                  <a:lnTo>
                    <a:pt x="1566" y="33"/>
                  </a:lnTo>
                  <a:lnTo>
                    <a:pt x="1578" y="31"/>
                  </a:lnTo>
                  <a:lnTo>
                    <a:pt x="1581" y="28"/>
                  </a:lnTo>
                  <a:lnTo>
                    <a:pt x="1591" y="29"/>
                  </a:lnTo>
                  <a:lnTo>
                    <a:pt x="1593" y="26"/>
                  </a:lnTo>
                  <a:lnTo>
                    <a:pt x="1601" y="26"/>
                  </a:lnTo>
                  <a:lnTo>
                    <a:pt x="1608" y="24"/>
                  </a:lnTo>
                  <a:lnTo>
                    <a:pt x="1610" y="21"/>
                  </a:lnTo>
                  <a:lnTo>
                    <a:pt x="1622" y="17"/>
                  </a:lnTo>
                  <a:lnTo>
                    <a:pt x="1630" y="9"/>
                  </a:lnTo>
                  <a:lnTo>
                    <a:pt x="1642" y="7"/>
                  </a:lnTo>
                  <a:lnTo>
                    <a:pt x="1651" y="0"/>
                  </a:lnTo>
                  <a:lnTo>
                    <a:pt x="1657" y="2"/>
                  </a:lnTo>
                  <a:lnTo>
                    <a:pt x="1664" y="11"/>
                  </a:lnTo>
                  <a:lnTo>
                    <a:pt x="1669" y="14"/>
                  </a:lnTo>
                  <a:lnTo>
                    <a:pt x="1674" y="26"/>
                  </a:lnTo>
                  <a:lnTo>
                    <a:pt x="1676" y="26"/>
                  </a:lnTo>
                  <a:lnTo>
                    <a:pt x="1674" y="28"/>
                  </a:lnTo>
                  <a:lnTo>
                    <a:pt x="1676" y="29"/>
                  </a:lnTo>
                  <a:lnTo>
                    <a:pt x="1676" y="39"/>
                  </a:lnTo>
                  <a:lnTo>
                    <a:pt x="1673" y="39"/>
                  </a:lnTo>
                  <a:lnTo>
                    <a:pt x="1676" y="43"/>
                  </a:lnTo>
                  <a:lnTo>
                    <a:pt x="1671" y="46"/>
                  </a:lnTo>
                  <a:lnTo>
                    <a:pt x="1676" y="50"/>
                  </a:lnTo>
                  <a:lnTo>
                    <a:pt x="1673" y="55"/>
                  </a:lnTo>
                  <a:lnTo>
                    <a:pt x="1678" y="56"/>
                  </a:lnTo>
                  <a:lnTo>
                    <a:pt x="1676" y="58"/>
                  </a:lnTo>
                  <a:lnTo>
                    <a:pt x="1680" y="68"/>
                  </a:lnTo>
                  <a:lnTo>
                    <a:pt x="1683" y="68"/>
                  </a:lnTo>
                  <a:lnTo>
                    <a:pt x="1685" y="73"/>
                  </a:lnTo>
                  <a:lnTo>
                    <a:pt x="1691" y="77"/>
                  </a:lnTo>
                  <a:lnTo>
                    <a:pt x="1702" y="79"/>
                  </a:lnTo>
                  <a:lnTo>
                    <a:pt x="1703" y="80"/>
                  </a:lnTo>
                  <a:lnTo>
                    <a:pt x="1708" y="80"/>
                  </a:lnTo>
                  <a:lnTo>
                    <a:pt x="1705" y="70"/>
                  </a:lnTo>
                  <a:lnTo>
                    <a:pt x="1712" y="73"/>
                  </a:lnTo>
                  <a:lnTo>
                    <a:pt x="1717" y="79"/>
                  </a:lnTo>
                  <a:lnTo>
                    <a:pt x="1720" y="85"/>
                  </a:lnTo>
                  <a:lnTo>
                    <a:pt x="1719" y="92"/>
                  </a:lnTo>
                  <a:lnTo>
                    <a:pt x="1722" y="101"/>
                  </a:lnTo>
                  <a:lnTo>
                    <a:pt x="1714" y="99"/>
                  </a:lnTo>
                  <a:lnTo>
                    <a:pt x="1715" y="104"/>
                  </a:lnTo>
                  <a:lnTo>
                    <a:pt x="1703" y="107"/>
                  </a:lnTo>
                  <a:lnTo>
                    <a:pt x="1700" y="113"/>
                  </a:lnTo>
                  <a:lnTo>
                    <a:pt x="1693" y="114"/>
                  </a:lnTo>
                  <a:lnTo>
                    <a:pt x="1693" y="123"/>
                  </a:lnTo>
                  <a:lnTo>
                    <a:pt x="1690" y="128"/>
                  </a:lnTo>
                  <a:lnTo>
                    <a:pt x="1686" y="136"/>
                  </a:lnTo>
                  <a:lnTo>
                    <a:pt x="1680" y="135"/>
                  </a:lnTo>
                  <a:lnTo>
                    <a:pt x="1676" y="141"/>
                  </a:lnTo>
                  <a:lnTo>
                    <a:pt x="1680" y="147"/>
                  </a:lnTo>
                  <a:lnTo>
                    <a:pt x="1683" y="143"/>
                  </a:lnTo>
                  <a:lnTo>
                    <a:pt x="1685" y="147"/>
                  </a:lnTo>
                  <a:lnTo>
                    <a:pt x="1683" y="148"/>
                  </a:lnTo>
                  <a:lnTo>
                    <a:pt x="1669" y="153"/>
                  </a:lnTo>
                  <a:lnTo>
                    <a:pt x="1678" y="159"/>
                  </a:lnTo>
                  <a:lnTo>
                    <a:pt x="1674" y="160"/>
                  </a:lnTo>
                  <a:lnTo>
                    <a:pt x="1688" y="164"/>
                  </a:lnTo>
                  <a:lnTo>
                    <a:pt x="1686" y="170"/>
                  </a:lnTo>
                  <a:lnTo>
                    <a:pt x="1693" y="164"/>
                  </a:lnTo>
                  <a:lnTo>
                    <a:pt x="1697" y="164"/>
                  </a:lnTo>
                  <a:lnTo>
                    <a:pt x="1707" y="165"/>
                  </a:lnTo>
                  <a:lnTo>
                    <a:pt x="1712" y="169"/>
                  </a:lnTo>
                  <a:lnTo>
                    <a:pt x="1722" y="170"/>
                  </a:lnTo>
                  <a:lnTo>
                    <a:pt x="1729" y="179"/>
                  </a:lnTo>
                  <a:lnTo>
                    <a:pt x="1736" y="172"/>
                  </a:lnTo>
                  <a:lnTo>
                    <a:pt x="1742" y="169"/>
                  </a:lnTo>
                  <a:lnTo>
                    <a:pt x="1754" y="169"/>
                  </a:lnTo>
                  <a:lnTo>
                    <a:pt x="1761" y="165"/>
                  </a:lnTo>
                  <a:lnTo>
                    <a:pt x="1771" y="164"/>
                  </a:lnTo>
                  <a:lnTo>
                    <a:pt x="1775" y="170"/>
                  </a:lnTo>
                  <a:lnTo>
                    <a:pt x="1787" y="174"/>
                  </a:lnTo>
                  <a:lnTo>
                    <a:pt x="1792" y="176"/>
                  </a:lnTo>
                  <a:lnTo>
                    <a:pt x="1793" y="182"/>
                  </a:lnTo>
                  <a:lnTo>
                    <a:pt x="1804" y="181"/>
                  </a:lnTo>
                  <a:lnTo>
                    <a:pt x="1807" y="182"/>
                  </a:lnTo>
                  <a:lnTo>
                    <a:pt x="1814" y="177"/>
                  </a:lnTo>
                  <a:lnTo>
                    <a:pt x="1819" y="187"/>
                  </a:lnTo>
                  <a:lnTo>
                    <a:pt x="1827" y="187"/>
                  </a:lnTo>
                  <a:lnTo>
                    <a:pt x="1829" y="193"/>
                  </a:lnTo>
                  <a:lnTo>
                    <a:pt x="1833" y="187"/>
                  </a:lnTo>
                  <a:lnTo>
                    <a:pt x="1834" y="191"/>
                  </a:lnTo>
                  <a:lnTo>
                    <a:pt x="1841" y="189"/>
                  </a:lnTo>
                  <a:lnTo>
                    <a:pt x="1841" y="184"/>
                  </a:lnTo>
                  <a:lnTo>
                    <a:pt x="1844" y="187"/>
                  </a:lnTo>
                  <a:lnTo>
                    <a:pt x="1848" y="186"/>
                  </a:lnTo>
                  <a:lnTo>
                    <a:pt x="1846" y="194"/>
                  </a:lnTo>
                  <a:lnTo>
                    <a:pt x="1851" y="191"/>
                  </a:lnTo>
                  <a:lnTo>
                    <a:pt x="1853" y="198"/>
                  </a:lnTo>
                  <a:lnTo>
                    <a:pt x="1856" y="196"/>
                  </a:lnTo>
                  <a:lnTo>
                    <a:pt x="1858" y="203"/>
                  </a:lnTo>
                  <a:lnTo>
                    <a:pt x="1868" y="201"/>
                  </a:lnTo>
                  <a:lnTo>
                    <a:pt x="1867" y="208"/>
                  </a:lnTo>
                  <a:lnTo>
                    <a:pt x="1873" y="204"/>
                  </a:lnTo>
                  <a:lnTo>
                    <a:pt x="1872" y="211"/>
                  </a:lnTo>
                  <a:lnTo>
                    <a:pt x="1877" y="210"/>
                  </a:lnTo>
                  <a:lnTo>
                    <a:pt x="1875" y="204"/>
                  </a:lnTo>
                  <a:lnTo>
                    <a:pt x="1884" y="204"/>
                  </a:lnTo>
                  <a:lnTo>
                    <a:pt x="1884" y="210"/>
                  </a:lnTo>
                  <a:lnTo>
                    <a:pt x="1878" y="215"/>
                  </a:lnTo>
                  <a:lnTo>
                    <a:pt x="1889" y="213"/>
                  </a:lnTo>
                  <a:lnTo>
                    <a:pt x="1887" y="221"/>
                  </a:lnTo>
                  <a:lnTo>
                    <a:pt x="1895" y="221"/>
                  </a:lnTo>
                  <a:lnTo>
                    <a:pt x="1897" y="220"/>
                  </a:lnTo>
                  <a:lnTo>
                    <a:pt x="1901" y="228"/>
                  </a:lnTo>
                  <a:lnTo>
                    <a:pt x="1906" y="225"/>
                  </a:lnTo>
                  <a:lnTo>
                    <a:pt x="1912" y="227"/>
                  </a:lnTo>
                  <a:lnTo>
                    <a:pt x="1914" y="230"/>
                  </a:lnTo>
                  <a:lnTo>
                    <a:pt x="1919" y="228"/>
                  </a:lnTo>
                  <a:lnTo>
                    <a:pt x="1919" y="233"/>
                  </a:lnTo>
                  <a:lnTo>
                    <a:pt x="1912" y="232"/>
                  </a:lnTo>
                  <a:lnTo>
                    <a:pt x="1926" y="235"/>
                  </a:lnTo>
                  <a:lnTo>
                    <a:pt x="1926" y="242"/>
                  </a:lnTo>
                  <a:lnTo>
                    <a:pt x="1931" y="245"/>
                  </a:lnTo>
                  <a:lnTo>
                    <a:pt x="1928" y="255"/>
                  </a:lnTo>
                  <a:lnTo>
                    <a:pt x="1935" y="259"/>
                  </a:lnTo>
                  <a:lnTo>
                    <a:pt x="1928" y="267"/>
                  </a:lnTo>
                  <a:lnTo>
                    <a:pt x="1929" y="271"/>
                  </a:lnTo>
                  <a:lnTo>
                    <a:pt x="1936" y="272"/>
                  </a:lnTo>
                  <a:lnTo>
                    <a:pt x="1935" y="279"/>
                  </a:lnTo>
                  <a:lnTo>
                    <a:pt x="1941" y="28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1" name="Freeform 10">
              <a:extLst>
                <a:ext uri="{FF2B5EF4-FFF2-40B4-BE49-F238E27FC236}">
                  <a16:creationId xmlns:a16="http://schemas.microsoft.com/office/drawing/2014/main" id="{082A154B-AD3A-4176-990B-819828933221}"/>
                </a:ext>
              </a:extLst>
            </p:cNvPr>
            <p:cNvSpPr>
              <a:spLocks/>
            </p:cNvSpPr>
            <p:nvPr/>
          </p:nvSpPr>
          <p:spPr bwMode="gray">
            <a:xfrm>
              <a:off x="5600700" y="2535238"/>
              <a:ext cx="2270125" cy="1701800"/>
            </a:xfrm>
            <a:custGeom>
              <a:avLst/>
              <a:gdLst>
                <a:gd name="T0" fmla="*/ 1081 w 1430"/>
                <a:gd name="T1" fmla="*/ 92 h 1072"/>
                <a:gd name="T2" fmla="*/ 1117 w 1430"/>
                <a:gd name="T3" fmla="*/ 99 h 1072"/>
                <a:gd name="T4" fmla="*/ 1171 w 1430"/>
                <a:gd name="T5" fmla="*/ 89 h 1072"/>
                <a:gd name="T6" fmla="*/ 1234 w 1430"/>
                <a:gd name="T7" fmla="*/ 90 h 1072"/>
                <a:gd name="T8" fmla="*/ 1272 w 1430"/>
                <a:gd name="T9" fmla="*/ 126 h 1072"/>
                <a:gd name="T10" fmla="*/ 1314 w 1430"/>
                <a:gd name="T11" fmla="*/ 159 h 1072"/>
                <a:gd name="T12" fmla="*/ 1369 w 1430"/>
                <a:gd name="T13" fmla="*/ 203 h 1072"/>
                <a:gd name="T14" fmla="*/ 1409 w 1430"/>
                <a:gd name="T15" fmla="*/ 215 h 1072"/>
                <a:gd name="T16" fmla="*/ 1399 w 1430"/>
                <a:gd name="T17" fmla="*/ 267 h 1072"/>
                <a:gd name="T18" fmla="*/ 1397 w 1430"/>
                <a:gd name="T19" fmla="*/ 344 h 1072"/>
                <a:gd name="T20" fmla="*/ 1380 w 1430"/>
                <a:gd name="T21" fmla="*/ 415 h 1072"/>
                <a:gd name="T22" fmla="*/ 1324 w 1430"/>
                <a:gd name="T23" fmla="*/ 455 h 1072"/>
                <a:gd name="T24" fmla="*/ 1260 w 1430"/>
                <a:gd name="T25" fmla="*/ 495 h 1072"/>
                <a:gd name="T26" fmla="*/ 1185 w 1430"/>
                <a:gd name="T27" fmla="*/ 553 h 1072"/>
                <a:gd name="T28" fmla="*/ 1137 w 1430"/>
                <a:gd name="T29" fmla="*/ 519 h 1072"/>
                <a:gd name="T30" fmla="*/ 1059 w 1430"/>
                <a:gd name="T31" fmla="*/ 521 h 1072"/>
                <a:gd name="T32" fmla="*/ 995 w 1430"/>
                <a:gd name="T33" fmla="*/ 548 h 1072"/>
                <a:gd name="T34" fmla="*/ 950 w 1430"/>
                <a:gd name="T35" fmla="*/ 591 h 1072"/>
                <a:gd name="T36" fmla="*/ 901 w 1430"/>
                <a:gd name="T37" fmla="*/ 599 h 1072"/>
                <a:gd name="T38" fmla="*/ 859 w 1430"/>
                <a:gd name="T39" fmla="*/ 652 h 1072"/>
                <a:gd name="T40" fmla="*/ 818 w 1430"/>
                <a:gd name="T41" fmla="*/ 696 h 1072"/>
                <a:gd name="T42" fmla="*/ 774 w 1430"/>
                <a:gd name="T43" fmla="*/ 749 h 1072"/>
                <a:gd name="T44" fmla="*/ 702 w 1430"/>
                <a:gd name="T45" fmla="*/ 791 h 1072"/>
                <a:gd name="T46" fmla="*/ 719 w 1430"/>
                <a:gd name="T47" fmla="*/ 837 h 1072"/>
                <a:gd name="T48" fmla="*/ 751 w 1430"/>
                <a:gd name="T49" fmla="*/ 899 h 1072"/>
                <a:gd name="T50" fmla="*/ 775 w 1430"/>
                <a:gd name="T51" fmla="*/ 946 h 1072"/>
                <a:gd name="T52" fmla="*/ 784 w 1430"/>
                <a:gd name="T53" fmla="*/ 992 h 1072"/>
                <a:gd name="T54" fmla="*/ 743 w 1430"/>
                <a:gd name="T55" fmla="*/ 1021 h 1072"/>
                <a:gd name="T56" fmla="*/ 678 w 1430"/>
                <a:gd name="T57" fmla="*/ 1035 h 1072"/>
                <a:gd name="T58" fmla="*/ 636 w 1430"/>
                <a:gd name="T59" fmla="*/ 1069 h 1072"/>
                <a:gd name="T60" fmla="*/ 566 w 1430"/>
                <a:gd name="T61" fmla="*/ 1065 h 1072"/>
                <a:gd name="T62" fmla="*/ 488 w 1430"/>
                <a:gd name="T63" fmla="*/ 1038 h 1072"/>
                <a:gd name="T64" fmla="*/ 427 w 1430"/>
                <a:gd name="T65" fmla="*/ 1029 h 1072"/>
                <a:gd name="T66" fmla="*/ 379 w 1430"/>
                <a:gd name="T67" fmla="*/ 1057 h 1072"/>
                <a:gd name="T68" fmla="*/ 321 w 1430"/>
                <a:gd name="T69" fmla="*/ 1053 h 1072"/>
                <a:gd name="T70" fmla="*/ 240 w 1430"/>
                <a:gd name="T71" fmla="*/ 1041 h 1072"/>
                <a:gd name="T72" fmla="*/ 179 w 1430"/>
                <a:gd name="T73" fmla="*/ 982 h 1072"/>
                <a:gd name="T74" fmla="*/ 131 w 1430"/>
                <a:gd name="T75" fmla="*/ 924 h 1072"/>
                <a:gd name="T76" fmla="*/ 80 w 1430"/>
                <a:gd name="T77" fmla="*/ 861 h 1072"/>
                <a:gd name="T78" fmla="*/ 7 w 1430"/>
                <a:gd name="T79" fmla="*/ 815 h 1072"/>
                <a:gd name="T80" fmla="*/ 95 w 1430"/>
                <a:gd name="T81" fmla="*/ 628 h 1072"/>
                <a:gd name="T82" fmla="*/ 150 w 1430"/>
                <a:gd name="T83" fmla="*/ 478 h 1072"/>
                <a:gd name="T84" fmla="*/ 202 w 1430"/>
                <a:gd name="T85" fmla="*/ 373 h 1072"/>
                <a:gd name="T86" fmla="*/ 250 w 1430"/>
                <a:gd name="T87" fmla="*/ 318 h 1072"/>
                <a:gd name="T88" fmla="*/ 311 w 1430"/>
                <a:gd name="T89" fmla="*/ 273 h 1072"/>
                <a:gd name="T90" fmla="*/ 381 w 1430"/>
                <a:gd name="T91" fmla="*/ 249 h 1072"/>
                <a:gd name="T92" fmla="*/ 447 w 1430"/>
                <a:gd name="T93" fmla="*/ 262 h 1072"/>
                <a:gd name="T94" fmla="*/ 486 w 1430"/>
                <a:gd name="T95" fmla="*/ 238 h 1072"/>
                <a:gd name="T96" fmla="*/ 546 w 1430"/>
                <a:gd name="T97" fmla="*/ 191 h 1072"/>
                <a:gd name="T98" fmla="*/ 575 w 1430"/>
                <a:gd name="T99" fmla="*/ 176 h 1072"/>
                <a:gd name="T100" fmla="*/ 576 w 1430"/>
                <a:gd name="T101" fmla="*/ 123 h 1072"/>
                <a:gd name="T102" fmla="*/ 634 w 1430"/>
                <a:gd name="T103" fmla="*/ 90 h 1072"/>
                <a:gd name="T104" fmla="*/ 694 w 1430"/>
                <a:gd name="T105" fmla="*/ 70 h 1072"/>
                <a:gd name="T106" fmla="*/ 758 w 1430"/>
                <a:gd name="T107" fmla="*/ 68 h 1072"/>
                <a:gd name="T108" fmla="*/ 809 w 1430"/>
                <a:gd name="T109" fmla="*/ 63 h 1072"/>
                <a:gd name="T110" fmla="*/ 867 w 1430"/>
                <a:gd name="T111" fmla="*/ 19 h 1072"/>
                <a:gd name="T112" fmla="*/ 947 w 1430"/>
                <a:gd name="T113" fmla="*/ 12 h 1072"/>
                <a:gd name="T114" fmla="*/ 1005 w 1430"/>
                <a:gd name="T115" fmla="*/ 51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0" h="1072">
                  <a:moveTo>
                    <a:pt x="1037" y="58"/>
                  </a:moveTo>
                  <a:lnTo>
                    <a:pt x="1040" y="67"/>
                  </a:lnTo>
                  <a:lnTo>
                    <a:pt x="1046" y="63"/>
                  </a:lnTo>
                  <a:lnTo>
                    <a:pt x="1051" y="73"/>
                  </a:lnTo>
                  <a:lnTo>
                    <a:pt x="1057" y="68"/>
                  </a:lnTo>
                  <a:lnTo>
                    <a:pt x="1056" y="75"/>
                  </a:lnTo>
                  <a:lnTo>
                    <a:pt x="1064" y="70"/>
                  </a:lnTo>
                  <a:lnTo>
                    <a:pt x="1076" y="72"/>
                  </a:lnTo>
                  <a:lnTo>
                    <a:pt x="1076" y="75"/>
                  </a:lnTo>
                  <a:lnTo>
                    <a:pt x="1080" y="82"/>
                  </a:lnTo>
                  <a:lnTo>
                    <a:pt x="1083" y="85"/>
                  </a:lnTo>
                  <a:lnTo>
                    <a:pt x="1081" y="92"/>
                  </a:lnTo>
                  <a:lnTo>
                    <a:pt x="1090" y="84"/>
                  </a:lnTo>
                  <a:lnTo>
                    <a:pt x="1085" y="80"/>
                  </a:lnTo>
                  <a:lnTo>
                    <a:pt x="1093" y="84"/>
                  </a:lnTo>
                  <a:lnTo>
                    <a:pt x="1097" y="75"/>
                  </a:lnTo>
                  <a:lnTo>
                    <a:pt x="1098" y="80"/>
                  </a:lnTo>
                  <a:lnTo>
                    <a:pt x="1105" y="85"/>
                  </a:lnTo>
                  <a:lnTo>
                    <a:pt x="1102" y="90"/>
                  </a:lnTo>
                  <a:lnTo>
                    <a:pt x="1108" y="94"/>
                  </a:lnTo>
                  <a:lnTo>
                    <a:pt x="1114" y="99"/>
                  </a:lnTo>
                  <a:lnTo>
                    <a:pt x="1110" y="106"/>
                  </a:lnTo>
                  <a:lnTo>
                    <a:pt x="1115" y="106"/>
                  </a:lnTo>
                  <a:lnTo>
                    <a:pt x="1117" y="99"/>
                  </a:lnTo>
                  <a:lnTo>
                    <a:pt x="1124" y="99"/>
                  </a:lnTo>
                  <a:lnTo>
                    <a:pt x="1131" y="94"/>
                  </a:lnTo>
                  <a:lnTo>
                    <a:pt x="1131" y="90"/>
                  </a:lnTo>
                  <a:lnTo>
                    <a:pt x="1139" y="94"/>
                  </a:lnTo>
                  <a:lnTo>
                    <a:pt x="1141" y="87"/>
                  </a:lnTo>
                  <a:lnTo>
                    <a:pt x="1129" y="87"/>
                  </a:lnTo>
                  <a:lnTo>
                    <a:pt x="1134" y="80"/>
                  </a:lnTo>
                  <a:lnTo>
                    <a:pt x="1141" y="77"/>
                  </a:lnTo>
                  <a:lnTo>
                    <a:pt x="1149" y="82"/>
                  </a:lnTo>
                  <a:lnTo>
                    <a:pt x="1156" y="80"/>
                  </a:lnTo>
                  <a:lnTo>
                    <a:pt x="1163" y="89"/>
                  </a:lnTo>
                  <a:lnTo>
                    <a:pt x="1171" y="89"/>
                  </a:lnTo>
                  <a:lnTo>
                    <a:pt x="1178" y="97"/>
                  </a:lnTo>
                  <a:lnTo>
                    <a:pt x="1182" y="92"/>
                  </a:lnTo>
                  <a:lnTo>
                    <a:pt x="1183" y="101"/>
                  </a:lnTo>
                  <a:lnTo>
                    <a:pt x="1195" y="96"/>
                  </a:lnTo>
                  <a:lnTo>
                    <a:pt x="1202" y="104"/>
                  </a:lnTo>
                  <a:lnTo>
                    <a:pt x="1205" y="102"/>
                  </a:lnTo>
                  <a:lnTo>
                    <a:pt x="1202" y="96"/>
                  </a:lnTo>
                  <a:lnTo>
                    <a:pt x="1204" y="92"/>
                  </a:lnTo>
                  <a:lnTo>
                    <a:pt x="1207" y="94"/>
                  </a:lnTo>
                  <a:lnTo>
                    <a:pt x="1219" y="92"/>
                  </a:lnTo>
                  <a:lnTo>
                    <a:pt x="1224" y="87"/>
                  </a:lnTo>
                  <a:lnTo>
                    <a:pt x="1234" y="90"/>
                  </a:lnTo>
                  <a:lnTo>
                    <a:pt x="1238" y="94"/>
                  </a:lnTo>
                  <a:lnTo>
                    <a:pt x="1239" y="97"/>
                  </a:lnTo>
                  <a:lnTo>
                    <a:pt x="1244" y="90"/>
                  </a:lnTo>
                  <a:lnTo>
                    <a:pt x="1244" y="97"/>
                  </a:lnTo>
                  <a:lnTo>
                    <a:pt x="1250" y="106"/>
                  </a:lnTo>
                  <a:lnTo>
                    <a:pt x="1244" y="111"/>
                  </a:lnTo>
                  <a:lnTo>
                    <a:pt x="1250" y="111"/>
                  </a:lnTo>
                  <a:lnTo>
                    <a:pt x="1253" y="119"/>
                  </a:lnTo>
                  <a:lnTo>
                    <a:pt x="1258" y="123"/>
                  </a:lnTo>
                  <a:lnTo>
                    <a:pt x="1260" y="135"/>
                  </a:lnTo>
                  <a:lnTo>
                    <a:pt x="1267" y="130"/>
                  </a:lnTo>
                  <a:lnTo>
                    <a:pt x="1272" y="126"/>
                  </a:lnTo>
                  <a:lnTo>
                    <a:pt x="1280" y="125"/>
                  </a:lnTo>
                  <a:lnTo>
                    <a:pt x="1289" y="128"/>
                  </a:lnTo>
                  <a:lnTo>
                    <a:pt x="1290" y="138"/>
                  </a:lnTo>
                  <a:lnTo>
                    <a:pt x="1294" y="140"/>
                  </a:lnTo>
                  <a:lnTo>
                    <a:pt x="1297" y="136"/>
                  </a:lnTo>
                  <a:lnTo>
                    <a:pt x="1299" y="142"/>
                  </a:lnTo>
                  <a:lnTo>
                    <a:pt x="1304" y="140"/>
                  </a:lnTo>
                  <a:lnTo>
                    <a:pt x="1309" y="147"/>
                  </a:lnTo>
                  <a:lnTo>
                    <a:pt x="1316" y="143"/>
                  </a:lnTo>
                  <a:lnTo>
                    <a:pt x="1318" y="152"/>
                  </a:lnTo>
                  <a:lnTo>
                    <a:pt x="1314" y="155"/>
                  </a:lnTo>
                  <a:lnTo>
                    <a:pt x="1314" y="159"/>
                  </a:lnTo>
                  <a:lnTo>
                    <a:pt x="1318" y="155"/>
                  </a:lnTo>
                  <a:lnTo>
                    <a:pt x="1331" y="153"/>
                  </a:lnTo>
                  <a:lnTo>
                    <a:pt x="1340" y="157"/>
                  </a:lnTo>
                  <a:lnTo>
                    <a:pt x="1341" y="159"/>
                  </a:lnTo>
                  <a:lnTo>
                    <a:pt x="1350" y="165"/>
                  </a:lnTo>
                  <a:lnTo>
                    <a:pt x="1350" y="176"/>
                  </a:lnTo>
                  <a:lnTo>
                    <a:pt x="1355" y="176"/>
                  </a:lnTo>
                  <a:lnTo>
                    <a:pt x="1353" y="184"/>
                  </a:lnTo>
                  <a:lnTo>
                    <a:pt x="1358" y="184"/>
                  </a:lnTo>
                  <a:lnTo>
                    <a:pt x="1365" y="194"/>
                  </a:lnTo>
                  <a:lnTo>
                    <a:pt x="1370" y="194"/>
                  </a:lnTo>
                  <a:lnTo>
                    <a:pt x="1369" y="203"/>
                  </a:lnTo>
                  <a:lnTo>
                    <a:pt x="1372" y="204"/>
                  </a:lnTo>
                  <a:lnTo>
                    <a:pt x="1377" y="211"/>
                  </a:lnTo>
                  <a:lnTo>
                    <a:pt x="1382" y="215"/>
                  </a:lnTo>
                  <a:lnTo>
                    <a:pt x="1387" y="223"/>
                  </a:lnTo>
                  <a:lnTo>
                    <a:pt x="1397" y="221"/>
                  </a:lnTo>
                  <a:lnTo>
                    <a:pt x="1409" y="220"/>
                  </a:lnTo>
                  <a:lnTo>
                    <a:pt x="1409" y="210"/>
                  </a:lnTo>
                  <a:lnTo>
                    <a:pt x="1414" y="204"/>
                  </a:lnTo>
                  <a:lnTo>
                    <a:pt x="1425" y="206"/>
                  </a:lnTo>
                  <a:lnTo>
                    <a:pt x="1413" y="213"/>
                  </a:lnTo>
                  <a:lnTo>
                    <a:pt x="1411" y="211"/>
                  </a:lnTo>
                  <a:lnTo>
                    <a:pt x="1409" y="215"/>
                  </a:lnTo>
                  <a:lnTo>
                    <a:pt x="1416" y="218"/>
                  </a:lnTo>
                  <a:lnTo>
                    <a:pt x="1411" y="225"/>
                  </a:lnTo>
                  <a:lnTo>
                    <a:pt x="1414" y="228"/>
                  </a:lnTo>
                  <a:lnTo>
                    <a:pt x="1423" y="228"/>
                  </a:lnTo>
                  <a:lnTo>
                    <a:pt x="1428" y="238"/>
                  </a:lnTo>
                  <a:lnTo>
                    <a:pt x="1430" y="247"/>
                  </a:lnTo>
                  <a:lnTo>
                    <a:pt x="1420" y="252"/>
                  </a:lnTo>
                  <a:lnTo>
                    <a:pt x="1416" y="250"/>
                  </a:lnTo>
                  <a:lnTo>
                    <a:pt x="1411" y="256"/>
                  </a:lnTo>
                  <a:lnTo>
                    <a:pt x="1401" y="259"/>
                  </a:lnTo>
                  <a:lnTo>
                    <a:pt x="1399" y="262"/>
                  </a:lnTo>
                  <a:lnTo>
                    <a:pt x="1399" y="267"/>
                  </a:lnTo>
                  <a:lnTo>
                    <a:pt x="1409" y="274"/>
                  </a:lnTo>
                  <a:lnTo>
                    <a:pt x="1409" y="281"/>
                  </a:lnTo>
                  <a:lnTo>
                    <a:pt x="1408" y="290"/>
                  </a:lnTo>
                  <a:lnTo>
                    <a:pt x="1406" y="293"/>
                  </a:lnTo>
                  <a:lnTo>
                    <a:pt x="1408" y="300"/>
                  </a:lnTo>
                  <a:lnTo>
                    <a:pt x="1413" y="303"/>
                  </a:lnTo>
                  <a:lnTo>
                    <a:pt x="1404" y="308"/>
                  </a:lnTo>
                  <a:lnTo>
                    <a:pt x="1406" y="317"/>
                  </a:lnTo>
                  <a:lnTo>
                    <a:pt x="1401" y="317"/>
                  </a:lnTo>
                  <a:lnTo>
                    <a:pt x="1401" y="327"/>
                  </a:lnTo>
                  <a:lnTo>
                    <a:pt x="1392" y="334"/>
                  </a:lnTo>
                  <a:lnTo>
                    <a:pt x="1397" y="344"/>
                  </a:lnTo>
                  <a:lnTo>
                    <a:pt x="1391" y="346"/>
                  </a:lnTo>
                  <a:lnTo>
                    <a:pt x="1387" y="354"/>
                  </a:lnTo>
                  <a:lnTo>
                    <a:pt x="1387" y="359"/>
                  </a:lnTo>
                  <a:lnTo>
                    <a:pt x="1380" y="368"/>
                  </a:lnTo>
                  <a:lnTo>
                    <a:pt x="1384" y="373"/>
                  </a:lnTo>
                  <a:lnTo>
                    <a:pt x="1391" y="380"/>
                  </a:lnTo>
                  <a:lnTo>
                    <a:pt x="1391" y="388"/>
                  </a:lnTo>
                  <a:lnTo>
                    <a:pt x="1389" y="392"/>
                  </a:lnTo>
                  <a:lnTo>
                    <a:pt x="1391" y="402"/>
                  </a:lnTo>
                  <a:lnTo>
                    <a:pt x="1382" y="405"/>
                  </a:lnTo>
                  <a:lnTo>
                    <a:pt x="1377" y="412"/>
                  </a:lnTo>
                  <a:lnTo>
                    <a:pt x="1380" y="415"/>
                  </a:lnTo>
                  <a:lnTo>
                    <a:pt x="1379" y="419"/>
                  </a:lnTo>
                  <a:lnTo>
                    <a:pt x="1377" y="421"/>
                  </a:lnTo>
                  <a:lnTo>
                    <a:pt x="1363" y="424"/>
                  </a:lnTo>
                  <a:lnTo>
                    <a:pt x="1362" y="421"/>
                  </a:lnTo>
                  <a:lnTo>
                    <a:pt x="1352" y="426"/>
                  </a:lnTo>
                  <a:lnTo>
                    <a:pt x="1343" y="427"/>
                  </a:lnTo>
                  <a:lnTo>
                    <a:pt x="1343" y="432"/>
                  </a:lnTo>
                  <a:lnTo>
                    <a:pt x="1336" y="438"/>
                  </a:lnTo>
                  <a:lnTo>
                    <a:pt x="1331" y="441"/>
                  </a:lnTo>
                  <a:lnTo>
                    <a:pt x="1331" y="443"/>
                  </a:lnTo>
                  <a:lnTo>
                    <a:pt x="1329" y="446"/>
                  </a:lnTo>
                  <a:lnTo>
                    <a:pt x="1324" y="455"/>
                  </a:lnTo>
                  <a:lnTo>
                    <a:pt x="1314" y="455"/>
                  </a:lnTo>
                  <a:lnTo>
                    <a:pt x="1311" y="458"/>
                  </a:lnTo>
                  <a:lnTo>
                    <a:pt x="1301" y="463"/>
                  </a:lnTo>
                  <a:lnTo>
                    <a:pt x="1301" y="468"/>
                  </a:lnTo>
                  <a:lnTo>
                    <a:pt x="1292" y="472"/>
                  </a:lnTo>
                  <a:lnTo>
                    <a:pt x="1282" y="468"/>
                  </a:lnTo>
                  <a:lnTo>
                    <a:pt x="1277" y="477"/>
                  </a:lnTo>
                  <a:lnTo>
                    <a:pt x="1273" y="480"/>
                  </a:lnTo>
                  <a:lnTo>
                    <a:pt x="1267" y="487"/>
                  </a:lnTo>
                  <a:lnTo>
                    <a:pt x="1272" y="494"/>
                  </a:lnTo>
                  <a:lnTo>
                    <a:pt x="1267" y="500"/>
                  </a:lnTo>
                  <a:lnTo>
                    <a:pt x="1260" y="495"/>
                  </a:lnTo>
                  <a:lnTo>
                    <a:pt x="1258" y="499"/>
                  </a:lnTo>
                  <a:lnTo>
                    <a:pt x="1251" y="506"/>
                  </a:lnTo>
                  <a:lnTo>
                    <a:pt x="1241" y="500"/>
                  </a:lnTo>
                  <a:lnTo>
                    <a:pt x="1234" y="502"/>
                  </a:lnTo>
                  <a:lnTo>
                    <a:pt x="1209" y="507"/>
                  </a:lnTo>
                  <a:lnTo>
                    <a:pt x="1207" y="516"/>
                  </a:lnTo>
                  <a:lnTo>
                    <a:pt x="1200" y="521"/>
                  </a:lnTo>
                  <a:lnTo>
                    <a:pt x="1200" y="528"/>
                  </a:lnTo>
                  <a:lnTo>
                    <a:pt x="1193" y="531"/>
                  </a:lnTo>
                  <a:lnTo>
                    <a:pt x="1187" y="540"/>
                  </a:lnTo>
                  <a:lnTo>
                    <a:pt x="1188" y="543"/>
                  </a:lnTo>
                  <a:lnTo>
                    <a:pt x="1185" y="553"/>
                  </a:lnTo>
                  <a:lnTo>
                    <a:pt x="1180" y="560"/>
                  </a:lnTo>
                  <a:lnTo>
                    <a:pt x="1176" y="557"/>
                  </a:lnTo>
                  <a:lnTo>
                    <a:pt x="1166" y="562"/>
                  </a:lnTo>
                  <a:lnTo>
                    <a:pt x="1165" y="560"/>
                  </a:lnTo>
                  <a:lnTo>
                    <a:pt x="1161" y="553"/>
                  </a:lnTo>
                  <a:lnTo>
                    <a:pt x="1165" y="545"/>
                  </a:lnTo>
                  <a:lnTo>
                    <a:pt x="1156" y="541"/>
                  </a:lnTo>
                  <a:lnTo>
                    <a:pt x="1151" y="536"/>
                  </a:lnTo>
                  <a:lnTo>
                    <a:pt x="1142" y="538"/>
                  </a:lnTo>
                  <a:lnTo>
                    <a:pt x="1137" y="534"/>
                  </a:lnTo>
                  <a:lnTo>
                    <a:pt x="1136" y="526"/>
                  </a:lnTo>
                  <a:lnTo>
                    <a:pt x="1137" y="519"/>
                  </a:lnTo>
                  <a:lnTo>
                    <a:pt x="1132" y="512"/>
                  </a:lnTo>
                  <a:lnTo>
                    <a:pt x="1125" y="507"/>
                  </a:lnTo>
                  <a:lnTo>
                    <a:pt x="1117" y="509"/>
                  </a:lnTo>
                  <a:lnTo>
                    <a:pt x="1108" y="517"/>
                  </a:lnTo>
                  <a:lnTo>
                    <a:pt x="1097" y="516"/>
                  </a:lnTo>
                  <a:lnTo>
                    <a:pt x="1093" y="517"/>
                  </a:lnTo>
                  <a:lnTo>
                    <a:pt x="1091" y="516"/>
                  </a:lnTo>
                  <a:lnTo>
                    <a:pt x="1088" y="519"/>
                  </a:lnTo>
                  <a:lnTo>
                    <a:pt x="1078" y="516"/>
                  </a:lnTo>
                  <a:lnTo>
                    <a:pt x="1073" y="519"/>
                  </a:lnTo>
                  <a:lnTo>
                    <a:pt x="1064" y="523"/>
                  </a:lnTo>
                  <a:lnTo>
                    <a:pt x="1059" y="521"/>
                  </a:lnTo>
                  <a:lnTo>
                    <a:pt x="1059" y="526"/>
                  </a:lnTo>
                  <a:lnTo>
                    <a:pt x="1051" y="533"/>
                  </a:lnTo>
                  <a:lnTo>
                    <a:pt x="1051" y="536"/>
                  </a:lnTo>
                  <a:lnTo>
                    <a:pt x="1046" y="543"/>
                  </a:lnTo>
                  <a:lnTo>
                    <a:pt x="1034" y="540"/>
                  </a:lnTo>
                  <a:lnTo>
                    <a:pt x="1029" y="545"/>
                  </a:lnTo>
                  <a:lnTo>
                    <a:pt x="1022" y="541"/>
                  </a:lnTo>
                  <a:lnTo>
                    <a:pt x="1015" y="540"/>
                  </a:lnTo>
                  <a:lnTo>
                    <a:pt x="1006" y="545"/>
                  </a:lnTo>
                  <a:lnTo>
                    <a:pt x="1003" y="540"/>
                  </a:lnTo>
                  <a:lnTo>
                    <a:pt x="996" y="550"/>
                  </a:lnTo>
                  <a:lnTo>
                    <a:pt x="995" y="548"/>
                  </a:lnTo>
                  <a:lnTo>
                    <a:pt x="988" y="553"/>
                  </a:lnTo>
                  <a:lnTo>
                    <a:pt x="986" y="551"/>
                  </a:lnTo>
                  <a:lnTo>
                    <a:pt x="986" y="557"/>
                  </a:lnTo>
                  <a:lnTo>
                    <a:pt x="981" y="560"/>
                  </a:lnTo>
                  <a:lnTo>
                    <a:pt x="979" y="563"/>
                  </a:lnTo>
                  <a:lnTo>
                    <a:pt x="972" y="572"/>
                  </a:lnTo>
                  <a:lnTo>
                    <a:pt x="967" y="572"/>
                  </a:lnTo>
                  <a:lnTo>
                    <a:pt x="967" y="579"/>
                  </a:lnTo>
                  <a:lnTo>
                    <a:pt x="959" y="584"/>
                  </a:lnTo>
                  <a:lnTo>
                    <a:pt x="961" y="589"/>
                  </a:lnTo>
                  <a:lnTo>
                    <a:pt x="952" y="587"/>
                  </a:lnTo>
                  <a:lnTo>
                    <a:pt x="950" y="591"/>
                  </a:lnTo>
                  <a:lnTo>
                    <a:pt x="945" y="587"/>
                  </a:lnTo>
                  <a:lnTo>
                    <a:pt x="937" y="580"/>
                  </a:lnTo>
                  <a:lnTo>
                    <a:pt x="932" y="584"/>
                  </a:lnTo>
                  <a:lnTo>
                    <a:pt x="932" y="589"/>
                  </a:lnTo>
                  <a:lnTo>
                    <a:pt x="925" y="589"/>
                  </a:lnTo>
                  <a:lnTo>
                    <a:pt x="923" y="599"/>
                  </a:lnTo>
                  <a:lnTo>
                    <a:pt x="918" y="599"/>
                  </a:lnTo>
                  <a:lnTo>
                    <a:pt x="915" y="596"/>
                  </a:lnTo>
                  <a:lnTo>
                    <a:pt x="911" y="599"/>
                  </a:lnTo>
                  <a:lnTo>
                    <a:pt x="910" y="596"/>
                  </a:lnTo>
                  <a:lnTo>
                    <a:pt x="904" y="601"/>
                  </a:lnTo>
                  <a:lnTo>
                    <a:pt x="901" y="599"/>
                  </a:lnTo>
                  <a:lnTo>
                    <a:pt x="889" y="594"/>
                  </a:lnTo>
                  <a:lnTo>
                    <a:pt x="891" y="604"/>
                  </a:lnTo>
                  <a:lnTo>
                    <a:pt x="881" y="608"/>
                  </a:lnTo>
                  <a:lnTo>
                    <a:pt x="881" y="614"/>
                  </a:lnTo>
                  <a:lnTo>
                    <a:pt x="876" y="616"/>
                  </a:lnTo>
                  <a:lnTo>
                    <a:pt x="877" y="625"/>
                  </a:lnTo>
                  <a:lnTo>
                    <a:pt x="870" y="623"/>
                  </a:lnTo>
                  <a:lnTo>
                    <a:pt x="867" y="633"/>
                  </a:lnTo>
                  <a:lnTo>
                    <a:pt x="859" y="633"/>
                  </a:lnTo>
                  <a:lnTo>
                    <a:pt x="867" y="642"/>
                  </a:lnTo>
                  <a:lnTo>
                    <a:pt x="859" y="643"/>
                  </a:lnTo>
                  <a:lnTo>
                    <a:pt x="859" y="652"/>
                  </a:lnTo>
                  <a:lnTo>
                    <a:pt x="847" y="657"/>
                  </a:lnTo>
                  <a:lnTo>
                    <a:pt x="850" y="665"/>
                  </a:lnTo>
                  <a:lnTo>
                    <a:pt x="842" y="665"/>
                  </a:lnTo>
                  <a:lnTo>
                    <a:pt x="840" y="671"/>
                  </a:lnTo>
                  <a:lnTo>
                    <a:pt x="833" y="674"/>
                  </a:lnTo>
                  <a:lnTo>
                    <a:pt x="830" y="679"/>
                  </a:lnTo>
                  <a:lnTo>
                    <a:pt x="825" y="681"/>
                  </a:lnTo>
                  <a:lnTo>
                    <a:pt x="826" y="686"/>
                  </a:lnTo>
                  <a:lnTo>
                    <a:pt x="833" y="686"/>
                  </a:lnTo>
                  <a:lnTo>
                    <a:pt x="830" y="691"/>
                  </a:lnTo>
                  <a:lnTo>
                    <a:pt x="823" y="696"/>
                  </a:lnTo>
                  <a:lnTo>
                    <a:pt x="818" y="696"/>
                  </a:lnTo>
                  <a:lnTo>
                    <a:pt x="816" y="701"/>
                  </a:lnTo>
                  <a:lnTo>
                    <a:pt x="808" y="699"/>
                  </a:lnTo>
                  <a:lnTo>
                    <a:pt x="813" y="706"/>
                  </a:lnTo>
                  <a:lnTo>
                    <a:pt x="802" y="710"/>
                  </a:lnTo>
                  <a:lnTo>
                    <a:pt x="801" y="720"/>
                  </a:lnTo>
                  <a:lnTo>
                    <a:pt x="794" y="718"/>
                  </a:lnTo>
                  <a:lnTo>
                    <a:pt x="799" y="728"/>
                  </a:lnTo>
                  <a:lnTo>
                    <a:pt x="791" y="730"/>
                  </a:lnTo>
                  <a:lnTo>
                    <a:pt x="787" y="739"/>
                  </a:lnTo>
                  <a:lnTo>
                    <a:pt x="780" y="742"/>
                  </a:lnTo>
                  <a:lnTo>
                    <a:pt x="782" y="751"/>
                  </a:lnTo>
                  <a:lnTo>
                    <a:pt x="774" y="749"/>
                  </a:lnTo>
                  <a:lnTo>
                    <a:pt x="767" y="754"/>
                  </a:lnTo>
                  <a:lnTo>
                    <a:pt x="767" y="762"/>
                  </a:lnTo>
                  <a:lnTo>
                    <a:pt x="760" y="761"/>
                  </a:lnTo>
                  <a:lnTo>
                    <a:pt x="750" y="769"/>
                  </a:lnTo>
                  <a:lnTo>
                    <a:pt x="745" y="766"/>
                  </a:lnTo>
                  <a:lnTo>
                    <a:pt x="740" y="773"/>
                  </a:lnTo>
                  <a:lnTo>
                    <a:pt x="728" y="771"/>
                  </a:lnTo>
                  <a:lnTo>
                    <a:pt x="717" y="774"/>
                  </a:lnTo>
                  <a:lnTo>
                    <a:pt x="714" y="781"/>
                  </a:lnTo>
                  <a:lnTo>
                    <a:pt x="709" y="785"/>
                  </a:lnTo>
                  <a:lnTo>
                    <a:pt x="704" y="779"/>
                  </a:lnTo>
                  <a:lnTo>
                    <a:pt x="702" y="791"/>
                  </a:lnTo>
                  <a:lnTo>
                    <a:pt x="695" y="785"/>
                  </a:lnTo>
                  <a:lnTo>
                    <a:pt x="692" y="786"/>
                  </a:lnTo>
                  <a:lnTo>
                    <a:pt x="694" y="791"/>
                  </a:lnTo>
                  <a:lnTo>
                    <a:pt x="690" y="796"/>
                  </a:lnTo>
                  <a:lnTo>
                    <a:pt x="695" y="802"/>
                  </a:lnTo>
                  <a:lnTo>
                    <a:pt x="702" y="808"/>
                  </a:lnTo>
                  <a:lnTo>
                    <a:pt x="709" y="813"/>
                  </a:lnTo>
                  <a:lnTo>
                    <a:pt x="707" y="813"/>
                  </a:lnTo>
                  <a:lnTo>
                    <a:pt x="711" y="815"/>
                  </a:lnTo>
                  <a:lnTo>
                    <a:pt x="714" y="822"/>
                  </a:lnTo>
                  <a:lnTo>
                    <a:pt x="714" y="824"/>
                  </a:lnTo>
                  <a:lnTo>
                    <a:pt x="719" y="837"/>
                  </a:lnTo>
                  <a:lnTo>
                    <a:pt x="721" y="841"/>
                  </a:lnTo>
                  <a:lnTo>
                    <a:pt x="726" y="851"/>
                  </a:lnTo>
                  <a:lnTo>
                    <a:pt x="729" y="861"/>
                  </a:lnTo>
                  <a:lnTo>
                    <a:pt x="731" y="863"/>
                  </a:lnTo>
                  <a:lnTo>
                    <a:pt x="734" y="871"/>
                  </a:lnTo>
                  <a:lnTo>
                    <a:pt x="734" y="873"/>
                  </a:lnTo>
                  <a:lnTo>
                    <a:pt x="740" y="883"/>
                  </a:lnTo>
                  <a:lnTo>
                    <a:pt x="741" y="887"/>
                  </a:lnTo>
                  <a:lnTo>
                    <a:pt x="740" y="890"/>
                  </a:lnTo>
                  <a:lnTo>
                    <a:pt x="743" y="890"/>
                  </a:lnTo>
                  <a:lnTo>
                    <a:pt x="751" y="895"/>
                  </a:lnTo>
                  <a:lnTo>
                    <a:pt x="751" y="899"/>
                  </a:lnTo>
                  <a:lnTo>
                    <a:pt x="758" y="902"/>
                  </a:lnTo>
                  <a:lnTo>
                    <a:pt x="765" y="924"/>
                  </a:lnTo>
                  <a:lnTo>
                    <a:pt x="765" y="927"/>
                  </a:lnTo>
                  <a:lnTo>
                    <a:pt x="770" y="926"/>
                  </a:lnTo>
                  <a:lnTo>
                    <a:pt x="782" y="926"/>
                  </a:lnTo>
                  <a:lnTo>
                    <a:pt x="785" y="924"/>
                  </a:lnTo>
                  <a:lnTo>
                    <a:pt x="787" y="926"/>
                  </a:lnTo>
                  <a:lnTo>
                    <a:pt x="780" y="934"/>
                  </a:lnTo>
                  <a:lnTo>
                    <a:pt x="780" y="939"/>
                  </a:lnTo>
                  <a:lnTo>
                    <a:pt x="775" y="939"/>
                  </a:lnTo>
                  <a:lnTo>
                    <a:pt x="779" y="941"/>
                  </a:lnTo>
                  <a:lnTo>
                    <a:pt x="775" y="946"/>
                  </a:lnTo>
                  <a:lnTo>
                    <a:pt x="777" y="948"/>
                  </a:lnTo>
                  <a:lnTo>
                    <a:pt x="775" y="958"/>
                  </a:lnTo>
                  <a:lnTo>
                    <a:pt x="775" y="960"/>
                  </a:lnTo>
                  <a:lnTo>
                    <a:pt x="780" y="963"/>
                  </a:lnTo>
                  <a:lnTo>
                    <a:pt x="779" y="967"/>
                  </a:lnTo>
                  <a:lnTo>
                    <a:pt x="782" y="970"/>
                  </a:lnTo>
                  <a:lnTo>
                    <a:pt x="777" y="975"/>
                  </a:lnTo>
                  <a:lnTo>
                    <a:pt x="770" y="975"/>
                  </a:lnTo>
                  <a:lnTo>
                    <a:pt x="774" y="977"/>
                  </a:lnTo>
                  <a:lnTo>
                    <a:pt x="775" y="987"/>
                  </a:lnTo>
                  <a:lnTo>
                    <a:pt x="782" y="984"/>
                  </a:lnTo>
                  <a:lnTo>
                    <a:pt x="784" y="992"/>
                  </a:lnTo>
                  <a:lnTo>
                    <a:pt x="775" y="995"/>
                  </a:lnTo>
                  <a:lnTo>
                    <a:pt x="767" y="994"/>
                  </a:lnTo>
                  <a:lnTo>
                    <a:pt x="762" y="1001"/>
                  </a:lnTo>
                  <a:lnTo>
                    <a:pt x="772" y="1001"/>
                  </a:lnTo>
                  <a:lnTo>
                    <a:pt x="774" y="1004"/>
                  </a:lnTo>
                  <a:lnTo>
                    <a:pt x="767" y="1007"/>
                  </a:lnTo>
                  <a:lnTo>
                    <a:pt x="757" y="1006"/>
                  </a:lnTo>
                  <a:lnTo>
                    <a:pt x="755" y="1011"/>
                  </a:lnTo>
                  <a:lnTo>
                    <a:pt x="763" y="1016"/>
                  </a:lnTo>
                  <a:lnTo>
                    <a:pt x="755" y="1019"/>
                  </a:lnTo>
                  <a:lnTo>
                    <a:pt x="755" y="1024"/>
                  </a:lnTo>
                  <a:lnTo>
                    <a:pt x="743" y="1021"/>
                  </a:lnTo>
                  <a:lnTo>
                    <a:pt x="740" y="1016"/>
                  </a:lnTo>
                  <a:lnTo>
                    <a:pt x="736" y="1023"/>
                  </a:lnTo>
                  <a:lnTo>
                    <a:pt x="733" y="1018"/>
                  </a:lnTo>
                  <a:lnTo>
                    <a:pt x="726" y="1028"/>
                  </a:lnTo>
                  <a:lnTo>
                    <a:pt x="721" y="1024"/>
                  </a:lnTo>
                  <a:lnTo>
                    <a:pt x="711" y="1023"/>
                  </a:lnTo>
                  <a:lnTo>
                    <a:pt x="712" y="1029"/>
                  </a:lnTo>
                  <a:lnTo>
                    <a:pt x="704" y="1036"/>
                  </a:lnTo>
                  <a:lnTo>
                    <a:pt x="699" y="1028"/>
                  </a:lnTo>
                  <a:lnTo>
                    <a:pt x="689" y="1029"/>
                  </a:lnTo>
                  <a:lnTo>
                    <a:pt x="678" y="1031"/>
                  </a:lnTo>
                  <a:lnTo>
                    <a:pt x="678" y="1035"/>
                  </a:lnTo>
                  <a:lnTo>
                    <a:pt x="687" y="1041"/>
                  </a:lnTo>
                  <a:lnTo>
                    <a:pt x="685" y="1047"/>
                  </a:lnTo>
                  <a:lnTo>
                    <a:pt x="680" y="1048"/>
                  </a:lnTo>
                  <a:lnTo>
                    <a:pt x="677" y="1045"/>
                  </a:lnTo>
                  <a:lnTo>
                    <a:pt x="672" y="1047"/>
                  </a:lnTo>
                  <a:lnTo>
                    <a:pt x="663" y="1048"/>
                  </a:lnTo>
                  <a:lnTo>
                    <a:pt x="658" y="1053"/>
                  </a:lnTo>
                  <a:lnTo>
                    <a:pt x="663" y="1062"/>
                  </a:lnTo>
                  <a:lnTo>
                    <a:pt x="651" y="1065"/>
                  </a:lnTo>
                  <a:lnTo>
                    <a:pt x="644" y="1064"/>
                  </a:lnTo>
                  <a:lnTo>
                    <a:pt x="641" y="1069"/>
                  </a:lnTo>
                  <a:lnTo>
                    <a:pt x="636" y="1069"/>
                  </a:lnTo>
                  <a:lnTo>
                    <a:pt x="634" y="1065"/>
                  </a:lnTo>
                  <a:lnTo>
                    <a:pt x="626" y="1057"/>
                  </a:lnTo>
                  <a:lnTo>
                    <a:pt x="619" y="1060"/>
                  </a:lnTo>
                  <a:lnTo>
                    <a:pt x="612" y="1065"/>
                  </a:lnTo>
                  <a:lnTo>
                    <a:pt x="605" y="1065"/>
                  </a:lnTo>
                  <a:lnTo>
                    <a:pt x="598" y="1070"/>
                  </a:lnTo>
                  <a:lnTo>
                    <a:pt x="592" y="1065"/>
                  </a:lnTo>
                  <a:lnTo>
                    <a:pt x="587" y="1070"/>
                  </a:lnTo>
                  <a:lnTo>
                    <a:pt x="580" y="1072"/>
                  </a:lnTo>
                  <a:lnTo>
                    <a:pt x="580" y="1064"/>
                  </a:lnTo>
                  <a:lnTo>
                    <a:pt x="571" y="1064"/>
                  </a:lnTo>
                  <a:lnTo>
                    <a:pt x="566" y="1065"/>
                  </a:lnTo>
                  <a:lnTo>
                    <a:pt x="563" y="1064"/>
                  </a:lnTo>
                  <a:lnTo>
                    <a:pt x="553" y="1058"/>
                  </a:lnTo>
                  <a:lnTo>
                    <a:pt x="549" y="1055"/>
                  </a:lnTo>
                  <a:lnTo>
                    <a:pt x="542" y="1055"/>
                  </a:lnTo>
                  <a:lnTo>
                    <a:pt x="546" y="1045"/>
                  </a:lnTo>
                  <a:lnTo>
                    <a:pt x="536" y="1040"/>
                  </a:lnTo>
                  <a:lnTo>
                    <a:pt x="527" y="1038"/>
                  </a:lnTo>
                  <a:lnTo>
                    <a:pt x="515" y="1041"/>
                  </a:lnTo>
                  <a:lnTo>
                    <a:pt x="510" y="1047"/>
                  </a:lnTo>
                  <a:lnTo>
                    <a:pt x="500" y="1043"/>
                  </a:lnTo>
                  <a:lnTo>
                    <a:pt x="491" y="1045"/>
                  </a:lnTo>
                  <a:lnTo>
                    <a:pt x="488" y="1038"/>
                  </a:lnTo>
                  <a:lnTo>
                    <a:pt x="488" y="1031"/>
                  </a:lnTo>
                  <a:lnTo>
                    <a:pt x="476" y="1029"/>
                  </a:lnTo>
                  <a:lnTo>
                    <a:pt x="471" y="1029"/>
                  </a:lnTo>
                  <a:lnTo>
                    <a:pt x="469" y="1021"/>
                  </a:lnTo>
                  <a:lnTo>
                    <a:pt x="462" y="1016"/>
                  </a:lnTo>
                  <a:lnTo>
                    <a:pt x="454" y="1021"/>
                  </a:lnTo>
                  <a:lnTo>
                    <a:pt x="457" y="1024"/>
                  </a:lnTo>
                  <a:lnTo>
                    <a:pt x="456" y="1031"/>
                  </a:lnTo>
                  <a:lnTo>
                    <a:pt x="451" y="1029"/>
                  </a:lnTo>
                  <a:lnTo>
                    <a:pt x="444" y="1024"/>
                  </a:lnTo>
                  <a:lnTo>
                    <a:pt x="434" y="1026"/>
                  </a:lnTo>
                  <a:lnTo>
                    <a:pt x="427" y="1029"/>
                  </a:lnTo>
                  <a:lnTo>
                    <a:pt x="418" y="1029"/>
                  </a:lnTo>
                  <a:lnTo>
                    <a:pt x="413" y="1031"/>
                  </a:lnTo>
                  <a:lnTo>
                    <a:pt x="405" y="1036"/>
                  </a:lnTo>
                  <a:lnTo>
                    <a:pt x="401" y="1043"/>
                  </a:lnTo>
                  <a:lnTo>
                    <a:pt x="400" y="1041"/>
                  </a:lnTo>
                  <a:lnTo>
                    <a:pt x="394" y="1031"/>
                  </a:lnTo>
                  <a:lnTo>
                    <a:pt x="391" y="1031"/>
                  </a:lnTo>
                  <a:lnTo>
                    <a:pt x="386" y="1036"/>
                  </a:lnTo>
                  <a:lnTo>
                    <a:pt x="391" y="1047"/>
                  </a:lnTo>
                  <a:lnTo>
                    <a:pt x="391" y="1050"/>
                  </a:lnTo>
                  <a:lnTo>
                    <a:pt x="383" y="1050"/>
                  </a:lnTo>
                  <a:lnTo>
                    <a:pt x="379" y="1057"/>
                  </a:lnTo>
                  <a:lnTo>
                    <a:pt x="376" y="1055"/>
                  </a:lnTo>
                  <a:lnTo>
                    <a:pt x="366" y="1057"/>
                  </a:lnTo>
                  <a:lnTo>
                    <a:pt x="362" y="1060"/>
                  </a:lnTo>
                  <a:lnTo>
                    <a:pt x="360" y="1069"/>
                  </a:lnTo>
                  <a:lnTo>
                    <a:pt x="357" y="1070"/>
                  </a:lnTo>
                  <a:lnTo>
                    <a:pt x="354" y="1069"/>
                  </a:lnTo>
                  <a:lnTo>
                    <a:pt x="345" y="1069"/>
                  </a:lnTo>
                  <a:lnTo>
                    <a:pt x="338" y="1067"/>
                  </a:lnTo>
                  <a:lnTo>
                    <a:pt x="335" y="1058"/>
                  </a:lnTo>
                  <a:lnTo>
                    <a:pt x="325" y="1062"/>
                  </a:lnTo>
                  <a:lnTo>
                    <a:pt x="318" y="1062"/>
                  </a:lnTo>
                  <a:lnTo>
                    <a:pt x="321" y="1053"/>
                  </a:lnTo>
                  <a:lnTo>
                    <a:pt x="315" y="1045"/>
                  </a:lnTo>
                  <a:lnTo>
                    <a:pt x="306" y="1052"/>
                  </a:lnTo>
                  <a:lnTo>
                    <a:pt x="296" y="1052"/>
                  </a:lnTo>
                  <a:lnTo>
                    <a:pt x="291" y="1053"/>
                  </a:lnTo>
                  <a:lnTo>
                    <a:pt x="282" y="1057"/>
                  </a:lnTo>
                  <a:lnTo>
                    <a:pt x="281" y="1053"/>
                  </a:lnTo>
                  <a:lnTo>
                    <a:pt x="277" y="1050"/>
                  </a:lnTo>
                  <a:lnTo>
                    <a:pt x="269" y="1043"/>
                  </a:lnTo>
                  <a:lnTo>
                    <a:pt x="269" y="1041"/>
                  </a:lnTo>
                  <a:lnTo>
                    <a:pt x="258" y="1036"/>
                  </a:lnTo>
                  <a:lnTo>
                    <a:pt x="247" y="1036"/>
                  </a:lnTo>
                  <a:lnTo>
                    <a:pt x="240" y="1041"/>
                  </a:lnTo>
                  <a:lnTo>
                    <a:pt x="235" y="1036"/>
                  </a:lnTo>
                  <a:lnTo>
                    <a:pt x="233" y="1033"/>
                  </a:lnTo>
                  <a:lnTo>
                    <a:pt x="224" y="1024"/>
                  </a:lnTo>
                  <a:lnTo>
                    <a:pt x="223" y="1021"/>
                  </a:lnTo>
                  <a:lnTo>
                    <a:pt x="211" y="1019"/>
                  </a:lnTo>
                  <a:lnTo>
                    <a:pt x="209" y="1016"/>
                  </a:lnTo>
                  <a:lnTo>
                    <a:pt x="201" y="1009"/>
                  </a:lnTo>
                  <a:lnTo>
                    <a:pt x="202" y="1006"/>
                  </a:lnTo>
                  <a:lnTo>
                    <a:pt x="199" y="1001"/>
                  </a:lnTo>
                  <a:lnTo>
                    <a:pt x="192" y="995"/>
                  </a:lnTo>
                  <a:lnTo>
                    <a:pt x="187" y="987"/>
                  </a:lnTo>
                  <a:lnTo>
                    <a:pt x="179" y="982"/>
                  </a:lnTo>
                  <a:lnTo>
                    <a:pt x="173" y="984"/>
                  </a:lnTo>
                  <a:lnTo>
                    <a:pt x="172" y="978"/>
                  </a:lnTo>
                  <a:lnTo>
                    <a:pt x="175" y="972"/>
                  </a:lnTo>
                  <a:lnTo>
                    <a:pt x="172" y="963"/>
                  </a:lnTo>
                  <a:lnTo>
                    <a:pt x="160" y="965"/>
                  </a:lnTo>
                  <a:lnTo>
                    <a:pt x="156" y="960"/>
                  </a:lnTo>
                  <a:lnTo>
                    <a:pt x="150" y="955"/>
                  </a:lnTo>
                  <a:lnTo>
                    <a:pt x="151" y="948"/>
                  </a:lnTo>
                  <a:lnTo>
                    <a:pt x="145" y="941"/>
                  </a:lnTo>
                  <a:lnTo>
                    <a:pt x="138" y="943"/>
                  </a:lnTo>
                  <a:lnTo>
                    <a:pt x="134" y="934"/>
                  </a:lnTo>
                  <a:lnTo>
                    <a:pt x="131" y="924"/>
                  </a:lnTo>
                  <a:lnTo>
                    <a:pt x="122" y="919"/>
                  </a:lnTo>
                  <a:lnTo>
                    <a:pt x="124" y="912"/>
                  </a:lnTo>
                  <a:lnTo>
                    <a:pt x="119" y="909"/>
                  </a:lnTo>
                  <a:lnTo>
                    <a:pt x="114" y="902"/>
                  </a:lnTo>
                  <a:lnTo>
                    <a:pt x="116" y="893"/>
                  </a:lnTo>
                  <a:lnTo>
                    <a:pt x="112" y="887"/>
                  </a:lnTo>
                  <a:lnTo>
                    <a:pt x="102" y="885"/>
                  </a:lnTo>
                  <a:lnTo>
                    <a:pt x="95" y="885"/>
                  </a:lnTo>
                  <a:lnTo>
                    <a:pt x="90" y="883"/>
                  </a:lnTo>
                  <a:lnTo>
                    <a:pt x="82" y="881"/>
                  </a:lnTo>
                  <a:lnTo>
                    <a:pt x="80" y="871"/>
                  </a:lnTo>
                  <a:lnTo>
                    <a:pt x="80" y="861"/>
                  </a:lnTo>
                  <a:lnTo>
                    <a:pt x="75" y="864"/>
                  </a:lnTo>
                  <a:lnTo>
                    <a:pt x="66" y="864"/>
                  </a:lnTo>
                  <a:lnTo>
                    <a:pt x="60" y="859"/>
                  </a:lnTo>
                  <a:lnTo>
                    <a:pt x="54" y="854"/>
                  </a:lnTo>
                  <a:lnTo>
                    <a:pt x="51" y="846"/>
                  </a:lnTo>
                  <a:lnTo>
                    <a:pt x="39" y="844"/>
                  </a:lnTo>
                  <a:lnTo>
                    <a:pt x="37" y="839"/>
                  </a:lnTo>
                  <a:lnTo>
                    <a:pt x="29" y="837"/>
                  </a:lnTo>
                  <a:lnTo>
                    <a:pt x="22" y="837"/>
                  </a:lnTo>
                  <a:lnTo>
                    <a:pt x="15" y="830"/>
                  </a:lnTo>
                  <a:lnTo>
                    <a:pt x="10" y="822"/>
                  </a:lnTo>
                  <a:lnTo>
                    <a:pt x="7" y="815"/>
                  </a:lnTo>
                  <a:lnTo>
                    <a:pt x="0" y="808"/>
                  </a:lnTo>
                  <a:lnTo>
                    <a:pt x="2" y="796"/>
                  </a:lnTo>
                  <a:lnTo>
                    <a:pt x="0" y="796"/>
                  </a:lnTo>
                  <a:lnTo>
                    <a:pt x="0" y="795"/>
                  </a:lnTo>
                  <a:lnTo>
                    <a:pt x="2" y="793"/>
                  </a:lnTo>
                  <a:lnTo>
                    <a:pt x="19" y="764"/>
                  </a:lnTo>
                  <a:lnTo>
                    <a:pt x="24" y="756"/>
                  </a:lnTo>
                  <a:lnTo>
                    <a:pt x="53" y="705"/>
                  </a:lnTo>
                  <a:lnTo>
                    <a:pt x="66" y="677"/>
                  </a:lnTo>
                  <a:lnTo>
                    <a:pt x="80" y="654"/>
                  </a:lnTo>
                  <a:lnTo>
                    <a:pt x="87" y="642"/>
                  </a:lnTo>
                  <a:lnTo>
                    <a:pt x="95" y="628"/>
                  </a:lnTo>
                  <a:lnTo>
                    <a:pt x="111" y="599"/>
                  </a:lnTo>
                  <a:lnTo>
                    <a:pt x="112" y="599"/>
                  </a:lnTo>
                  <a:lnTo>
                    <a:pt x="122" y="582"/>
                  </a:lnTo>
                  <a:lnTo>
                    <a:pt x="126" y="575"/>
                  </a:lnTo>
                  <a:lnTo>
                    <a:pt x="128" y="570"/>
                  </a:lnTo>
                  <a:lnTo>
                    <a:pt x="129" y="568"/>
                  </a:lnTo>
                  <a:lnTo>
                    <a:pt x="153" y="528"/>
                  </a:lnTo>
                  <a:lnTo>
                    <a:pt x="134" y="523"/>
                  </a:lnTo>
                  <a:lnTo>
                    <a:pt x="145" y="492"/>
                  </a:lnTo>
                  <a:lnTo>
                    <a:pt x="139" y="489"/>
                  </a:lnTo>
                  <a:lnTo>
                    <a:pt x="146" y="482"/>
                  </a:lnTo>
                  <a:lnTo>
                    <a:pt x="150" y="478"/>
                  </a:lnTo>
                  <a:lnTo>
                    <a:pt x="155" y="470"/>
                  </a:lnTo>
                  <a:lnTo>
                    <a:pt x="155" y="465"/>
                  </a:lnTo>
                  <a:lnTo>
                    <a:pt x="165" y="441"/>
                  </a:lnTo>
                  <a:lnTo>
                    <a:pt x="153" y="438"/>
                  </a:lnTo>
                  <a:lnTo>
                    <a:pt x="148" y="427"/>
                  </a:lnTo>
                  <a:lnTo>
                    <a:pt x="156" y="427"/>
                  </a:lnTo>
                  <a:lnTo>
                    <a:pt x="163" y="421"/>
                  </a:lnTo>
                  <a:lnTo>
                    <a:pt x="172" y="422"/>
                  </a:lnTo>
                  <a:lnTo>
                    <a:pt x="180" y="400"/>
                  </a:lnTo>
                  <a:lnTo>
                    <a:pt x="184" y="395"/>
                  </a:lnTo>
                  <a:lnTo>
                    <a:pt x="190" y="375"/>
                  </a:lnTo>
                  <a:lnTo>
                    <a:pt x="202" y="373"/>
                  </a:lnTo>
                  <a:lnTo>
                    <a:pt x="204" y="368"/>
                  </a:lnTo>
                  <a:lnTo>
                    <a:pt x="211" y="359"/>
                  </a:lnTo>
                  <a:lnTo>
                    <a:pt x="211" y="358"/>
                  </a:lnTo>
                  <a:lnTo>
                    <a:pt x="207" y="351"/>
                  </a:lnTo>
                  <a:lnTo>
                    <a:pt x="213" y="347"/>
                  </a:lnTo>
                  <a:lnTo>
                    <a:pt x="218" y="342"/>
                  </a:lnTo>
                  <a:lnTo>
                    <a:pt x="219" y="335"/>
                  </a:lnTo>
                  <a:lnTo>
                    <a:pt x="226" y="335"/>
                  </a:lnTo>
                  <a:lnTo>
                    <a:pt x="233" y="330"/>
                  </a:lnTo>
                  <a:lnTo>
                    <a:pt x="236" y="325"/>
                  </a:lnTo>
                  <a:lnTo>
                    <a:pt x="243" y="322"/>
                  </a:lnTo>
                  <a:lnTo>
                    <a:pt x="250" y="318"/>
                  </a:lnTo>
                  <a:lnTo>
                    <a:pt x="247" y="312"/>
                  </a:lnTo>
                  <a:lnTo>
                    <a:pt x="253" y="308"/>
                  </a:lnTo>
                  <a:lnTo>
                    <a:pt x="257" y="301"/>
                  </a:lnTo>
                  <a:lnTo>
                    <a:pt x="267" y="300"/>
                  </a:lnTo>
                  <a:lnTo>
                    <a:pt x="272" y="300"/>
                  </a:lnTo>
                  <a:lnTo>
                    <a:pt x="274" y="300"/>
                  </a:lnTo>
                  <a:lnTo>
                    <a:pt x="275" y="295"/>
                  </a:lnTo>
                  <a:lnTo>
                    <a:pt x="281" y="288"/>
                  </a:lnTo>
                  <a:lnTo>
                    <a:pt x="289" y="283"/>
                  </a:lnTo>
                  <a:lnTo>
                    <a:pt x="296" y="279"/>
                  </a:lnTo>
                  <a:lnTo>
                    <a:pt x="308" y="278"/>
                  </a:lnTo>
                  <a:lnTo>
                    <a:pt x="311" y="273"/>
                  </a:lnTo>
                  <a:lnTo>
                    <a:pt x="320" y="274"/>
                  </a:lnTo>
                  <a:lnTo>
                    <a:pt x="330" y="271"/>
                  </a:lnTo>
                  <a:lnTo>
                    <a:pt x="340" y="264"/>
                  </a:lnTo>
                  <a:lnTo>
                    <a:pt x="350" y="266"/>
                  </a:lnTo>
                  <a:lnTo>
                    <a:pt x="359" y="274"/>
                  </a:lnTo>
                  <a:lnTo>
                    <a:pt x="362" y="269"/>
                  </a:lnTo>
                  <a:lnTo>
                    <a:pt x="362" y="257"/>
                  </a:lnTo>
                  <a:lnTo>
                    <a:pt x="364" y="257"/>
                  </a:lnTo>
                  <a:lnTo>
                    <a:pt x="371" y="256"/>
                  </a:lnTo>
                  <a:lnTo>
                    <a:pt x="376" y="250"/>
                  </a:lnTo>
                  <a:lnTo>
                    <a:pt x="379" y="250"/>
                  </a:lnTo>
                  <a:lnTo>
                    <a:pt x="381" y="249"/>
                  </a:lnTo>
                  <a:lnTo>
                    <a:pt x="389" y="244"/>
                  </a:lnTo>
                  <a:lnTo>
                    <a:pt x="396" y="244"/>
                  </a:lnTo>
                  <a:lnTo>
                    <a:pt x="401" y="240"/>
                  </a:lnTo>
                  <a:lnTo>
                    <a:pt x="403" y="240"/>
                  </a:lnTo>
                  <a:lnTo>
                    <a:pt x="406" y="250"/>
                  </a:lnTo>
                  <a:lnTo>
                    <a:pt x="410" y="256"/>
                  </a:lnTo>
                  <a:lnTo>
                    <a:pt x="418" y="256"/>
                  </a:lnTo>
                  <a:lnTo>
                    <a:pt x="420" y="250"/>
                  </a:lnTo>
                  <a:lnTo>
                    <a:pt x="427" y="249"/>
                  </a:lnTo>
                  <a:lnTo>
                    <a:pt x="434" y="257"/>
                  </a:lnTo>
                  <a:lnTo>
                    <a:pt x="442" y="256"/>
                  </a:lnTo>
                  <a:lnTo>
                    <a:pt x="447" y="262"/>
                  </a:lnTo>
                  <a:lnTo>
                    <a:pt x="449" y="273"/>
                  </a:lnTo>
                  <a:lnTo>
                    <a:pt x="447" y="278"/>
                  </a:lnTo>
                  <a:lnTo>
                    <a:pt x="452" y="284"/>
                  </a:lnTo>
                  <a:lnTo>
                    <a:pt x="462" y="279"/>
                  </a:lnTo>
                  <a:lnTo>
                    <a:pt x="471" y="273"/>
                  </a:lnTo>
                  <a:lnTo>
                    <a:pt x="461" y="267"/>
                  </a:lnTo>
                  <a:lnTo>
                    <a:pt x="469" y="261"/>
                  </a:lnTo>
                  <a:lnTo>
                    <a:pt x="466" y="254"/>
                  </a:lnTo>
                  <a:lnTo>
                    <a:pt x="469" y="247"/>
                  </a:lnTo>
                  <a:lnTo>
                    <a:pt x="476" y="247"/>
                  </a:lnTo>
                  <a:lnTo>
                    <a:pt x="481" y="237"/>
                  </a:lnTo>
                  <a:lnTo>
                    <a:pt x="486" y="238"/>
                  </a:lnTo>
                  <a:lnTo>
                    <a:pt x="491" y="232"/>
                  </a:lnTo>
                  <a:lnTo>
                    <a:pt x="500" y="227"/>
                  </a:lnTo>
                  <a:lnTo>
                    <a:pt x="507" y="225"/>
                  </a:lnTo>
                  <a:lnTo>
                    <a:pt x="505" y="215"/>
                  </a:lnTo>
                  <a:lnTo>
                    <a:pt x="508" y="210"/>
                  </a:lnTo>
                  <a:lnTo>
                    <a:pt x="512" y="204"/>
                  </a:lnTo>
                  <a:lnTo>
                    <a:pt x="517" y="199"/>
                  </a:lnTo>
                  <a:lnTo>
                    <a:pt x="525" y="199"/>
                  </a:lnTo>
                  <a:lnTo>
                    <a:pt x="532" y="204"/>
                  </a:lnTo>
                  <a:lnTo>
                    <a:pt x="534" y="198"/>
                  </a:lnTo>
                  <a:lnTo>
                    <a:pt x="539" y="191"/>
                  </a:lnTo>
                  <a:lnTo>
                    <a:pt x="546" y="191"/>
                  </a:lnTo>
                  <a:lnTo>
                    <a:pt x="549" y="193"/>
                  </a:lnTo>
                  <a:lnTo>
                    <a:pt x="558" y="198"/>
                  </a:lnTo>
                  <a:lnTo>
                    <a:pt x="566" y="191"/>
                  </a:lnTo>
                  <a:lnTo>
                    <a:pt x="570" y="193"/>
                  </a:lnTo>
                  <a:lnTo>
                    <a:pt x="580" y="194"/>
                  </a:lnTo>
                  <a:lnTo>
                    <a:pt x="581" y="194"/>
                  </a:lnTo>
                  <a:lnTo>
                    <a:pt x="581" y="191"/>
                  </a:lnTo>
                  <a:lnTo>
                    <a:pt x="575" y="189"/>
                  </a:lnTo>
                  <a:lnTo>
                    <a:pt x="564" y="182"/>
                  </a:lnTo>
                  <a:lnTo>
                    <a:pt x="568" y="176"/>
                  </a:lnTo>
                  <a:lnTo>
                    <a:pt x="573" y="170"/>
                  </a:lnTo>
                  <a:lnTo>
                    <a:pt x="575" y="176"/>
                  </a:lnTo>
                  <a:lnTo>
                    <a:pt x="578" y="174"/>
                  </a:lnTo>
                  <a:lnTo>
                    <a:pt x="576" y="165"/>
                  </a:lnTo>
                  <a:lnTo>
                    <a:pt x="578" y="160"/>
                  </a:lnTo>
                  <a:lnTo>
                    <a:pt x="576" y="155"/>
                  </a:lnTo>
                  <a:lnTo>
                    <a:pt x="573" y="153"/>
                  </a:lnTo>
                  <a:lnTo>
                    <a:pt x="570" y="150"/>
                  </a:lnTo>
                  <a:lnTo>
                    <a:pt x="564" y="145"/>
                  </a:lnTo>
                  <a:lnTo>
                    <a:pt x="563" y="140"/>
                  </a:lnTo>
                  <a:lnTo>
                    <a:pt x="559" y="133"/>
                  </a:lnTo>
                  <a:lnTo>
                    <a:pt x="563" y="130"/>
                  </a:lnTo>
                  <a:lnTo>
                    <a:pt x="573" y="130"/>
                  </a:lnTo>
                  <a:lnTo>
                    <a:pt x="576" y="123"/>
                  </a:lnTo>
                  <a:lnTo>
                    <a:pt x="583" y="123"/>
                  </a:lnTo>
                  <a:lnTo>
                    <a:pt x="588" y="113"/>
                  </a:lnTo>
                  <a:lnTo>
                    <a:pt x="592" y="113"/>
                  </a:lnTo>
                  <a:lnTo>
                    <a:pt x="602" y="118"/>
                  </a:lnTo>
                  <a:lnTo>
                    <a:pt x="605" y="109"/>
                  </a:lnTo>
                  <a:lnTo>
                    <a:pt x="602" y="102"/>
                  </a:lnTo>
                  <a:lnTo>
                    <a:pt x="610" y="96"/>
                  </a:lnTo>
                  <a:lnTo>
                    <a:pt x="612" y="90"/>
                  </a:lnTo>
                  <a:lnTo>
                    <a:pt x="617" y="90"/>
                  </a:lnTo>
                  <a:lnTo>
                    <a:pt x="626" y="87"/>
                  </a:lnTo>
                  <a:lnTo>
                    <a:pt x="631" y="94"/>
                  </a:lnTo>
                  <a:lnTo>
                    <a:pt x="634" y="90"/>
                  </a:lnTo>
                  <a:lnTo>
                    <a:pt x="638" y="82"/>
                  </a:lnTo>
                  <a:lnTo>
                    <a:pt x="648" y="80"/>
                  </a:lnTo>
                  <a:lnTo>
                    <a:pt x="651" y="75"/>
                  </a:lnTo>
                  <a:lnTo>
                    <a:pt x="661" y="70"/>
                  </a:lnTo>
                  <a:lnTo>
                    <a:pt x="663" y="75"/>
                  </a:lnTo>
                  <a:lnTo>
                    <a:pt x="668" y="75"/>
                  </a:lnTo>
                  <a:lnTo>
                    <a:pt x="677" y="67"/>
                  </a:lnTo>
                  <a:lnTo>
                    <a:pt x="682" y="72"/>
                  </a:lnTo>
                  <a:lnTo>
                    <a:pt x="689" y="73"/>
                  </a:lnTo>
                  <a:lnTo>
                    <a:pt x="692" y="82"/>
                  </a:lnTo>
                  <a:lnTo>
                    <a:pt x="692" y="77"/>
                  </a:lnTo>
                  <a:lnTo>
                    <a:pt x="694" y="70"/>
                  </a:lnTo>
                  <a:lnTo>
                    <a:pt x="692" y="63"/>
                  </a:lnTo>
                  <a:lnTo>
                    <a:pt x="697" y="55"/>
                  </a:lnTo>
                  <a:lnTo>
                    <a:pt x="700" y="62"/>
                  </a:lnTo>
                  <a:lnTo>
                    <a:pt x="706" y="65"/>
                  </a:lnTo>
                  <a:lnTo>
                    <a:pt x="714" y="68"/>
                  </a:lnTo>
                  <a:lnTo>
                    <a:pt x="716" y="70"/>
                  </a:lnTo>
                  <a:lnTo>
                    <a:pt x="719" y="72"/>
                  </a:lnTo>
                  <a:lnTo>
                    <a:pt x="731" y="72"/>
                  </a:lnTo>
                  <a:lnTo>
                    <a:pt x="734" y="72"/>
                  </a:lnTo>
                  <a:lnTo>
                    <a:pt x="741" y="68"/>
                  </a:lnTo>
                  <a:lnTo>
                    <a:pt x="750" y="73"/>
                  </a:lnTo>
                  <a:lnTo>
                    <a:pt x="758" y="68"/>
                  </a:lnTo>
                  <a:lnTo>
                    <a:pt x="757" y="80"/>
                  </a:lnTo>
                  <a:lnTo>
                    <a:pt x="765" y="84"/>
                  </a:lnTo>
                  <a:lnTo>
                    <a:pt x="768" y="75"/>
                  </a:lnTo>
                  <a:lnTo>
                    <a:pt x="775" y="67"/>
                  </a:lnTo>
                  <a:lnTo>
                    <a:pt x="780" y="65"/>
                  </a:lnTo>
                  <a:lnTo>
                    <a:pt x="784" y="60"/>
                  </a:lnTo>
                  <a:lnTo>
                    <a:pt x="789" y="56"/>
                  </a:lnTo>
                  <a:lnTo>
                    <a:pt x="792" y="50"/>
                  </a:lnTo>
                  <a:lnTo>
                    <a:pt x="799" y="50"/>
                  </a:lnTo>
                  <a:lnTo>
                    <a:pt x="801" y="55"/>
                  </a:lnTo>
                  <a:lnTo>
                    <a:pt x="809" y="60"/>
                  </a:lnTo>
                  <a:lnTo>
                    <a:pt x="809" y="63"/>
                  </a:lnTo>
                  <a:lnTo>
                    <a:pt x="813" y="62"/>
                  </a:lnTo>
                  <a:lnTo>
                    <a:pt x="819" y="68"/>
                  </a:lnTo>
                  <a:lnTo>
                    <a:pt x="826" y="62"/>
                  </a:lnTo>
                  <a:lnTo>
                    <a:pt x="836" y="58"/>
                  </a:lnTo>
                  <a:lnTo>
                    <a:pt x="840" y="48"/>
                  </a:lnTo>
                  <a:lnTo>
                    <a:pt x="847" y="46"/>
                  </a:lnTo>
                  <a:lnTo>
                    <a:pt x="848" y="38"/>
                  </a:lnTo>
                  <a:lnTo>
                    <a:pt x="847" y="31"/>
                  </a:lnTo>
                  <a:lnTo>
                    <a:pt x="859" y="28"/>
                  </a:lnTo>
                  <a:lnTo>
                    <a:pt x="864" y="29"/>
                  </a:lnTo>
                  <a:lnTo>
                    <a:pt x="862" y="21"/>
                  </a:lnTo>
                  <a:lnTo>
                    <a:pt x="867" y="19"/>
                  </a:lnTo>
                  <a:lnTo>
                    <a:pt x="879" y="17"/>
                  </a:lnTo>
                  <a:lnTo>
                    <a:pt x="879" y="28"/>
                  </a:lnTo>
                  <a:lnTo>
                    <a:pt x="887" y="29"/>
                  </a:lnTo>
                  <a:lnTo>
                    <a:pt x="893" y="26"/>
                  </a:lnTo>
                  <a:lnTo>
                    <a:pt x="903" y="26"/>
                  </a:lnTo>
                  <a:lnTo>
                    <a:pt x="908" y="33"/>
                  </a:lnTo>
                  <a:lnTo>
                    <a:pt x="913" y="36"/>
                  </a:lnTo>
                  <a:lnTo>
                    <a:pt x="913" y="26"/>
                  </a:lnTo>
                  <a:lnTo>
                    <a:pt x="918" y="22"/>
                  </a:lnTo>
                  <a:lnTo>
                    <a:pt x="930" y="22"/>
                  </a:lnTo>
                  <a:lnTo>
                    <a:pt x="944" y="21"/>
                  </a:lnTo>
                  <a:lnTo>
                    <a:pt x="947" y="12"/>
                  </a:lnTo>
                  <a:lnTo>
                    <a:pt x="955" y="11"/>
                  </a:lnTo>
                  <a:lnTo>
                    <a:pt x="961" y="2"/>
                  </a:lnTo>
                  <a:lnTo>
                    <a:pt x="967" y="0"/>
                  </a:lnTo>
                  <a:lnTo>
                    <a:pt x="974" y="7"/>
                  </a:lnTo>
                  <a:lnTo>
                    <a:pt x="972" y="16"/>
                  </a:lnTo>
                  <a:lnTo>
                    <a:pt x="976" y="28"/>
                  </a:lnTo>
                  <a:lnTo>
                    <a:pt x="981" y="31"/>
                  </a:lnTo>
                  <a:lnTo>
                    <a:pt x="978" y="34"/>
                  </a:lnTo>
                  <a:lnTo>
                    <a:pt x="986" y="36"/>
                  </a:lnTo>
                  <a:lnTo>
                    <a:pt x="993" y="45"/>
                  </a:lnTo>
                  <a:lnTo>
                    <a:pt x="1003" y="48"/>
                  </a:lnTo>
                  <a:lnTo>
                    <a:pt x="1005" y="51"/>
                  </a:lnTo>
                  <a:lnTo>
                    <a:pt x="1003" y="60"/>
                  </a:lnTo>
                  <a:lnTo>
                    <a:pt x="1013" y="58"/>
                  </a:lnTo>
                  <a:lnTo>
                    <a:pt x="1017" y="60"/>
                  </a:lnTo>
                  <a:lnTo>
                    <a:pt x="1015" y="48"/>
                  </a:lnTo>
                  <a:lnTo>
                    <a:pt x="1020" y="50"/>
                  </a:lnTo>
                  <a:lnTo>
                    <a:pt x="1022" y="60"/>
                  </a:lnTo>
                  <a:lnTo>
                    <a:pt x="1025" y="65"/>
                  </a:lnTo>
                  <a:lnTo>
                    <a:pt x="1032" y="68"/>
                  </a:lnTo>
                  <a:lnTo>
                    <a:pt x="1035" y="67"/>
                  </a:lnTo>
                  <a:lnTo>
                    <a:pt x="1032" y="60"/>
                  </a:lnTo>
                  <a:lnTo>
                    <a:pt x="1037"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2" name="Freeform 11">
              <a:extLst>
                <a:ext uri="{FF2B5EF4-FFF2-40B4-BE49-F238E27FC236}">
                  <a16:creationId xmlns:a16="http://schemas.microsoft.com/office/drawing/2014/main" id="{CD261C98-D844-4EF9-AABB-615E23104A7C}"/>
                </a:ext>
              </a:extLst>
            </p:cNvPr>
            <p:cNvSpPr>
              <a:spLocks/>
            </p:cNvSpPr>
            <p:nvPr/>
          </p:nvSpPr>
          <p:spPr bwMode="gray">
            <a:xfrm>
              <a:off x="4937125" y="1676400"/>
              <a:ext cx="2355850" cy="1470025"/>
            </a:xfrm>
            <a:custGeom>
              <a:avLst/>
              <a:gdLst>
                <a:gd name="T0" fmla="*/ 1426 w 1484"/>
                <a:gd name="T1" fmla="*/ 199 h 926"/>
                <a:gd name="T2" fmla="*/ 1409 w 1484"/>
                <a:gd name="T3" fmla="*/ 239 h 926"/>
                <a:gd name="T4" fmla="*/ 1389 w 1484"/>
                <a:gd name="T5" fmla="*/ 283 h 926"/>
                <a:gd name="T6" fmla="*/ 1362 w 1484"/>
                <a:gd name="T7" fmla="*/ 322 h 926"/>
                <a:gd name="T8" fmla="*/ 1282 w 1484"/>
                <a:gd name="T9" fmla="*/ 322 h 926"/>
                <a:gd name="T10" fmla="*/ 1251 w 1484"/>
                <a:gd name="T11" fmla="*/ 370 h 926"/>
                <a:gd name="T12" fmla="*/ 1214 w 1484"/>
                <a:gd name="T13" fmla="*/ 444 h 926"/>
                <a:gd name="T14" fmla="*/ 1175 w 1484"/>
                <a:gd name="T15" fmla="*/ 504 h 926"/>
                <a:gd name="T16" fmla="*/ 1236 w 1484"/>
                <a:gd name="T17" fmla="*/ 529 h 926"/>
                <a:gd name="T18" fmla="*/ 1285 w 1484"/>
                <a:gd name="T19" fmla="*/ 560 h 926"/>
                <a:gd name="T20" fmla="*/ 1227 w 1484"/>
                <a:gd name="T21" fmla="*/ 601 h 926"/>
                <a:gd name="T22" fmla="*/ 1159 w 1484"/>
                <a:gd name="T23" fmla="*/ 609 h 926"/>
                <a:gd name="T24" fmla="*/ 1107 w 1484"/>
                <a:gd name="T25" fmla="*/ 614 h 926"/>
                <a:gd name="T26" fmla="*/ 1030 w 1484"/>
                <a:gd name="T27" fmla="*/ 631 h 926"/>
                <a:gd name="T28" fmla="*/ 982 w 1484"/>
                <a:gd name="T29" fmla="*/ 686 h 926"/>
                <a:gd name="T30" fmla="*/ 999 w 1484"/>
                <a:gd name="T31" fmla="*/ 735 h 926"/>
                <a:gd name="T32" fmla="*/ 926 w 1484"/>
                <a:gd name="T33" fmla="*/ 751 h 926"/>
                <a:gd name="T34" fmla="*/ 880 w 1484"/>
                <a:gd name="T35" fmla="*/ 820 h 926"/>
                <a:gd name="T36" fmla="*/ 819 w 1484"/>
                <a:gd name="T37" fmla="*/ 781 h 926"/>
                <a:gd name="T38" fmla="*/ 748 w 1484"/>
                <a:gd name="T39" fmla="*/ 812 h 926"/>
                <a:gd name="T40" fmla="*/ 665 w 1484"/>
                <a:gd name="T41" fmla="*/ 853 h 926"/>
                <a:gd name="T42" fmla="*/ 620 w 1484"/>
                <a:gd name="T43" fmla="*/ 914 h 926"/>
                <a:gd name="T44" fmla="*/ 569 w 1484"/>
                <a:gd name="T45" fmla="*/ 865 h 926"/>
                <a:gd name="T46" fmla="*/ 585 w 1484"/>
                <a:gd name="T47" fmla="*/ 814 h 926"/>
                <a:gd name="T48" fmla="*/ 529 w 1484"/>
                <a:gd name="T49" fmla="*/ 802 h 926"/>
                <a:gd name="T50" fmla="*/ 506 w 1484"/>
                <a:gd name="T51" fmla="*/ 870 h 926"/>
                <a:gd name="T52" fmla="*/ 464 w 1484"/>
                <a:gd name="T53" fmla="*/ 907 h 926"/>
                <a:gd name="T54" fmla="*/ 462 w 1484"/>
                <a:gd name="T55" fmla="*/ 837 h 926"/>
                <a:gd name="T56" fmla="*/ 359 w 1484"/>
                <a:gd name="T57" fmla="*/ 778 h 926"/>
                <a:gd name="T58" fmla="*/ 321 w 1484"/>
                <a:gd name="T59" fmla="*/ 698 h 926"/>
                <a:gd name="T60" fmla="*/ 348 w 1484"/>
                <a:gd name="T61" fmla="*/ 609 h 926"/>
                <a:gd name="T62" fmla="*/ 280 w 1484"/>
                <a:gd name="T63" fmla="*/ 584 h 926"/>
                <a:gd name="T64" fmla="*/ 168 w 1484"/>
                <a:gd name="T65" fmla="*/ 455 h 926"/>
                <a:gd name="T66" fmla="*/ 121 w 1484"/>
                <a:gd name="T67" fmla="*/ 363 h 926"/>
                <a:gd name="T68" fmla="*/ 19 w 1484"/>
                <a:gd name="T69" fmla="*/ 473 h 926"/>
                <a:gd name="T70" fmla="*/ 12 w 1484"/>
                <a:gd name="T71" fmla="*/ 383 h 926"/>
                <a:gd name="T72" fmla="*/ 42 w 1484"/>
                <a:gd name="T73" fmla="*/ 317 h 926"/>
                <a:gd name="T74" fmla="*/ 61 w 1484"/>
                <a:gd name="T75" fmla="*/ 259 h 926"/>
                <a:gd name="T76" fmla="*/ 83 w 1484"/>
                <a:gd name="T77" fmla="*/ 206 h 926"/>
                <a:gd name="T78" fmla="*/ 158 w 1484"/>
                <a:gd name="T79" fmla="*/ 171 h 926"/>
                <a:gd name="T80" fmla="*/ 226 w 1484"/>
                <a:gd name="T81" fmla="*/ 177 h 926"/>
                <a:gd name="T82" fmla="*/ 275 w 1484"/>
                <a:gd name="T83" fmla="*/ 215 h 926"/>
                <a:gd name="T84" fmla="*/ 336 w 1484"/>
                <a:gd name="T85" fmla="*/ 259 h 926"/>
                <a:gd name="T86" fmla="*/ 401 w 1484"/>
                <a:gd name="T87" fmla="*/ 266 h 926"/>
                <a:gd name="T88" fmla="*/ 471 w 1484"/>
                <a:gd name="T89" fmla="*/ 298 h 926"/>
                <a:gd name="T90" fmla="*/ 535 w 1484"/>
                <a:gd name="T91" fmla="*/ 315 h 926"/>
                <a:gd name="T92" fmla="*/ 602 w 1484"/>
                <a:gd name="T93" fmla="*/ 307 h 926"/>
                <a:gd name="T94" fmla="*/ 688 w 1484"/>
                <a:gd name="T95" fmla="*/ 301 h 926"/>
                <a:gd name="T96" fmla="*/ 785 w 1484"/>
                <a:gd name="T97" fmla="*/ 240 h 926"/>
                <a:gd name="T98" fmla="*/ 814 w 1484"/>
                <a:gd name="T99" fmla="*/ 165 h 926"/>
                <a:gd name="T100" fmla="*/ 858 w 1484"/>
                <a:gd name="T101" fmla="*/ 67 h 926"/>
                <a:gd name="T102" fmla="*/ 913 w 1484"/>
                <a:gd name="T103" fmla="*/ 19 h 926"/>
                <a:gd name="T104" fmla="*/ 1008 w 1484"/>
                <a:gd name="T105" fmla="*/ 46 h 926"/>
                <a:gd name="T106" fmla="*/ 1095 w 1484"/>
                <a:gd name="T107" fmla="*/ 53 h 926"/>
                <a:gd name="T108" fmla="*/ 1159 w 1484"/>
                <a:gd name="T109" fmla="*/ 67 h 926"/>
                <a:gd name="T110" fmla="*/ 1217 w 1484"/>
                <a:gd name="T111" fmla="*/ 108 h 926"/>
                <a:gd name="T112" fmla="*/ 1302 w 1484"/>
                <a:gd name="T113" fmla="*/ 106 h 926"/>
                <a:gd name="T114" fmla="*/ 1385 w 1484"/>
                <a:gd name="T115" fmla="*/ 96 h 926"/>
                <a:gd name="T116" fmla="*/ 1470 w 1484"/>
                <a:gd name="T117" fmla="*/ 118 h 926"/>
                <a:gd name="T118" fmla="*/ 1470 w 1484"/>
                <a:gd name="T119" fmla="*/ 153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4" h="926">
                  <a:moveTo>
                    <a:pt x="1482" y="181"/>
                  </a:moveTo>
                  <a:lnTo>
                    <a:pt x="1482" y="188"/>
                  </a:lnTo>
                  <a:lnTo>
                    <a:pt x="1479" y="188"/>
                  </a:lnTo>
                  <a:lnTo>
                    <a:pt x="1479" y="189"/>
                  </a:lnTo>
                  <a:lnTo>
                    <a:pt x="1475" y="189"/>
                  </a:lnTo>
                  <a:lnTo>
                    <a:pt x="1464" y="191"/>
                  </a:lnTo>
                  <a:lnTo>
                    <a:pt x="1458" y="184"/>
                  </a:lnTo>
                  <a:lnTo>
                    <a:pt x="1452" y="184"/>
                  </a:lnTo>
                  <a:lnTo>
                    <a:pt x="1450" y="194"/>
                  </a:lnTo>
                  <a:lnTo>
                    <a:pt x="1438" y="198"/>
                  </a:lnTo>
                  <a:lnTo>
                    <a:pt x="1433" y="198"/>
                  </a:lnTo>
                  <a:lnTo>
                    <a:pt x="1433" y="194"/>
                  </a:lnTo>
                  <a:lnTo>
                    <a:pt x="1426" y="199"/>
                  </a:lnTo>
                  <a:lnTo>
                    <a:pt x="1419" y="205"/>
                  </a:lnTo>
                  <a:lnTo>
                    <a:pt x="1416" y="205"/>
                  </a:lnTo>
                  <a:lnTo>
                    <a:pt x="1407" y="196"/>
                  </a:lnTo>
                  <a:lnTo>
                    <a:pt x="1406" y="193"/>
                  </a:lnTo>
                  <a:lnTo>
                    <a:pt x="1397" y="194"/>
                  </a:lnTo>
                  <a:lnTo>
                    <a:pt x="1390" y="206"/>
                  </a:lnTo>
                  <a:lnTo>
                    <a:pt x="1396" y="215"/>
                  </a:lnTo>
                  <a:lnTo>
                    <a:pt x="1402" y="210"/>
                  </a:lnTo>
                  <a:lnTo>
                    <a:pt x="1406" y="215"/>
                  </a:lnTo>
                  <a:lnTo>
                    <a:pt x="1413" y="223"/>
                  </a:lnTo>
                  <a:lnTo>
                    <a:pt x="1406" y="227"/>
                  </a:lnTo>
                  <a:lnTo>
                    <a:pt x="1401" y="235"/>
                  </a:lnTo>
                  <a:lnTo>
                    <a:pt x="1409" y="239"/>
                  </a:lnTo>
                  <a:lnTo>
                    <a:pt x="1418" y="240"/>
                  </a:lnTo>
                  <a:lnTo>
                    <a:pt x="1416" y="247"/>
                  </a:lnTo>
                  <a:lnTo>
                    <a:pt x="1411" y="245"/>
                  </a:lnTo>
                  <a:lnTo>
                    <a:pt x="1406" y="244"/>
                  </a:lnTo>
                  <a:lnTo>
                    <a:pt x="1399" y="242"/>
                  </a:lnTo>
                  <a:lnTo>
                    <a:pt x="1394" y="252"/>
                  </a:lnTo>
                  <a:lnTo>
                    <a:pt x="1392" y="256"/>
                  </a:lnTo>
                  <a:lnTo>
                    <a:pt x="1396" y="257"/>
                  </a:lnTo>
                  <a:lnTo>
                    <a:pt x="1397" y="266"/>
                  </a:lnTo>
                  <a:lnTo>
                    <a:pt x="1390" y="269"/>
                  </a:lnTo>
                  <a:lnTo>
                    <a:pt x="1389" y="276"/>
                  </a:lnTo>
                  <a:lnTo>
                    <a:pt x="1390" y="283"/>
                  </a:lnTo>
                  <a:lnTo>
                    <a:pt x="1389" y="283"/>
                  </a:lnTo>
                  <a:lnTo>
                    <a:pt x="1392" y="290"/>
                  </a:lnTo>
                  <a:lnTo>
                    <a:pt x="1396" y="298"/>
                  </a:lnTo>
                  <a:lnTo>
                    <a:pt x="1389" y="300"/>
                  </a:lnTo>
                  <a:lnTo>
                    <a:pt x="1392" y="310"/>
                  </a:lnTo>
                  <a:lnTo>
                    <a:pt x="1390" y="315"/>
                  </a:lnTo>
                  <a:lnTo>
                    <a:pt x="1382" y="317"/>
                  </a:lnTo>
                  <a:lnTo>
                    <a:pt x="1385" y="320"/>
                  </a:lnTo>
                  <a:lnTo>
                    <a:pt x="1375" y="322"/>
                  </a:lnTo>
                  <a:lnTo>
                    <a:pt x="1373" y="327"/>
                  </a:lnTo>
                  <a:lnTo>
                    <a:pt x="1370" y="327"/>
                  </a:lnTo>
                  <a:lnTo>
                    <a:pt x="1372" y="317"/>
                  </a:lnTo>
                  <a:lnTo>
                    <a:pt x="1363" y="315"/>
                  </a:lnTo>
                  <a:lnTo>
                    <a:pt x="1362" y="322"/>
                  </a:lnTo>
                  <a:lnTo>
                    <a:pt x="1356" y="327"/>
                  </a:lnTo>
                  <a:lnTo>
                    <a:pt x="1346" y="330"/>
                  </a:lnTo>
                  <a:lnTo>
                    <a:pt x="1333" y="336"/>
                  </a:lnTo>
                  <a:lnTo>
                    <a:pt x="1333" y="324"/>
                  </a:lnTo>
                  <a:lnTo>
                    <a:pt x="1331" y="325"/>
                  </a:lnTo>
                  <a:lnTo>
                    <a:pt x="1322" y="329"/>
                  </a:lnTo>
                  <a:lnTo>
                    <a:pt x="1317" y="330"/>
                  </a:lnTo>
                  <a:lnTo>
                    <a:pt x="1312" y="320"/>
                  </a:lnTo>
                  <a:lnTo>
                    <a:pt x="1309" y="322"/>
                  </a:lnTo>
                  <a:lnTo>
                    <a:pt x="1309" y="310"/>
                  </a:lnTo>
                  <a:lnTo>
                    <a:pt x="1299" y="312"/>
                  </a:lnTo>
                  <a:lnTo>
                    <a:pt x="1290" y="320"/>
                  </a:lnTo>
                  <a:lnTo>
                    <a:pt x="1282" y="322"/>
                  </a:lnTo>
                  <a:lnTo>
                    <a:pt x="1283" y="324"/>
                  </a:lnTo>
                  <a:lnTo>
                    <a:pt x="1278" y="324"/>
                  </a:lnTo>
                  <a:lnTo>
                    <a:pt x="1273" y="327"/>
                  </a:lnTo>
                  <a:lnTo>
                    <a:pt x="1270" y="327"/>
                  </a:lnTo>
                  <a:lnTo>
                    <a:pt x="1260" y="329"/>
                  </a:lnTo>
                  <a:lnTo>
                    <a:pt x="1261" y="334"/>
                  </a:lnTo>
                  <a:lnTo>
                    <a:pt x="1258" y="334"/>
                  </a:lnTo>
                  <a:lnTo>
                    <a:pt x="1260" y="342"/>
                  </a:lnTo>
                  <a:lnTo>
                    <a:pt x="1258" y="342"/>
                  </a:lnTo>
                  <a:lnTo>
                    <a:pt x="1258" y="356"/>
                  </a:lnTo>
                  <a:lnTo>
                    <a:pt x="1258" y="359"/>
                  </a:lnTo>
                  <a:lnTo>
                    <a:pt x="1256" y="368"/>
                  </a:lnTo>
                  <a:lnTo>
                    <a:pt x="1251" y="370"/>
                  </a:lnTo>
                  <a:lnTo>
                    <a:pt x="1251" y="378"/>
                  </a:lnTo>
                  <a:lnTo>
                    <a:pt x="1248" y="387"/>
                  </a:lnTo>
                  <a:lnTo>
                    <a:pt x="1248" y="395"/>
                  </a:lnTo>
                  <a:lnTo>
                    <a:pt x="1232" y="395"/>
                  </a:lnTo>
                  <a:lnTo>
                    <a:pt x="1231" y="405"/>
                  </a:lnTo>
                  <a:lnTo>
                    <a:pt x="1219" y="404"/>
                  </a:lnTo>
                  <a:lnTo>
                    <a:pt x="1214" y="402"/>
                  </a:lnTo>
                  <a:lnTo>
                    <a:pt x="1215" y="417"/>
                  </a:lnTo>
                  <a:lnTo>
                    <a:pt x="1217" y="424"/>
                  </a:lnTo>
                  <a:lnTo>
                    <a:pt x="1220" y="431"/>
                  </a:lnTo>
                  <a:lnTo>
                    <a:pt x="1222" y="438"/>
                  </a:lnTo>
                  <a:lnTo>
                    <a:pt x="1222" y="439"/>
                  </a:lnTo>
                  <a:lnTo>
                    <a:pt x="1214" y="444"/>
                  </a:lnTo>
                  <a:lnTo>
                    <a:pt x="1207" y="448"/>
                  </a:lnTo>
                  <a:lnTo>
                    <a:pt x="1197" y="453"/>
                  </a:lnTo>
                  <a:lnTo>
                    <a:pt x="1195" y="455"/>
                  </a:lnTo>
                  <a:lnTo>
                    <a:pt x="1188" y="460"/>
                  </a:lnTo>
                  <a:lnTo>
                    <a:pt x="1185" y="465"/>
                  </a:lnTo>
                  <a:lnTo>
                    <a:pt x="1192" y="477"/>
                  </a:lnTo>
                  <a:lnTo>
                    <a:pt x="1193" y="482"/>
                  </a:lnTo>
                  <a:lnTo>
                    <a:pt x="1193" y="484"/>
                  </a:lnTo>
                  <a:lnTo>
                    <a:pt x="1193" y="485"/>
                  </a:lnTo>
                  <a:lnTo>
                    <a:pt x="1193" y="494"/>
                  </a:lnTo>
                  <a:lnTo>
                    <a:pt x="1195" y="499"/>
                  </a:lnTo>
                  <a:lnTo>
                    <a:pt x="1183" y="504"/>
                  </a:lnTo>
                  <a:lnTo>
                    <a:pt x="1175" y="504"/>
                  </a:lnTo>
                  <a:lnTo>
                    <a:pt x="1178" y="511"/>
                  </a:lnTo>
                  <a:lnTo>
                    <a:pt x="1181" y="516"/>
                  </a:lnTo>
                  <a:lnTo>
                    <a:pt x="1193" y="516"/>
                  </a:lnTo>
                  <a:lnTo>
                    <a:pt x="1195" y="523"/>
                  </a:lnTo>
                  <a:lnTo>
                    <a:pt x="1195" y="528"/>
                  </a:lnTo>
                  <a:lnTo>
                    <a:pt x="1197" y="533"/>
                  </a:lnTo>
                  <a:lnTo>
                    <a:pt x="1207" y="529"/>
                  </a:lnTo>
                  <a:lnTo>
                    <a:pt x="1210" y="529"/>
                  </a:lnTo>
                  <a:lnTo>
                    <a:pt x="1222" y="526"/>
                  </a:lnTo>
                  <a:lnTo>
                    <a:pt x="1222" y="516"/>
                  </a:lnTo>
                  <a:lnTo>
                    <a:pt x="1229" y="516"/>
                  </a:lnTo>
                  <a:lnTo>
                    <a:pt x="1232" y="526"/>
                  </a:lnTo>
                  <a:lnTo>
                    <a:pt x="1236" y="529"/>
                  </a:lnTo>
                  <a:lnTo>
                    <a:pt x="1243" y="536"/>
                  </a:lnTo>
                  <a:lnTo>
                    <a:pt x="1244" y="536"/>
                  </a:lnTo>
                  <a:lnTo>
                    <a:pt x="1246" y="531"/>
                  </a:lnTo>
                  <a:lnTo>
                    <a:pt x="1251" y="531"/>
                  </a:lnTo>
                  <a:lnTo>
                    <a:pt x="1253" y="531"/>
                  </a:lnTo>
                  <a:lnTo>
                    <a:pt x="1265" y="536"/>
                  </a:lnTo>
                  <a:lnTo>
                    <a:pt x="1282" y="536"/>
                  </a:lnTo>
                  <a:lnTo>
                    <a:pt x="1282" y="546"/>
                  </a:lnTo>
                  <a:lnTo>
                    <a:pt x="1282" y="555"/>
                  </a:lnTo>
                  <a:lnTo>
                    <a:pt x="1290" y="548"/>
                  </a:lnTo>
                  <a:lnTo>
                    <a:pt x="1288" y="557"/>
                  </a:lnTo>
                  <a:lnTo>
                    <a:pt x="1283" y="558"/>
                  </a:lnTo>
                  <a:lnTo>
                    <a:pt x="1285" y="560"/>
                  </a:lnTo>
                  <a:lnTo>
                    <a:pt x="1280" y="562"/>
                  </a:lnTo>
                  <a:lnTo>
                    <a:pt x="1282" y="570"/>
                  </a:lnTo>
                  <a:lnTo>
                    <a:pt x="1277" y="569"/>
                  </a:lnTo>
                  <a:lnTo>
                    <a:pt x="1265" y="572"/>
                  </a:lnTo>
                  <a:lnTo>
                    <a:pt x="1266" y="579"/>
                  </a:lnTo>
                  <a:lnTo>
                    <a:pt x="1265" y="587"/>
                  </a:lnTo>
                  <a:lnTo>
                    <a:pt x="1258" y="589"/>
                  </a:lnTo>
                  <a:lnTo>
                    <a:pt x="1254" y="599"/>
                  </a:lnTo>
                  <a:lnTo>
                    <a:pt x="1244" y="603"/>
                  </a:lnTo>
                  <a:lnTo>
                    <a:pt x="1237" y="609"/>
                  </a:lnTo>
                  <a:lnTo>
                    <a:pt x="1231" y="603"/>
                  </a:lnTo>
                  <a:lnTo>
                    <a:pt x="1227" y="604"/>
                  </a:lnTo>
                  <a:lnTo>
                    <a:pt x="1227" y="601"/>
                  </a:lnTo>
                  <a:lnTo>
                    <a:pt x="1219" y="596"/>
                  </a:lnTo>
                  <a:lnTo>
                    <a:pt x="1217" y="591"/>
                  </a:lnTo>
                  <a:lnTo>
                    <a:pt x="1210" y="591"/>
                  </a:lnTo>
                  <a:lnTo>
                    <a:pt x="1207" y="597"/>
                  </a:lnTo>
                  <a:lnTo>
                    <a:pt x="1202" y="601"/>
                  </a:lnTo>
                  <a:lnTo>
                    <a:pt x="1198" y="606"/>
                  </a:lnTo>
                  <a:lnTo>
                    <a:pt x="1193" y="608"/>
                  </a:lnTo>
                  <a:lnTo>
                    <a:pt x="1186" y="616"/>
                  </a:lnTo>
                  <a:lnTo>
                    <a:pt x="1183" y="625"/>
                  </a:lnTo>
                  <a:lnTo>
                    <a:pt x="1175" y="621"/>
                  </a:lnTo>
                  <a:lnTo>
                    <a:pt x="1176" y="609"/>
                  </a:lnTo>
                  <a:lnTo>
                    <a:pt x="1168" y="614"/>
                  </a:lnTo>
                  <a:lnTo>
                    <a:pt x="1159" y="609"/>
                  </a:lnTo>
                  <a:lnTo>
                    <a:pt x="1152" y="613"/>
                  </a:lnTo>
                  <a:lnTo>
                    <a:pt x="1149" y="613"/>
                  </a:lnTo>
                  <a:lnTo>
                    <a:pt x="1137" y="613"/>
                  </a:lnTo>
                  <a:lnTo>
                    <a:pt x="1134" y="611"/>
                  </a:lnTo>
                  <a:lnTo>
                    <a:pt x="1132" y="609"/>
                  </a:lnTo>
                  <a:lnTo>
                    <a:pt x="1124" y="606"/>
                  </a:lnTo>
                  <a:lnTo>
                    <a:pt x="1118" y="603"/>
                  </a:lnTo>
                  <a:lnTo>
                    <a:pt x="1115" y="596"/>
                  </a:lnTo>
                  <a:lnTo>
                    <a:pt x="1110" y="604"/>
                  </a:lnTo>
                  <a:lnTo>
                    <a:pt x="1112" y="611"/>
                  </a:lnTo>
                  <a:lnTo>
                    <a:pt x="1110" y="618"/>
                  </a:lnTo>
                  <a:lnTo>
                    <a:pt x="1110" y="623"/>
                  </a:lnTo>
                  <a:lnTo>
                    <a:pt x="1107" y="614"/>
                  </a:lnTo>
                  <a:lnTo>
                    <a:pt x="1100" y="613"/>
                  </a:lnTo>
                  <a:lnTo>
                    <a:pt x="1095" y="608"/>
                  </a:lnTo>
                  <a:lnTo>
                    <a:pt x="1086" y="616"/>
                  </a:lnTo>
                  <a:lnTo>
                    <a:pt x="1081" y="616"/>
                  </a:lnTo>
                  <a:lnTo>
                    <a:pt x="1079" y="611"/>
                  </a:lnTo>
                  <a:lnTo>
                    <a:pt x="1069" y="616"/>
                  </a:lnTo>
                  <a:lnTo>
                    <a:pt x="1066" y="621"/>
                  </a:lnTo>
                  <a:lnTo>
                    <a:pt x="1056" y="623"/>
                  </a:lnTo>
                  <a:lnTo>
                    <a:pt x="1052" y="631"/>
                  </a:lnTo>
                  <a:lnTo>
                    <a:pt x="1049" y="635"/>
                  </a:lnTo>
                  <a:lnTo>
                    <a:pt x="1044" y="628"/>
                  </a:lnTo>
                  <a:lnTo>
                    <a:pt x="1035" y="631"/>
                  </a:lnTo>
                  <a:lnTo>
                    <a:pt x="1030" y="631"/>
                  </a:lnTo>
                  <a:lnTo>
                    <a:pt x="1028" y="637"/>
                  </a:lnTo>
                  <a:lnTo>
                    <a:pt x="1020" y="643"/>
                  </a:lnTo>
                  <a:lnTo>
                    <a:pt x="1023" y="650"/>
                  </a:lnTo>
                  <a:lnTo>
                    <a:pt x="1020" y="659"/>
                  </a:lnTo>
                  <a:lnTo>
                    <a:pt x="1010" y="654"/>
                  </a:lnTo>
                  <a:lnTo>
                    <a:pt x="1006" y="654"/>
                  </a:lnTo>
                  <a:lnTo>
                    <a:pt x="1001" y="664"/>
                  </a:lnTo>
                  <a:lnTo>
                    <a:pt x="994" y="664"/>
                  </a:lnTo>
                  <a:lnTo>
                    <a:pt x="991" y="671"/>
                  </a:lnTo>
                  <a:lnTo>
                    <a:pt x="981" y="671"/>
                  </a:lnTo>
                  <a:lnTo>
                    <a:pt x="977" y="674"/>
                  </a:lnTo>
                  <a:lnTo>
                    <a:pt x="981" y="681"/>
                  </a:lnTo>
                  <a:lnTo>
                    <a:pt x="982" y="686"/>
                  </a:lnTo>
                  <a:lnTo>
                    <a:pt x="988" y="691"/>
                  </a:lnTo>
                  <a:lnTo>
                    <a:pt x="991" y="694"/>
                  </a:lnTo>
                  <a:lnTo>
                    <a:pt x="994" y="696"/>
                  </a:lnTo>
                  <a:lnTo>
                    <a:pt x="996" y="701"/>
                  </a:lnTo>
                  <a:lnTo>
                    <a:pt x="994" y="706"/>
                  </a:lnTo>
                  <a:lnTo>
                    <a:pt x="996" y="715"/>
                  </a:lnTo>
                  <a:lnTo>
                    <a:pt x="993" y="717"/>
                  </a:lnTo>
                  <a:lnTo>
                    <a:pt x="991" y="711"/>
                  </a:lnTo>
                  <a:lnTo>
                    <a:pt x="986" y="717"/>
                  </a:lnTo>
                  <a:lnTo>
                    <a:pt x="982" y="723"/>
                  </a:lnTo>
                  <a:lnTo>
                    <a:pt x="993" y="730"/>
                  </a:lnTo>
                  <a:lnTo>
                    <a:pt x="999" y="732"/>
                  </a:lnTo>
                  <a:lnTo>
                    <a:pt x="999" y="735"/>
                  </a:lnTo>
                  <a:lnTo>
                    <a:pt x="998" y="735"/>
                  </a:lnTo>
                  <a:lnTo>
                    <a:pt x="988" y="734"/>
                  </a:lnTo>
                  <a:lnTo>
                    <a:pt x="984" y="732"/>
                  </a:lnTo>
                  <a:lnTo>
                    <a:pt x="976" y="739"/>
                  </a:lnTo>
                  <a:lnTo>
                    <a:pt x="967" y="734"/>
                  </a:lnTo>
                  <a:lnTo>
                    <a:pt x="964" y="732"/>
                  </a:lnTo>
                  <a:lnTo>
                    <a:pt x="957" y="732"/>
                  </a:lnTo>
                  <a:lnTo>
                    <a:pt x="952" y="739"/>
                  </a:lnTo>
                  <a:lnTo>
                    <a:pt x="950" y="745"/>
                  </a:lnTo>
                  <a:lnTo>
                    <a:pt x="943" y="740"/>
                  </a:lnTo>
                  <a:lnTo>
                    <a:pt x="935" y="740"/>
                  </a:lnTo>
                  <a:lnTo>
                    <a:pt x="930" y="745"/>
                  </a:lnTo>
                  <a:lnTo>
                    <a:pt x="926" y="751"/>
                  </a:lnTo>
                  <a:lnTo>
                    <a:pt x="923" y="756"/>
                  </a:lnTo>
                  <a:lnTo>
                    <a:pt x="925" y="766"/>
                  </a:lnTo>
                  <a:lnTo>
                    <a:pt x="918" y="768"/>
                  </a:lnTo>
                  <a:lnTo>
                    <a:pt x="909" y="773"/>
                  </a:lnTo>
                  <a:lnTo>
                    <a:pt x="904" y="779"/>
                  </a:lnTo>
                  <a:lnTo>
                    <a:pt x="899" y="778"/>
                  </a:lnTo>
                  <a:lnTo>
                    <a:pt x="894" y="788"/>
                  </a:lnTo>
                  <a:lnTo>
                    <a:pt x="887" y="788"/>
                  </a:lnTo>
                  <a:lnTo>
                    <a:pt x="884" y="795"/>
                  </a:lnTo>
                  <a:lnTo>
                    <a:pt x="887" y="802"/>
                  </a:lnTo>
                  <a:lnTo>
                    <a:pt x="879" y="808"/>
                  </a:lnTo>
                  <a:lnTo>
                    <a:pt x="889" y="814"/>
                  </a:lnTo>
                  <a:lnTo>
                    <a:pt x="880" y="820"/>
                  </a:lnTo>
                  <a:lnTo>
                    <a:pt x="870" y="825"/>
                  </a:lnTo>
                  <a:lnTo>
                    <a:pt x="865" y="819"/>
                  </a:lnTo>
                  <a:lnTo>
                    <a:pt x="867" y="814"/>
                  </a:lnTo>
                  <a:lnTo>
                    <a:pt x="865" y="803"/>
                  </a:lnTo>
                  <a:lnTo>
                    <a:pt x="860" y="797"/>
                  </a:lnTo>
                  <a:lnTo>
                    <a:pt x="852" y="798"/>
                  </a:lnTo>
                  <a:lnTo>
                    <a:pt x="845" y="790"/>
                  </a:lnTo>
                  <a:lnTo>
                    <a:pt x="838" y="791"/>
                  </a:lnTo>
                  <a:lnTo>
                    <a:pt x="836" y="797"/>
                  </a:lnTo>
                  <a:lnTo>
                    <a:pt x="828" y="797"/>
                  </a:lnTo>
                  <a:lnTo>
                    <a:pt x="824" y="791"/>
                  </a:lnTo>
                  <a:lnTo>
                    <a:pt x="821" y="781"/>
                  </a:lnTo>
                  <a:lnTo>
                    <a:pt x="819" y="781"/>
                  </a:lnTo>
                  <a:lnTo>
                    <a:pt x="814" y="785"/>
                  </a:lnTo>
                  <a:lnTo>
                    <a:pt x="807" y="785"/>
                  </a:lnTo>
                  <a:lnTo>
                    <a:pt x="799" y="790"/>
                  </a:lnTo>
                  <a:lnTo>
                    <a:pt x="797" y="791"/>
                  </a:lnTo>
                  <a:lnTo>
                    <a:pt x="794" y="791"/>
                  </a:lnTo>
                  <a:lnTo>
                    <a:pt x="789" y="797"/>
                  </a:lnTo>
                  <a:lnTo>
                    <a:pt x="782" y="798"/>
                  </a:lnTo>
                  <a:lnTo>
                    <a:pt x="780" y="798"/>
                  </a:lnTo>
                  <a:lnTo>
                    <a:pt x="780" y="810"/>
                  </a:lnTo>
                  <a:lnTo>
                    <a:pt x="777" y="815"/>
                  </a:lnTo>
                  <a:lnTo>
                    <a:pt x="768" y="807"/>
                  </a:lnTo>
                  <a:lnTo>
                    <a:pt x="758" y="805"/>
                  </a:lnTo>
                  <a:lnTo>
                    <a:pt x="748" y="812"/>
                  </a:lnTo>
                  <a:lnTo>
                    <a:pt x="738" y="815"/>
                  </a:lnTo>
                  <a:lnTo>
                    <a:pt x="729" y="814"/>
                  </a:lnTo>
                  <a:lnTo>
                    <a:pt x="726" y="819"/>
                  </a:lnTo>
                  <a:lnTo>
                    <a:pt x="714" y="820"/>
                  </a:lnTo>
                  <a:lnTo>
                    <a:pt x="707" y="824"/>
                  </a:lnTo>
                  <a:lnTo>
                    <a:pt x="699" y="829"/>
                  </a:lnTo>
                  <a:lnTo>
                    <a:pt x="693" y="836"/>
                  </a:lnTo>
                  <a:lnTo>
                    <a:pt x="692" y="841"/>
                  </a:lnTo>
                  <a:lnTo>
                    <a:pt x="690" y="841"/>
                  </a:lnTo>
                  <a:lnTo>
                    <a:pt x="685" y="841"/>
                  </a:lnTo>
                  <a:lnTo>
                    <a:pt x="675" y="842"/>
                  </a:lnTo>
                  <a:lnTo>
                    <a:pt x="671" y="849"/>
                  </a:lnTo>
                  <a:lnTo>
                    <a:pt x="665" y="853"/>
                  </a:lnTo>
                  <a:lnTo>
                    <a:pt x="668" y="859"/>
                  </a:lnTo>
                  <a:lnTo>
                    <a:pt x="661" y="863"/>
                  </a:lnTo>
                  <a:lnTo>
                    <a:pt x="654" y="866"/>
                  </a:lnTo>
                  <a:lnTo>
                    <a:pt x="651" y="871"/>
                  </a:lnTo>
                  <a:lnTo>
                    <a:pt x="644" y="876"/>
                  </a:lnTo>
                  <a:lnTo>
                    <a:pt x="637" y="876"/>
                  </a:lnTo>
                  <a:lnTo>
                    <a:pt x="636" y="883"/>
                  </a:lnTo>
                  <a:lnTo>
                    <a:pt x="631" y="888"/>
                  </a:lnTo>
                  <a:lnTo>
                    <a:pt x="625" y="892"/>
                  </a:lnTo>
                  <a:lnTo>
                    <a:pt x="629" y="899"/>
                  </a:lnTo>
                  <a:lnTo>
                    <a:pt x="629" y="900"/>
                  </a:lnTo>
                  <a:lnTo>
                    <a:pt x="622" y="909"/>
                  </a:lnTo>
                  <a:lnTo>
                    <a:pt x="620" y="914"/>
                  </a:lnTo>
                  <a:lnTo>
                    <a:pt x="608" y="916"/>
                  </a:lnTo>
                  <a:lnTo>
                    <a:pt x="602" y="917"/>
                  </a:lnTo>
                  <a:lnTo>
                    <a:pt x="595" y="917"/>
                  </a:lnTo>
                  <a:lnTo>
                    <a:pt x="588" y="926"/>
                  </a:lnTo>
                  <a:lnTo>
                    <a:pt x="581" y="914"/>
                  </a:lnTo>
                  <a:lnTo>
                    <a:pt x="566" y="890"/>
                  </a:lnTo>
                  <a:lnTo>
                    <a:pt x="563" y="885"/>
                  </a:lnTo>
                  <a:lnTo>
                    <a:pt x="559" y="878"/>
                  </a:lnTo>
                  <a:lnTo>
                    <a:pt x="557" y="878"/>
                  </a:lnTo>
                  <a:lnTo>
                    <a:pt x="566" y="876"/>
                  </a:lnTo>
                  <a:lnTo>
                    <a:pt x="566" y="871"/>
                  </a:lnTo>
                  <a:lnTo>
                    <a:pt x="563" y="873"/>
                  </a:lnTo>
                  <a:lnTo>
                    <a:pt x="569" y="865"/>
                  </a:lnTo>
                  <a:lnTo>
                    <a:pt x="573" y="861"/>
                  </a:lnTo>
                  <a:lnTo>
                    <a:pt x="574" y="859"/>
                  </a:lnTo>
                  <a:lnTo>
                    <a:pt x="581" y="853"/>
                  </a:lnTo>
                  <a:lnTo>
                    <a:pt x="588" y="846"/>
                  </a:lnTo>
                  <a:lnTo>
                    <a:pt x="595" y="839"/>
                  </a:lnTo>
                  <a:lnTo>
                    <a:pt x="603" y="829"/>
                  </a:lnTo>
                  <a:lnTo>
                    <a:pt x="608" y="824"/>
                  </a:lnTo>
                  <a:lnTo>
                    <a:pt x="617" y="815"/>
                  </a:lnTo>
                  <a:lnTo>
                    <a:pt x="614" y="814"/>
                  </a:lnTo>
                  <a:lnTo>
                    <a:pt x="605" y="812"/>
                  </a:lnTo>
                  <a:lnTo>
                    <a:pt x="598" y="812"/>
                  </a:lnTo>
                  <a:lnTo>
                    <a:pt x="590" y="812"/>
                  </a:lnTo>
                  <a:lnTo>
                    <a:pt x="585" y="814"/>
                  </a:lnTo>
                  <a:lnTo>
                    <a:pt x="574" y="815"/>
                  </a:lnTo>
                  <a:lnTo>
                    <a:pt x="566" y="815"/>
                  </a:lnTo>
                  <a:lnTo>
                    <a:pt x="563" y="815"/>
                  </a:lnTo>
                  <a:lnTo>
                    <a:pt x="552" y="817"/>
                  </a:lnTo>
                  <a:lnTo>
                    <a:pt x="551" y="812"/>
                  </a:lnTo>
                  <a:lnTo>
                    <a:pt x="552" y="805"/>
                  </a:lnTo>
                  <a:lnTo>
                    <a:pt x="549" y="798"/>
                  </a:lnTo>
                  <a:lnTo>
                    <a:pt x="549" y="791"/>
                  </a:lnTo>
                  <a:lnTo>
                    <a:pt x="542" y="791"/>
                  </a:lnTo>
                  <a:lnTo>
                    <a:pt x="544" y="798"/>
                  </a:lnTo>
                  <a:lnTo>
                    <a:pt x="542" y="798"/>
                  </a:lnTo>
                  <a:lnTo>
                    <a:pt x="537" y="800"/>
                  </a:lnTo>
                  <a:lnTo>
                    <a:pt x="529" y="802"/>
                  </a:lnTo>
                  <a:lnTo>
                    <a:pt x="525" y="802"/>
                  </a:lnTo>
                  <a:lnTo>
                    <a:pt x="520" y="812"/>
                  </a:lnTo>
                  <a:lnTo>
                    <a:pt x="525" y="820"/>
                  </a:lnTo>
                  <a:lnTo>
                    <a:pt x="525" y="825"/>
                  </a:lnTo>
                  <a:lnTo>
                    <a:pt x="522" y="827"/>
                  </a:lnTo>
                  <a:lnTo>
                    <a:pt x="518" y="837"/>
                  </a:lnTo>
                  <a:lnTo>
                    <a:pt x="515" y="841"/>
                  </a:lnTo>
                  <a:lnTo>
                    <a:pt x="517" y="842"/>
                  </a:lnTo>
                  <a:lnTo>
                    <a:pt x="525" y="851"/>
                  </a:lnTo>
                  <a:lnTo>
                    <a:pt x="525" y="856"/>
                  </a:lnTo>
                  <a:lnTo>
                    <a:pt x="515" y="856"/>
                  </a:lnTo>
                  <a:lnTo>
                    <a:pt x="512" y="865"/>
                  </a:lnTo>
                  <a:lnTo>
                    <a:pt x="506" y="870"/>
                  </a:lnTo>
                  <a:lnTo>
                    <a:pt x="501" y="870"/>
                  </a:lnTo>
                  <a:lnTo>
                    <a:pt x="506" y="878"/>
                  </a:lnTo>
                  <a:lnTo>
                    <a:pt x="503" y="883"/>
                  </a:lnTo>
                  <a:lnTo>
                    <a:pt x="505" y="887"/>
                  </a:lnTo>
                  <a:lnTo>
                    <a:pt x="505" y="895"/>
                  </a:lnTo>
                  <a:lnTo>
                    <a:pt x="500" y="904"/>
                  </a:lnTo>
                  <a:lnTo>
                    <a:pt x="495" y="904"/>
                  </a:lnTo>
                  <a:lnTo>
                    <a:pt x="488" y="907"/>
                  </a:lnTo>
                  <a:lnTo>
                    <a:pt x="488" y="914"/>
                  </a:lnTo>
                  <a:lnTo>
                    <a:pt x="481" y="921"/>
                  </a:lnTo>
                  <a:lnTo>
                    <a:pt x="476" y="917"/>
                  </a:lnTo>
                  <a:lnTo>
                    <a:pt x="471" y="912"/>
                  </a:lnTo>
                  <a:lnTo>
                    <a:pt x="464" y="907"/>
                  </a:lnTo>
                  <a:lnTo>
                    <a:pt x="462" y="905"/>
                  </a:lnTo>
                  <a:lnTo>
                    <a:pt x="457" y="904"/>
                  </a:lnTo>
                  <a:lnTo>
                    <a:pt x="464" y="895"/>
                  </a:lnTo>
                  <a:lnTo>
                    <a:pt x="464" y="890"/>
                  </a:lnTo>
                  <a:lnTo>
                    <a:pt x="459" y="887"/>
                  </a:lnTo>
                  <a:lnTo>
                    <a:pt x="449" y="875"/>
                  </a:lnTo>
                  <a:lnTo>
                    <a:pt x="445" y="880"/>
                  </a:lnTo>
                  <a:lnTo>
                    <a:pt x="437" y="871"/>
                  </a:lnTo>
                  <a:lnTo>
                    <a:pt x="438" y="870"/>
                  </a:lnTo>
                  <a:lnTo>
                    <a:pt x="450" y="854"/>
                  </a:lnTo>
                  <a:lnTo>
                    <a:pt x="454" y="854"/>
                  </a:lnTo>
                  <a:lnTo>
                    <a:pt x="459" y="846"/>
                  </a:lnTo>
                  <a:lnTo>
                    <a:pt x="462" y="837"/>
                  </a:lnTo>
                  <a:lnTo>
                    <a:pt x="450" y="832"/>
                  </a:lnTo>
                  <a:lnTo>
                    <a:pt x="461" y="817"/>
                  </a:lnTo>
                  <a:lnTo>
                    <a:pt x="450" y="812"/>
                  </a:lnTo>
                  <a:lnTo>
                    <a:pt x="440" y="814"/>
                  </a:lnTo>
                  <a:lnTo>
                    <a:pt x="399" y="820"/>
                  </a:lnTo>
                  <a:lnTo>
                    <a:pt x="391" y="824"/>
                  </a:lnTo>
                  <a:lnTo>
                    <a:pt x="374" y="827"/>
                  </a:lnTo>
                  <a:lnTo>
                    <a:pt x="369" y="817"/>
                  </a:lnTo>
                  <a:lnTo>
                    <a:pt x="370" y="815"/>
                  </a:lnTo>
                  <a:lnTo>
                    <a:pt x="372" y="803"/>
                  </a:lnTo>
                  <a:lnTo>
                    <a:pt x="376" y="795"/>
                  </a:lnTo>
                  <a:lnTo>
                    <a:pt x="359" y="790"/>
                  </a:lnTo>
                  <a:lnTo>
                    <a:pt x="359" y="778"/>
                  </a:lnTo>
                  <a:lnTo>
                    <a:pt x="360" y="771"/>
                  </a:lnTo>
                  <a:lnTo>
                    <a:pt x="360" y="764"/>
                  </a:lnTo>
                  <a:lnTo>
                    <a:pt x="360" y="761"/>
                  </a:lnTo>
                  <a:lnTo>
                    <a:pt x="360" y="752"/>
                  </a:lnTo>
                  <a:lnTo>
                    <a:pt x="362" y="744"/>
                  </a:lnTo>
                  <a:lnTo>
                    <a:pt x="370" y="723"/>
                  </a:lnTo>
                  <a:lnTo>
                    <a:pt x="364" y="723"/>
                  </a:lnTo>
                  <a:lnTo>
                    <a:pt x="352" y="717"/>
                  </a:lnTo>
                  <a:lnTo>
                    <a:pt x="340" y="708"/>
                  </a:lnTo>
                  <a:lnTo>
                    <a:pt x="336" y="705"/>
                  </a:lnTo>
                  <a:lnTo>
                    <a:pt x="335" y="705"/>
                  </a:lnTo>
                  <a:lnTo>
                    <a:pt x="333" y="703"/>
                  </a:lnTo>
                  <a:lnTo>
                    <a:pt x="321" y="698"/>
                  </a:lnTo>
                  <a:lnTo>
                    <a:pt x="321" y="693"/>
                  </a:lnTo>
                  <a:lnTo>
                    <a:pt x="325" y="689"/>
                  </a:lnTo>
                  <a:lnTo>
                    <a:pt x="331" y="679"/>
                  </a:lnTo>
                  <a:lnTo>
                    <a:pt x="333" y="674"/>
                  </a:lnTo>
                  <a:lnTo>
                    <a:pt x="336" y="666"/>
                  </a:lnTo>
                  <a:lnTo>
                    <a:pt x="343" y="655"/>
                  </a:lnTo>
                  <a:lnTo>
                    <a:pt x="343" y="650"/>
                  </a:lnTo>
                  <a:lnTo>
                    <a:pt x="350" y="649"/>
                  </a:lnTo>
                  <a:lnTo>
                    <a:pt x="360" y="643"/>
                  </a:lnTo>
                  <a:lnTo>
                    <a:pt x="359" y="643"/>
                  </a:lnTo>
                  <a:lnTo>
                    <a:pt x="357" y="630"/>
                  </a:lnTo>
                  <a:lnTo>
                    <a:pt x="350" y="614"/>
                  </a:lnTo>
                  <a:lnTo>
                    <a:pt x="348" y="609"/>
                  </a:lnTo>
                  <a:lnTo>
                    <a:pt x="343" y="601"/>
                  </a:lnTo>
                  <a:lnTo>
                    <a:pt x="342" y="603"/>
                  </a:lnTo>
                  <a:lnTo>
                    <a:pt x="340" y="603"/>
                  </a:lnTo>
                  <a:lnTo>
                    <a:pt x="340" y="601"/>
                  </a:lnTo>
                  <a:lnTo>
                    <a:pt x="335" y="597"/>
                  </a:lnTo>
                  <a:lnTo>
                    <a:pt x="330" y="592"/>
                  </a:lnTo>
                  <a:lnTo>
                    <a:pt x="318" y="592"/>
                  </a:lnTo>
                  <a:lnTo>
                    <a:pt x="313" y="601"/>
                  </a:lnTo>
                  <a:lnTo>
                    <a:pt x="304" y="596"/>
                  </a:lnTo>
                  <a:lnTo>
                    <a:pt x="301" y="594"/>
                  </a:lnTo>
                  <a:lnTo>
                    <a:pt x="292" y="589"/>
                  </a:lnTo>
                  <a:lnTo>
                    <a:pt x="289" y="587"/>
                  </a:lnTo>
                  <a:lnTo>
                    <a:pt x="280" y="584"/>
                  </a:lnTo>
                  <a:lnTo>
                    <a:pt x="270" y="580"/>
                  </a:lnTo>
                  <a:lnTo>
                    <a:pt x="260" y="579"/>
                  </a:lnTo>
                  <a:lnTo>
                    <a:pt x="252" y="574"/>
                  </a:lnTo>
                  <a:lnTo>
                    <a:pt x="240" y="570"/>
                  </a:lnTo>
                  <a:lnTo>
                    <a:pt x="228" y="565"/>
                  </a:lnTo>
                  <a:lnTo>
                    <a:pt x="219" y="560"/>
                  </a:lnTo>
                  <a:lnTo>
                    <a:pt x="221" y="557"/>
                  </a:lnTo>
                  <a:lnTo>
                    <a:pt x="235" y="540"/>
                  </a:lnTo>
                  <a:lnTo>
                    <a:pt x="245" y="528"/>
                  </a:lnTo>
                  <a:lnTo>
                    <a:pt x="223" y="511"/>
                  </a:lnTo>
                  <a:lnTo>
                    <a:pt x="214" y="506"/>
                  </a:lnTo>
                  <a:lnTo>
                    <a:pt x="163" y="492"/>
                  </a:lnTo>
                  <a:lnTo>
                    <a:pt x="168" y="455"/>
                  </a:lnTo>
                  <a:lnTo>
                    <a:pt x="153" y="436"/>
                  </a:lnTo>
                  <a:lnTo>
                    <a:pt x="165" y="417"/>
                  </a:lnTo>
                  <a:lnTo>
                    <a:pt x="177" y="402"/>
                  </a:lnTo>
                  <a:lnTo>
                    <a:pt x="161" y="393"/>
                  </a:lnTo>
                  <a:lnTo>
                    <a:pt x="153" y="395"/>
                  </a:lnTo>
                  <a:lnTo>
                    <a:pt x="158" y="378"/>
                  </a:lnTo>
                  <a:lnTo>
                    <a:pt x="177" y="381"/>
                  </a:lnTo>
                  <a:lnTo>
                    <a:pt x="189" y="387"/>
                  </a:lnTo>
                  <a:lnTo>
                    <a:pt x="195" y="370"/>
                  </a:lnTo>
                  <a:lnTo>
                    <a:pt x="199" y="364"/>
                  </a:lnTo>
                  <a:lnTo>
                    <a:pt x="180" y="361"/>
                  </a:lnTo>
                  <a:lnTo>
                    <a:pt x="121" y="359"/>
                  </a:lnTo>
                  <a:lnTo>
                    <a:pt x="121" y="363"/>
                  </a:lnTo>
                  <a:lnTo>
                    <a:pt x="121" y="375"/>
                  </a:lnTo>
                  <a:lnTo>
                    <a:pt x="114" y="390"/>
                  </a:lnTo>
                  <a:lnTo>
                    <a:pt x="93" y="388"/>
                  </a:lnTo>
                  <a:lnTo>
                    <a:pt x="92" y="404"/>
                  </a:lnTo>
                  <a:lnTo>
                    <a:pt x="71" y="402"/>
                  </a:lnTo>
                  <a:lnTo>
                    <a:pt x="70" y="421"/>
                  </a:lnTo>
                  <a:lnTo>
                    <a:pt x="65" y="434"/>
                  </a:lnTo>
                  <a:lnTo>
                    <a:pt x="56" y="463"/>
                  </a:lnTo>
                  <a:lnTo>
                    <a:pt x="53" y="468"/>
                  </a:lnTo>
                  <a:lnTo>
                    <a:pt x="48" y="478"/>
                  </a:lnTo>
                  <a:lnTo>
                    <a:pt x="42" y="484"/>
                  </a:lnTo>
                  <a:lnTo>
                    <a:pt x="27" y="477"/>
                  </a:lnTo>
                  <a:lnTo>
                    <a:pt x="19" y="473"/>
                  </a:lnTo>
                  <a:lnTo>
                    <a:pt x="19" y="458"/>
                  </a:lnTo>
                  <a:lnTo>
                    <a:pt x="19" y="443"/>
                  </a:lnTo>
                  <a:lnTo>
                    <a:pt x="19" y="431"/>
                  </a:lnTo>
                  <a:lnTo>
                    <a:pt x="19" y="426"/>
                  </a:lnTo>
                  <a:lnTo>
                    <a:pt x="19" y="412"/>
                  </a:lnTo>
                  <a:lnTo>
                    <a:pt x="19" y="402"/>
                  </a:lnTo>
                  <a:lnTo>
                    <a:pt x="19" y="395"/>
                  </a:lnTo>
                  <a:lnTo>
                    <a:pt x="2" y="397"/>
                  </a:lnTo>
                  <a:lnTo>
                    <a:pt x="0" y="397"/>
                  </a:lnTo>
                  <a:lnTo>
                    <a:pt x="0" y="395"/>
                  </a:lnTo>
                  <a:lnTo>
                    <a:pt x="0" y="390"/>
                  </a:lnTo>
                  <a:lnTo>
                    <a:pt x="2" y="388"/>
                  </a:lnTo>
                  <a:lnTo>
                    <a:pt x="12" y="383"/>
                  </a:lnTo>
                  <a:lnTo>
                    <a:pt x="12" y="375"/>
                  </a:lnTo>
                  <a:lnTo>
                    <a:pt x="10" y="370"/>
                  </a:lnTo>
                  <a:lnTo>
                    <a:pt x="10" y="368"/>
                  </a:lnTo>
                  <a:lnTo>
                    <a:pt x="22" y="370"/>
                  </a:lnTo>
                  <a:lnTo>
                    <a:pt x="25" y="368"/>
                  </a:lnTo>
                  <a:lnTo>
                    <a:pt x="27" y="356"/>
                  </a:lnTo>
                  <a:lnTo>
                    <a:pt x="25" y="351"/>
                  </a:lnTo>
                  <a:lnTo>
                    <a:pt x="32" y="342"/>
                  </a:lnTo>
                  <a:lnTo>
                    <a:pt x="24" y="336"/>
                  </a:lnTo>
                  <a:lnTo>
                    <a:pt x="31" y="332"/>
                  </a:lnTo>
                  <a:lnTo>
                    <a:pt x="29" y="325"/>
                  </a:lnTo>
                  <a:lnTo>
                    <a:pt x="39" y="322"/>
                  </a:lnTo>
                  <a:lnTo>
                    <a:pt x="42" y="317"/>
                  </a:lnTo>
                  <a:lnTo>
                    <a:pt x="41" y="313"/>
                  </a:lnTo>
                  <a:lnTo>
                    <a:pt x="29" y="308"/>
                  </a:lnTo>
                  <a:lnTo>
                    <a:pt x="36" y="307"/>
                  </a:lnTo>
                  <a:lnTo>
                    <a:pt x="37" y="305"/>
                  </a:lnTo>
                  <a:lnTo>
                    <a:pt x="37" y="296"/>
                  </a:lnTo>
                  <a:lnTo>
                    <a:pt x="39" y="293"/>
                  </a:lnTo>
                  <a:lnTo>
                    <a:pt x="48" y="290"/>
                  </a:lnTo>
                  <a:lnTo>
                    <a:pt x="53" y="281"/>
                  </a:lnTo>
                  <a:lnTo>
                    <a:pt x="56" y="273"/>
                  </a:lnTo>
                  <a:lnTo>
                    <a:pt x="48" y="266"/>
                  </a:lnTo>
                  <a:lnTo>
                    <a:pt x="59" y="262"/>
                  </a:lnTo>
                  <a:lnTo>
                    <a:pt x="61" y="261"/>
                  </a:lnTo>
                  <a:lnTo>
                    <a:pt x="61" y="259"/>
                  </a:lnTo>
                  <a:lnTo>
                    <a:pt x="51" y="252"/>
                  </a:lnTo>
                  <a:lnTo>
                    <a:pt x="54" y="250"/>
                  </a:lnTo>
                  <a:lnTo>
                    <a:pt x="59" y="242"/>
                  </a:lnTo>
                  <a:lnTo>
                    <a:pt x="63" y="239"/>
                  </a:lnTo>
                  <a:lnTo>
                    <a:pt x="65" y="232"/>
                  </a:lnTo>
                  <a:lnTo>
                    <a:pt x="61" y="228"/>
                  </a:lnTo>
                  <a:lnTo>
                    <a:pt x="66" y="225"/>
                  </a:lnTo>
                  <a:lnTo>
                    <a:pt x="75" y="227"/>
                  </a:lnTo>
                  <a:lnTo>
                    <a:pt x="71" y="222"/>
                  </a:lnTo>
                  <a:lnTo>
                    <a:pt x="75" y="218"/>
                  </a:lnTo>
                  <a:lnTo>
                    <a:pt x="78" y="210"/>
                  </a:lnTo>
                  <a:lnTo>
                    <a:pt x="80" y="208"/>
                  </a:lnTo>
                  <a:lnTo>
                    <a:pt x="83" y="206"/>
                  </a:lnTo>
                  <a:lnTo>
                    <a:pt x="93" y="199"/>
                  </a:lnTo>
                  <a:lnTo>
                    <a:pt x="97" y="188"/>
                  </a:lnTo>
                  <a:lnTo>
                    <a:pt x="105" y="188"/>
                  </a:lnTo>
                  <a:lnTo>
                    <a:pt x="104" y="177"/>
                  </a:lnTo>
                  <a:lnTo>
                    <a:pt x="110" y="181"/>
                  </a:lnTo>
                  <a:lnTo>
                    <a:pt x="116" y="174"/>
                  </a:lnTo>
                  <a:lnTo>
                    <a:pt x="116" y="182"/>
                  </a:lnTo>
                  <a:lnTo>
                    <a:pt x="122" y="186"/>
                  </a:lnTo>
                  <a:lnTo>
                    <a:pt x="131" y="179"/>
                  </a:lnTo>
                  <a:lnTo>
                    <a:pt x="138" y="182"/>
                  </a:lnTo>
                  <a:lnTo>
                    <a:pt x="144" y="179"/>
                  </a:lnTo>
                  <a:lnTo>
                    <a:pt x="151" y="172"/>
                  </a:lnTo>
                  <a:lnTo>
                    <a:pt x="158" y="171"/>
                  </a:lnTo>
                  <a:lnTo>
                    <a:pt x="163" y="172"/>
                  </a:lnTo>
                  <a:lnTo>
                    <a:pt x="175" y="171"/>
                  </a:lnTo>
                  <a:lnTo>
                    <a:pt x="178" y="176"/>
                  </a:lnTo>
                  <a:lnTo>
                    <a:pt x="184" y="172"/>
                  </a:lnTo>
                  <a:lnTo>
                    <a:pt x="187" y="176"/>
                  </a:lnTo>
                  <a:lnTo>
                    <a:pt x="195" y="174"/>
                  </a:lnTo>
                  <a:lnTo>
                    <a:pt x="199" y="177"/>
                  </a:lnTo>
                  <a:lnTo>
                    <a:pt x="211" y="181"/>
                  </a:lnTo>
                  <a:lnTo>
                    <a:pt x="214" y="176"/>
                  </a:lnTo>
                  <a:lnTo>
                    <a:pt x="218" y="171"/>
                  </a:lnTo>
                  <a:lnTo>
                    <a:pt x="224" y="171"/>
                  </a:lnTo>
                  <a:lnTo>
                    <a:pt x="221" y="177"/>
                  </a:lnTo>
                  <a:lnTo>
                    <a:pt x="226" y="177"/>
                  </a:lnTo>
                  <a:lnTo>
                    <a:pt x="231" y="182"/>
                  </a:lnTo>
                  <a:lnTo>
                    <a:pt x="231" y="191"/>
                  </a:lnTo>
                  <a:lnTo>
                    <a:pt x="238" y="188"/>
                  </a:lnTo>
                  <a:lnTo>
                    <a:pt x="248" y="193"/>
                  </a:lnTo>
                  <a:lnTo>
                    <a:pt x="246" y="196"/>
                  </a:lnTo>
                  <a:lnTo>
                    <a:pt x="253" y="198"/>
                  </a:lnTo>
                  <a:lnTo>
                    <a:pt x="255" y="203"/>
                  </a:lnTo>
                  <a:lnTo>
                    <a:pt x="262" y="199"/>
                  </a:lnTo>
                  <a:lnTo>
                    <a:pt x="260" y="205"/>
                  </a:lnTo>
                  <a:lnTo>
                    <a:pt x="267" y="206"/>
                  </a:lnTo>
                  <a:lnTo>
                    <a:pt x="267" y="213"/>
                  </a:lnTo>
                  <a:lnTo>
                    <a:pt x="275" y="208"/>
                  </a:lnTo>
                  <a:lnTo>
                    <a:pt x="275" y="215"/>
                  </a:lnTo>
                  <a:lnTo>
                    <a:pt x="282" y="216"/>
                  </a:lnTo>
                  <a:lnTo>
                    <a:pt x="284" y="220"/>
                  </a:lnTo>
                  <a:lnTo>
                    <a:pt x="291" y="216"/>
                  </a:lnTo>
                  <a:lnTo>
                    <a:pt x="299" y="222"/>
                  </a:lnTo>
                  <a:lnTo>
                    <a:pt x="299" y="232"/>
                  </a:lnTo>
                  <a:lnTo>
                    <a:pt x="306" y="233"/>
                  </a:lnTo>
                  <a:lnTo>
                    <a:pt x="314" y="233"/>
                  </a:lnTo>
                  <a:lnTo>
                    <a:pt x="311" y="242"/>
                  </a:lnTo>
                  <a:lnTo>
                    <a:pt x="318" y="242"/>
                  </a:lnTo>
                  <a:lnTo>
                    <a:pt x="319" y="249"/>
                  </a:lnTo>
                  <a:lnTo>
                    <a:pt x="330" y="250"/>
                  </a:lnTo>
                  <a:lnTo>
                    <a:pt x="330" y="256"/>
                  </a:lnTo>
                  <a:lnTo>
                    <a:pt x="336" y="259"/>
                  </a:lnTo>
                  <a:lnTo>
                    <a:pt x="335" y="264"/>
                  </a:lnTo>
                  <a:lnTo>
                    <a:pt x="347" y="267"/>
                  </a:lnTo>
                  <a:lnTo>
                    <a:pt x="353" y="261"/>
                  </a:lnTo>
                  <a:lnTo>
                    <a:pt x="364" y="264"/>
                  </a:lnTo>
                  <a:lnTo>
                    <a:pt x="362" y="271"/>
                  </a:lnTo>
                  <a:lnTo>
                    <a:pt x="369" y="266"/>
                  </a:lnTo>
                  <a:lnTo>
                    <a:pt x="376" y="271"/>
                  </a:lnTo>
                  <a:lnTo>
                    <a:pt x="377" y="266"/>
                  </a:lnTo>
                  <a:lnTo>
                    <a:pt x="382" y="269"/>
                  </a:lnTo>
                  <a:lnTo>
                    <a:pt x="387" y="266"/>
                  </a:lnTo>
                  <a:lnTo>
                    <a:pt x="396" y="264"/>
                  </a:lnTo>
                  <a:lnTo>
                    <a:pt x="401" y="259"/>
                  </a:lnTo>
                  <a:lnTo>
                    <a:pt x="401" y="266"/>
                  </a:lnTo>
                  <a:lnTo>
                    <a:pt x="410" y="262"/>
                  </a:lnTo>
                  <a:lnTo>
                    <a:pt x="420" y="269"/>
                  </a:lnTo>
                  <a:lnTo>
                    <a:pt x="425" y="278"/>
                  </a:lnTo>
                  <a:lnTo>
                    <a:pt x="428" y="286"/>
                  </a:lnTo>
                  <a:lnTo>
                    <a:pt x="435" y="283"/>
                  </a:lnTo>
                  <a:lnTo>
                    <a:pt x="433" y="291"/>
                  </a:lnTo>
                  <a:lnTo>
                    <a:pt x="444" y="286"/>
                  </a:lnTo>
                  <a:lnTo>
                    <a:pt x="444" y="293"/>
                  </a:lnTo>
                  <a:lnTo>
                    <a:pt x="452" y="298"/>
                  </a:lnTo>
                  <a:lnTo>
                    <a:pt x="457" y="301"/>
                  </a:lnTo>
                  <a:lnTo>
                    <a:pt x="464" y="300"/>
                  </a:lnTo>
                  <a:lnTo>
                    <a:pt x="466" y="296"/>
                  </a:lnTo>
                  <a:lnTo>
                    <a:pt x="471" y="298"/>
                  </a:lnTo>
                  <a:lnTo>
                    <a:pt x="476" y="293"/>
                  </a:lnTo>
                  <a:lnTo>
                    <a:pt x="479" y="295"/>
                  </a:lnTo>
                  <a:lnTo>
                    <a:pt x="481" y="293"/>
                  </a:lnTo>
                  <a:lnTo>
                    <a:pt x="483" y="296"/>
                  </a:lnTo>
                  <a:lnTo>
                    <a:pt x="488" y="298"/>
                  </a:lnTo>
                  <a:lnTo>
                    <a:pt x="495" y="300"/>
                  </a:lnTo>
                  <a:lnTo>
                    <a:pt x="501" y="303"/>
                  </a:lnTo>
                  <a:lnTo>
                    <a:pt x="508" y="303"/>
                  </a:lnTo>
                  <a:lnTo>
                    <a:pt x="513" y="308"/>
                  </a:lnTo>
                  <a:lnTo>
                    <a:pt x="518" y="310"/>
                  </a:lnTo>
                  <a:lnTo>
                    <a:pt x="525" y="312"/>
                  </a:lnTo>
                  <a:lnTo>
                    <a:pt x="532" y="315"/>
                  </a:lnTo>
                  <a:lnTo>
                    <a:pt x="535" y="315"/>
                  </a:lnTo>
                  <a:lnTo>
                    <a:pt x="537" y="317"/>
                  </a:lnTo>
                  <a:lnTo>
                    <a:pt x="540" y="313"/>
                  </a:lnTo>
                  <a:lnTo>
                    <a:pt x="549" y="312"/>
                  </a:lnTo>
                  <a:lnTo>
                    <a:pt x="554" y="313"/>
                  </a:lnTo>
                  <a:lnTo>
                    <a:pt x="564" y="315"/>
                  </a:lnTo>
                  <a:lnTo>
                    <a:pt x="566" y="317"/>
                  </a:lnTo>
                  <a:lnTo>
                    <a:pt x="571" y="313"/>
                  </a:lnTo>
                  <a:lnTo>
                    <a:pt x="573" y="315"/>
                  </a:lnTo>
                  <a:lnTo>
                    <a:pt x="574" y="313"/>
                  </a:lnTo>
                  <a:lnTo>
                    <a:pt x="586" y="312"/>
                  </a:lnTo>
                  <a:lnTo>
                    <a:pt x="593" y="313"/>
                  </a:lnTo>
                  <a:lnTo>
                    <a:pt x="597" y="307"/>
                  </a:lnTo>
                  <a:lnTo>
                    <a:pt x="602" y="307"/>
                  </a:lnTo>
                  <a:lnTo>
                    <a:pt x="608" y="300"/>
                  </a:lnTo>
                  <a:lnTo>
                    <a:pt x="612" y="301"/>
                  </a:lnTo>
                  <a:lnTo>
                    <a:pt x="620" y="295"/>
                  </a:lnTo>
                  <a:lnTo>
                    <a:pt x="620" y="291"/>
                  </a:lnTo>
                  <a:lnTo>
                    <a:pt x="631" y="290"/>
                  </a:lnTo>
                  <a:lnTo>
                    <a:pt x="636" y="293"/>
                  </a:lnTo>
                  <a:lnTo>
                    <a:pt x="648" y="295"/>
                  </a:lnTo>
                  <a:lnTo>
                    <a:pt x="651" y="301"/>
                  </a:lnTo>
                  <a:lnTo>
                    <a:pt x="658" y="298"/>
                  </a:lnTo>
                  <a:lnTo>
                    <a:pt x="665" y="301"/>
                  </a:lnTo>
                  <a:lnTo>
                    <a:pt x="673" y="300"/>
                  </a:lnTo>
                  <a:lnTo>
                    <a:pt x="676" y="301"/>
                  </a:lnTo>
                  <a:lnTo>
                    <a:pt x="688" y="301"/>
                  </a:lnTo>
                  <a:lnTo>
                    <a:pt x="699" y="301"/>
                  </a:lnTo>
                  <a:lnTo>
                    <a:pt x="704" y="303"/>
                  </a:lnTo>
                  <a:lnTo>
                    <a:pt x="709" y="301"/>
                  </a:lnTo>
                  <a:lnTo>
                    <a:pt x="716" y="300"/>
                  </a:lnTo>
                  <a:lnTo>
                    <a:pt x="721" y="296"/>
                  </a:lnTo>
                  <a:lnTo>
                    <a:pt x="731" y="291"/>
                  </a:lnTo>
                  <a:lnTo>
                    <a:pt x="739" y="286"/>
                  </a:lnTo>
                  <a:lnTo>
                    <a:pt x="743" y="283"/>
                  </a:lnTo>
                  <a:lnTo>
                    <a:pt x="755" y="279"/>
                  </a:lnTo>
                  <a:lnTo>
                    <a:pt x="760" y="274"/>
                  </a:lnTo>
                  <a:lnTo>
                    <a:pt x="767" y="271"/>
                  </a:lnTo>
                  <a:lnTo>
                    <a:pt x="772" y="267"/>
                  </a:lnTo>
                  <a:lnTo>
                    <a:pt x="785" y="240"/>
                  </a:lnTo>
                  <a:lnTo>
                    <a:pt x="785" y="239"/>
                  </a:lnTo>
                  <a:lnTo>
                    <a:pt x="792" y="228"/>
                  </a:lnTo>
                  <a:lnTo>
                    <a:pt x="792" y="227"/>
                  </a:lnTo>
                  <a:lnTo>
                    <a:pt x="794" y="223"/>
                  </a:lnTo>
                  <a:lnTo>
                    <a:pt x="795" y="222"/>
                  </a:lnTo>
                  <a:lnTo>
                    <a:pt x="797" y="211"/>
                  </a:lnTo>
                  <a:lnTo>
                    <a:pt x="801" y="205"/>
                  </a:lnTo>
                  <a:lnTo>
                    <a:pt x="802" y="198"/>
                  </a:lnTo>
                  <a:lnTo>
                    <a:pt x="802" y="194"/>
                  </a:lnTo>
                  <a:lnTo>
                    <a:pt x="804" y="189"/>
                  </a:lnTo>
                  <a:lnTo>
                    <a:pt x="804" y="182"/>
                  </a:lnTo>
                  <a:lnTo>
                    <a:pt x="806" y="176"/>
                  </a:lnTo>
                  <a:lnTo>
                    <a:pt x="814" y="165"/>
                  </a:lnTo>
                  <a:lnTo>
                    <a:pt x="818" y="155"/>
                  </a:lnTo>
                  <a:lnTo>
                    <a:pt x="821" y="148"/>
                  </a:lnTo>
                  <a:lnTo>
                    <a:pt x="828" y="135"/>
                  </a:lnTo>
                  <a:lnTo>
                    <a:pt x="835" y="118"/>
                  </a:lnTo>
                  <a:lnTo>
                    <a:pt x="841" y="99"/>
                  </a:lnTo>
                  <a:lnTo>
                    <a:pt x="845" y="92"/>
                  </a:lnTo>
                  <a:lnTo>
                    <a:pt x="846" y="91"/>
                  </a:lnTo>
                  <a:lnTo>
                    <a:pt x="846" y="87"/>
                  </a:lnTo>
                  <a:lnTo>
                    <a:pt x="852" y="77"/>
                  </a:lnTo>
                  <a:lnTo>
                    <a:pt x="850" y="77"/>
                  </a:lnTo>
                  <a:lnTo>
                    <a:pt x="857" y="75"/>
                  </a:lnTo>
                  <a:lnTo>
                    <a:pt x="853" y="72"/>
                  </a:lnTo>
                  <a:lnTo>
                    <a:pt x="858" y="67"/>
                  </a:lnTo>
                  <a:lnTo>
                    <a:pt x="855" y="58"/>
                  </a:lnTo>
                  <a:lnTo>
                    <a:pt x="855" y="51"/>
                  </a:lnTo>
                  <a:lnTo>
                    <a:pt x="852" y="51"/>
                  </a:lnTo>
                  <a:lnTo>
                    <a:pt x="852" y="46"/>
                  </a:lnTo>
                  <a:lnTo>
                    <a:pt x="846" y="41"/>
                  </a:lnTo>
                  <a:lnTo>
                    <a:pt x="848" y="33"/>
                  </a:lnTo>
                  <a:lnTo>
                    <a:pt x="852" y="33"/>
                  </a:lnTo>
                  <a:lnTo>
                    <a:pt x="865" y="31"/>
                  </a:lnTo>
                  <a:lnTo>
                    <a:pt x="867" y="29"/>
                  </a:lnTo>
                  <a:lnTo>
                    <a:pt x="879" y="31"/>
                  </a:lnTo>
                  <a:lnTo>
                    <a:pt x="891" y="24"/>
                  </a:lnTo>
                  <a:lnTo>
                    <a:pt x="906" y="21"/>
                  </a:lnTo>
                  <a:lnTo>
                    <a:pt x="913" y="19"/>
                  </a:lnTo>
                  <a:lnTo>
                    <a:pt x="914" y="19"/>
                  </a:lnTo>
                  <a:lnTo>
                    <a:pt x="938" y="14"/>
                  </a:lnTo>
                  <a:lnTo>
                    <a:pt x="952" y="11"/>
                  </a:lnTo>
                  <a:lnTo>
                    <a:pt x="964" y="7"/>
                  </a:lnTo>
                  <a:lnTo>
                    <a:pt x="979" y="4"/>
                  </a:lnTo>
                  <a:lnTo>
                    <a:pt x="993" y="0"/>
                  </a:lnTo>
                  <a:lnTo>
                    <a:pt x="996" y="4"/>
                  </a:lnTo>
                  <a:lnTo>
                    <a:pt x="1001" y="7"/>
                  </a:lnTo>
                  <a:lnTo>
                    <a:pt x="999" y="17"/>
                  </a:lnTo>
                  <a:lnTo>
                    <a:pt x="998" y="26"/>
                  </a:lnTo>
                  <a:lnTo>
                    <a:pt x="999" y="36"/>
                  </a:lnTo>
                  <a:lnTo>
                    <a:pt x="1008" y="41"/>
                  </a:lnTo>
                  <a:lnTo>
                    <a:pt x="1008" y="46"/>
                  </a:lnTo>
                  <a:lnTo>
                    <a:pt x="1020" y="48"/>
                  </a:lnTo>
                  <a:lnTo>
                    <a:pt x="1025" y="48"/>
                  </a:lnTo>
                  <a:lnTo>
                    <a:pt x="1035" y="50"/>
                  </a:lnTo>
                  <a:lnTo>
                    <a:pt x="1045" y="48"/>
                  </a:lnTo>
                  <a:lnTo>
                    <a:pt x="1050" y="46"/>
                  </a:lnTo>
                  <a:lnTo>
                    <a:pt x="1061" y="55"/>
                  </a:lnTo>
                  <a:lnTo>
                    <a:pt x="1069" y="62"/>
                  </a:lnTo>
                  <a:lnTo>
                    <a:pt x="1071" y="60"/>
                  </a:lnTo>
                  <a:lnTo>
                    <a:pt x="1074" y="60"/>
                  </a:lnTo>
                  <a:lnTo>
                    <a:pt x="1083" y="67"/>
                  </a:lnTo>
                  <a:lnTo>
                    <a:pt x="1088" y="60"/>
                  </a:lnTo>
                  <a:lnTo>
                    <a:pt x="1091" y="55"/>
                  </a:lnTo>
                  <a:lnTo>
                    <a:pt x="1095" y="53"/>
                  </a:lnTo>
                  <a:lnTo>
                    <a:pt x="1112" y="46"/>
                  </a:lnTo>
                  <a:lnTo>
                    <a:pt x="1124" y="43"/>
                  </a:lnTo>
                  <a:lnTo>
                    <a:pt x="1134" y="40"/>
                  </a:lnTo>
                  <a:lnTo>
                    <a:pt x="1134" y="38"/>
                  </a:lnTo>
                  <a:lnTo>
                    <a:pt x="1144" y="38"/>
                  </a:lnTo>
                  <a:lnTo>
                    <a:pt x="1144" y="31"/>
                  </a:lnTo>
                  <a:lnTo>
                    <a:pt x="1144" y="23"/>
                  </a:lnTo>
                  <a:lnTo>
                    <a:pt x="1149" y="23"/>
                  </a:lnTo>
                  <a:lnTo>
                    <a:pt x="1156" y="23"/>
                  </a:lnTo>
                  <a:lnTo>
                    <a:pt x="1158" y="43"/>
                  </a:lnTo>
                  <a:lnTo>
                    <a:pt x="1158" y="51"/>
                  </a:lnTo>
                  <a:lnTo>
                    <a:pt x="1158" y="58"/>
                  </a:lnTo>
                  <a:lnTo>
                    <a:pt x="1159" y="67"/>
                  </a:lnTo>
                  <a:lnTo>
                    <a:pt x="1175" y="70"/>
                  </a:lnTo>
                  <a:lnTo>
                    <a:pt x="1180" y="77"/>
                  </a:lnTo>
                  <a:lnTo>
                    <a:pt x="1185" y="82"/>
                  </a:lnTo>
                  <a:lnTo>
                    <a:pt x="1185" y="84"/>
                  </a:lnTo>
                  <a:lnTo>
                    <a:pt x="1188" y="92"/>
                  </a:lnTo>
                  <a:lnTo>
                    <a:pt x="1195" y="84"/>
                  </a:lnTo>
                  <a:lnTo>
                    <a:pt x="1207" y="87"/>
                  </a:lnTo>
                  <a:lnTo>
                    <a:pt x="1202" y="96"/>
                  </a:lnTo>
                  <a:lnTo>
                    <a:pt x="1200" y="106"/>
                  </a:lnTo>
                  <a:lnTo>
                    <a:pt x="1207" y="108"/>
                  </a:lnTo>
                  <a:lnTo>
                    <a:pt x="1205" y="116"/>
                  </a:lnTo>
                  <a:lnTo>
                    <a:pt x="1212" y="111"/>
                  </a:lnTo>
                  <a:lnTo>
                    <a:pt x="1217" y="108"/>
                  </a:lnTo>
                  <a:lnTo>
                    <a:pt x="1229" y="109"/>
                  </a:lnTo>
                  <a:lnTo>
                    <a:pt x="1232" y="118"/>
                  </a:lnTo>
                  <a:lnTo>
                    <a:pt x="1234" y="121"/>
                  </a:lnTo>
                  <a:lnTo>
                    <a:pt x="1246" y="119"/>
                  </a:lnTo>
                  <a:lnTo>
                    <a:pt x="1258" y="116"/>
                  </a:lnTo>
                  <a:lnTo>
                    <a:pt x="1260" y="119"/>
                  </a:lnTo>
                  <a:lnTo>
                    <a:pt x="1271" y="116"/>
                  </a:lnTo>
                  <a:lnTo>
                    <a:pt x="1273" y="118"/>
                  </a:lnTo>
                  <a:lnTo>
                    <a:pt x="1282" y="118"/>
                  </a:lnTo>
                  <a:lnTo>
                    <a:pt x="1288" y="123"/>
                  </a:lnTo>
                  <a:lnTo>
                    <a:pt x="1294" y="119"/>
                  </a:lnTo>
                  <a:lnTo>
                    <a:pt x="1295" y="113"/>
                  </a:lnTo>
                  <a:lnTo>
                    <a:pt x="1302" y="106"/>
                  </a:lnTo>
                  <a:lnTo>
                    <a:pt x="1304" y="94"/>
                  </a:lnTo>
                  <a:lnTo>
                    <a:pt x="1311" y="91"/>
                  </a:lnTo>
                  <a:lnTo>
                    <a:pt x="1312" y="91"/>
                  </a:lnTo>
                  <a:lnTo>
                    <a:pt x="1326" y="94"/>
                  </a:lnTo>
                  <a:lnTo>
                    <a:pt x="1326" y="96"/>
                  </a:lnTo>
                  <a:lnTo>
                    <a:pt x="1331" y="94"/>
                  </a:lnTo>
                  <a:lnTo>
                    <a:pt x="1339" y="92"/>
                  </a:lnTo>
                  <a:lnTo>
                    <a:pt x="1346" y="89"/>
                  </a:lnTo>
                  <a:lnTo>
                    <a:pt x="1353" y="89"/>
                  </a:lnTo>
                  <a:lnTo>
                    <a:pt x="1365" y="91"/>
                  </a:lnTo>
                  <a:lnTo>
                    <a:pt x="1377" y="94"/>
                  </a:lnTo>
                  <a:lnTo>
                    <a:pt x="1379" y="94"/>
                  </a:lnTo>
                  <a:lnTo>
                    <a:pt x="1385" y="96"/>
                  </a:lnTo>
                  <a:lnTo>
                    <a:pt x="1394" y="97"/>
                  </a:lnTo>
                  <a:lnTo>
                    <a:pt x="1397" y="89"/>
                  </a:lnTo>
                  <a:lnTo>
                    <a:pt x="1404" y="85"/>
                  </a:lnTo>
                  <a:lnTo>
                    <a:pt x="1407" y="91"/>
                  </a:lnTo>
                  <a:lnTo>
                    <a:pt x="1418" y="94"/>
                  </a:lnTo>
                  <a:lnTo>
                    <a:pt x="1430" y="92"/>
                  </a:lnTo>
                  <a:lnTo>
                    <a:pt x="1440" y="92"/>
                  </a:lnTo>
                  <a:lnTo>
                    <a:pt x="1440" y="99"/>
                  </a:lnTo>
                  <a:lnTo>
                    <a:pt x="1450" y="102"/>
                  </a:lnTo>
                  <a:lnTo>
                    <a:pt x="1457" y="106"/>
                  </a:lnTo>
                  <a:lnTo>
                    <a:pt x="1469" y="109"/>
                  </a:lnTo>
                  <a:lnTo>
                    <a:pt x="1475" y="111"/>
                  </a:lnTo>
                  <a:lnTo>
                    <a:pt x="1470" y="118"/>
                  </a:lnTo>
                  <a:lnTo>
                    <a:pt x="1464" y="128"/>
                  </a:lnTo>
                  <a:lnTo>
                    <a:pt x="1464" y="131"/>
                  </a:lnTo>
                  <a:lnTo>
                    <a:pt x="1452" y="130"/>
                  </a:lnTo>
                  <a:lnTo>
                    <a:pt x="1447" y="121"/>
                  </a:lnTo>
                  <a:lnTo>
                    <a:pt x="1438" y="123"/>
                  </a:lnTo>
                  <a:lnTo>
                    <a:pt x="1430" y="125"/>
                  </a:lnTo>
                  <a:lnTo>
                    <a:pt x="1431" y="136"/>
                  </a:lnTo>
                  <a:lnTo>
                    <a:pt x="1440" y="136"/>
                  </a:lnTo>
                  <a:lnTo>
                    <a:pt x="1441" y="143"/>
                  </a:lnTo>
                  <a:lnTo>
                    <a:pt x="1441" y="152"/>
                  </a:lnTo>
                  <a:lnTo>
                    <a:pt x="1450" y="153"/>
                  </a:lnTo>
                  <a:lnTo>
                    <a:pt x="1462" y="150"/>
                  </a:lnTo>
                  <a:lnTo>
                    <a:pt x="1470" y="153"/>
                  </a:lnTo>
                  <a:lnTo>
                    <a:pt x="1474" y="160"/>
                  </a:lnTo>
                  <a:lnTo>
                    <a:pt x="1479" y="169"/>
                  </a:lnTo>
                  <a:lnTo>
                    <a:pt x="1484" y="176"/>
                  </a:lnTo>
                  <a:lnTo>
                    <a:pt x="1482" y="18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3" name="Freeform 12">
              <a:extLst>
                <a:ext uri="{FF2B5EF4-FFF2-40B4-BE49-F238E27FC236}">
                  <a16:creationId xmlns:a16="http://schemas.microsoft.com/office/drawing/2014/main" id="{FD104BF0-4010-4CA5-8ECE-CFE93C2BCA99}"/>
                </a:ext>
              </a:extLst>
            </p:cNvPr>
            <p:cNvSpPr>
              <a:spLocks/>
            </p:cNvSpPr>
            <p:nvPr/>
          </p:nvSpPr>
          <p:spPr bwMode="gray">
            <a:xfrm>
              <a:off x="7243763" y="1401763"/>
              <a:ext cx="1598612" cy="1487488"/>
            </a:xfrm>
            <a:custGeom>
              <a:avLst/>
              <a:gdLst>
                <a:gd name="T0" fmla="*/ 1003 w 1007"/>
                <a:gd name="T1" fmla="*/ 250 h 937"/>
                <a:gd name="T2" fmla="*/ 991 w 1007"/>
                <a:gd name="T3" fmla="*/ 384 h 937"/>
                <a:gd name="T4" fmla="*/ 983 w 1007"/>
                <a:gd name="T5" fmla="*/ 463 h 937"/>
                <a:gd name="T6" fmla="*/ 934 w 1007"/>
                <a:gd name="T7" fmla="*/ 524 h 937"/>
                <a:gd name="T8" fmla="*/ 828 w 1007"/>
                <a:gd name="T9" fmla="*/ 464 h 937"/>
                <a:gd name="T10" fmla="*/ 745 w 1007"/>
                <a:gd name="T11" fmla="*/ 554 h 937"/>
                <a:gd name="T12" fmla="*/ 679 w 1007"/>
                <a:gd name="T13" fmla="*/ 646 h 937"/>
                <a:gd name="T14" fmla="*/ 665 w 1007"/>
                <a:gd name="T15" fmla="*/ 725 h 937"/>
                <a:gd name="T16" fmla="*/ 691 w 1007"/>
                <a:gd name="T17" fmla="*/ 752 h 937"/>
                <a:gd name="T18" fmla="*/ 721 w 1007"/>
                <a:gd name="T19" fmla="*/ 822 h 937"/>
                <a:gd name="T20" fmla="*/ 774 w 1007"/>
                <a:gd name="T21" fmla="*/ 879 h 937"/>
                <a:gd name="T22" fmla="*/ 718 w 1007"/>
                <a:gd name="T23" fmla="*/ 898 h 937"/>
                <a:gd name="T24" fmla="*/ 668 w 1007"/>
                <a:gd name="T25" fmla="*/ 895 h 937"/>
                <a:gd name="T26" fmla="*/ 606 w 1007"/>
                <a:gd name="T27" fmla="*/ 890 h 937"/>
                <a:gd name="T28" fmla="*/ 548 w 1007"/>
                <a:gd name="T29" fmla="*/ 886 h 937"/>
                <a:gd name="T30" fmla="*/ 475 w 1007"/>
                <a:gd name="T31" fmla="*/ 901 h 937"/>
                <a:gd name="T32" fmla="*/ 407 w 1007"/>
                <a:gd name="T33" fmla="*/ 917 h 937"/>
                <a:gd name="T34" fmla="*/ 334 w 1007"/>
                <a:gd name="T35" fmla="*/ 917 h 937"/>
                <a:gd name="T36" fmla="*/ 283 w 1007"/>
                <a:gd name="T37" fmla="*/ 869 h 937"/>
                <a:gd name="T38" fmla="*/ 254 w 1007"/>
                <a:gd name="T39" fmla="*/ 842 h 937"/>
                <a:gd name="T40" fmla="*/ 209 w 1007"/>
                <a:gd name="T41" fmla="*/ 804 h 937"/>
                <a:gd name="T42" fmla="*/ 160 w 1007"/>
                <a:gd name="T43" fmla="*/ 810 h 937"/>
                <a:gd name="T44" fmla="*/ 106 w 1007"/>
                <a:gd name="T45" fmla="*/ 801 h 937"/>
                <a:gd name="T46" fmla="*/ 70 w 1007"/>
                <a:gd name="T47" fmla="*/ 799 h 937"/>
                <a:gd name="T48" fmla="*/ 29 w 1007"/>
                <a:gd name="T49" fmla="*/ 784 h 937"/>
                <a:gd name="T50" fmla="*/ 22 w 1007"/>
                <a:gd name="T51" fmla="*/ 760 h 937"/>
                <a:gd name="T52" fmla="*/ 68 w 1007"/>
                <a:gd name="T53" fmla="*/ 706 h 937"/>
                <a:gd name="T54" fmla="*/ 94 w 1007"/>
                <a:gd name="T55" fmla="*/ 675 h 937"/>
                <a:gd name="T56" fmla="*/ 167 w 1007"/>
                <a:gd name="T57" fmla="*/ 643 h 937"/>
                <a:gd name="T58" fmla="*/ 106 w 1007"/>
                <a:gd name="T59" fmla="*/ 602 h 937"/>
                <a:gd name="T60" fmla="*/ 85 w 1007"/>
                <a:gd name="T61" fmla="*/ 549 h 937"/>
                <a:gd name="T62" fmla="*/ 153 w 1007"/>
                <a:gd name="T63" fmla="*/ 537 h 937"/>
                <a:gd name="T64" fmla="*/ 191 w 1007"/>
                <a:gd name="T65" fmla="*/ 507 h 937"/>
                <a:gd name="T66" fmla="*/ 226 w 1007"/>
                <a:gd name="T67" fmla="*/ 442 h 937"/>
                <a:gd name="T68" fmla="*/ 215 w 1007"/>
                <a:gd name="T69" fmla="*/ 406 h 937"/>
                <a:gd name="T70" fmla="*/ 172 w 1007"/>
                <a:gd name="T71" fmla="*/ 405 h 937"/>
                <a:gd name="T72" fmla="*/ 169 w 1007"/>
                <a:gd name="T73" fmla="*/ 444 h 937"/>
                <a:gd name="T74" fmla="*/ 138 w 1007"/>
                <a:gd name="T75" fmla="*/ 439 h 937"/>
                <a:gd name="T76" fmla="*/ 116 w 1007"/>
                <a:gd name="T77" fmla="*/ 400 h 937"/>
                <a:gd name="T78" fmla="*/ 143 w 1007"/>
                <a:gd name="T79" fmla="*/ 342 h 937"/>
                <a:gd name="T80" fmla="*/ 119 w 1007"/>
                <a:gd name="T81" fmla="*/ 304 h 937"/>
                <a:gd name="T82" fmla="*/ 56 w 1007"/>
                <a:gd name="T83" fmla="*/ 315 h 937"/>
                <a:gd name="T84" fmla="*/ 116 w 1007"/>
                <a:gd name="T85" fmla="*/ 279 h 937"/>
                <a:gd name="T86" fmla="*/ 198 w 1007"/>
                <a:gd name="T87" fmla="*/ 245 h 937"/>
                <a:gd name="T88" fmla="*/ 228 w 1007"/>
                <a:gd name="T89" fmla="*/ 287 h 937"/>
                <a:gd name="T90" fmla="*/ 235 w 1007"/>
                <a:gd name="T91" fmla="*/ 349 h 937"/>
                <a:gd name="T92" fmla="*/ 276 w 1007"/>
                <a:gd name="T93" fmla="*/ 378 h 937"/>
                <a:gd name="T94" fmla="*/ 366 w 1007"/>
                <a:gd name="T95" fmla="*/ 376 h 937"/>
                <a:gd name="T96" fmla="*/ 471 w 1007"/>
                <a:gd name="T97" fmla="*/ 361 h 937"/>
                <a:gd name="T98" fmla="*/ 483 w 1007"/>
                <a:gd name="T99" fmla="*/ 287 h 937"/>
                <a:gd name="T100" fmla="*/ 524 w 1007"/>
                <a:gd name="T101" fmla="*/ 270 h 937"/>
                <a:gd name="T102" fmla="*/ 551 w 1007"/>
                <a:gd name="T103" fmla="*/ 235 h 937"/>
                <a:gd name="T104" fmla="*/ 595 w 1007"/>
                <a:gd name="T105" fmla="*/ 247 h 937"/>
                <a:gd name="T106" fmla="*/ 643 w 1007"/>
                <a:gd name="T107" fmla="*/ 231 h 937"/>
                <a:gd name="T108" fmla="*/ 663 w 1007"/>
                <a:gd name="T109" fmla="*/ 160 h 937"/>
                <a:gd name="T110" fmla="*/ 730 w 1007"/>
                <a:gd name="T111" fmla="*/ 143 h 937"/>
                <a:gd name="T112" fmla="*/ 799 w 1007"/>
                <a:gd name="T113" fmla="*/ 124 h 937"/>
                <a:gd name="T114" fmla="*/ 784 w 1007"/>
                <a:gd name="T115" fmla="*/ 88 h 937"/>
                <a:gd name="T116" fmla="*/ 776 w 1007"/>
                <a:gd name="T117" fmla="*/ 36 h 937"/>
                <a:gd name="T118" fmla="*/ 808 w 1007"/>
                <a:gd name="T119" fmla="*/ 20 h 937"/>
                <a:gd name="T120" fmla="*/ 879 w 1007"/>
                <a:gd name="T121" fmla="*/ 15 h 937"/>
                <a:gd name="T122" fmla="*/ 949 w 1007"/>
                <a:gd name="T123"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07" h="937">
                  <a:moveTo>
                    <a:pt x="978" y="0"/>
                  </a:moveTo>
                  <a:lnTo>
                    <a:pt x="979" y="5"/>
                  </a:lnTo>
                  <a:lnTo>
                    <a:pt x="983" y="53"/>
                  </a:lnTo>
                  <a:lnTo>
                    <a:pt x="993" y="71"/>
                  </a:lnTo>
                  <a:lnTo>
                    <a:pt x="1000" y="83"/>
                  </a:lnTo>
                  <a:lnTo>
                    <a:pt x="1002" y="85"/>
                  </a:lnTo>
                  <a:lnTo>
                    <a:pt x="1007" y="126"/>
                  </a:lnTo>
                  <a:lnTo>
                    <a:pt x="1005" y="158"/>
                  </a:lnTo>
                  <a:lnTo>
                    <a:pt x="1002" y="187"/>
                  </a:lnTo>
                  <a:lnTo>
                    <a:pt x="1002" y="219"/>
                  </a:lnTo>
                  <a:lnTo>
                    <a:pt x="1003" y="250"/>
                  </a:lnTo>
                  <a:lnTo>
                    <a:pt x="1005" y="287"/>
                  </a:lnTo>
                  <a:lnTo>
                    <a:pt x="1005" y="306"/>
                  </a:lnTo>
                  <a:lnTo>
                    <a:pt x="1005" y="318"/>
                  </a:lnTo>
                  <a:lnTo>
                    <a:pt x="1005" y="320"/>
                  </a:lnTo>
                  <a:lnTo>
                    <a:pt x="1003" y="335"/>
                  </a:lnTo>
                  <a:lnTo>
                    <a:pt x="1000" y="352"/>
                  </a:lnTo>
                  <a:lnTo>
                    <a:pt x="998" y="364"/>
                  </a:lnTo>
                  <a:lnTo>
                    <a:pt x="998" y="372"/>
                  </a:lnTo>
                  <a:lnTo>
                    <a:pt x="998" y="374"/>
                  </a:lnTo>
                  <a:lnTo>
                    <a:pt x="991" y="383"/>
                  </a:lnTo>
                  <a:lnTo>
                    <a:pt x="991" y="384"/>
                  </a:lnTo>
                  <a:lnTo>
                    <a:pt x="988" y="393"/>
                  </a:lnTo>
                  <a:lnTo>
                    <a:pt x="988" y="396"/>
                  </a:lnTo>
                  <a:lnTo>
                    <a:pt x="986" y="406"/>
                  </a:lnTo>
                  <a:lnTo>
                    <a:pt x="988" y="410"/>
                  </a:lnTo>
                  <a:lnTo>
                    <a:pt x="991" y="410"/>
                  </a:lnTo>
                  <a:lnTo>
                    <a:pt x="991" y="427"/>
                  </a:lnTo>
                  <a:lnTo>
                    <a:pt x="993" y="437"/>
                  </a:lnTo>
                  <a:lnTo>
                    <a:pt x="993" y="442"/>
                  </a:lnTo>
                  <a:lnTo>
                    <a:pt x="990" y="451"/>
                  </a:lnTo>
                  <a:lnTo>
                    <a:pt x="985" y="456"/>
                  </a:lnTo>
                  <a:lnTo>
                    <a:pt x="983" y="463"/>
                  </a:lnTo>
                  <a:lnTo>
                    <a:pt x="981" y="468"/>
                  </a:lnTo>
                  <a:lnTo>
                    <a:pt x="979" y="473"/>
                  </a:lnTo>
                  <a:lnTo>
                    <a:pt x="976" y="480"/>
                  </a:lnTo>
                  <a:lnTo>
                    <a:pt x="973" y="488"/>
                  </a:lnTo>
                  <a:lnTo>
                    <a:pt x="971" y="495"/>
                  </a:lnTo>
                  <a:lnTo>
                    <a:pt x="981" y="524"/>
                  </a:lnTo>
                  <a:lnTo>
                    <a:pt x="964" y="531"/>
                  </a:lnTo>
                  <a:lnTo>
                    <a:pt x="956" y="536"/>
                  </a:lnTo>
                  <a:lnTo>
                    <a:pt x="952" y="536"/>
                  </a:lnTo>
                  <a:lnTo>
                    <a:pt x="942" y="529"/>
                  </a:lnTo>
                  <a:lnTo>
                    <a:pt x="934" y="524"/>
                  </a:lnTo>
                  <a:lnTo>
                    <a:pt x="925" y="519"/>
                  </a:lnTo>
                  <a:lnTo>
                    <a:pt x="915" y="512"/>
                  </a:lnTo>
                  <a:lnTo>
                    <a:pt x="886" y="493"/>
                  </a:lnTo>
                  <a:lnTo>
                    <a:pt x="881" y="490"/>
                  </a:lnTo>
                  <a:lnTo>
                    <a:pt x="876" y="486"/>
                  </a:lnTo>
                  <a:lnTo>
                    <a:pt x="869" y="481"/>
                  </a:lnTo>
                  <a:lnTo>
                    <a:pt x="859" y="474"/>
                  </a:lnTo>
                  <a:lnTo>
                    <a:pt x="857" y="473"/>
                  </a:lnTo>
                  <a:lnTo>
                    <a:pt x="850" y="469"/>
                  </a:lnTo>
                  <a:lnTo>
                    <a:pt x="838" y="461"/>
                  </a:lnTo>
                  <a:lnTo>
                    <a:pt x="828" y="464"/>
                  </a:lnTo>
                  <a:lnTo>
                    <a:pt x="811" y="468"/>
                  </a:lnTo>
                  <a:lnTo>
                    <a:pt x="798" y="486"/>
                  </a:lnTo>
                  <a:lnTo>
                    <a:pt x="791" y="491"/>
                  </a:lnTo>
                  <a:lnTo>
                    <a:pt x="776" y="503"/>
                  </a:lnTo>
                  <a:lnTo>
                    <a:pt x="769" y="510"/>
                  </a:lnTo>
                  <a:lnTo>
                    <a:pt x="760" y="515"/>
                  </a:lnTo>
                  <a:lnTo>
                    <a:pt x="759" y="526"/>
                  </a:lnTo>
                  <a:lnTo>
                    <a:pt x="757" y="532"/>
                  </a:lnTo>
                  <a:lnTo>
                    <a:pt x="753" y="537"/>
                  </a:lnTo>
                  <a:lnTo>
                    <a:pt x="750" y="544"/>
                  </a:lnTo>
                  <a:lnTo>
                    <a:pt x="745" y="554"/>
                  </a:lnTo>
                  <a:lnTo>
                    <a:pt x="740" y="565"/>
                  </a:lnTo>
                  <a:lnTo>
                    <a:pt x="730" y="578"/>
                  </a:lnTo>
                  <a:lnTo>
                    <a:pt x="725" y="588"/>
                  </a:lnTo>
                  <a:lnTo>
                    <a:pt x="723" y="594"/>
                  </a:lnTo>
                  <a:lnTo>
                    <a:pt x="718" y="600"/>
                  </a:lnTo>
                  <a:lnTo>
                    <a:pt x="714" y="605"/>
                  </a:lnTo>
                  <a:lnTo>
                    <a:pt x="697" y="621"/>
                  </a:lnTo>
                  <a:lnTo>
                    <a:pt x="696" y="622"/>
                  </a:lnTo>
                  <a:lnTo>
                    <a:pt x="691" y="629"/>
                  </a:lnTo>
                  <a:lnTo>
                    <a:pt x="685" y="639"/>
                  </a:lnTo>
                  <a:lnTo>
                    <a:pt x="679" y="646"/>
                  </a:lnTo>
                  <a:lnTo>
                    <a:pt x="675" y="653"/>
                  </a:lnTo>
                  <a:lnTo>
                    <a:pt x="672" y="662"/>
                  </a:lnTo>
                  <a:lnTo>
                    <a:pt x="670" y="670"/>
                  </a:lnTo>
                  <a:lnTo>
                    <a:pt x="668" y="677"/>
                  </a:lnTo>
                  <a:lnTo>
                    <a:pt x="667" y="689"/>
                  </a:lnTo>
                  <a:lnTo>
                    <a:pt x="667" y="697"/>
                  </a:lnTo>
                  <a:lnTo>
                    <a:pt x="667" y="709"/>
                  </a:lnTo>
                  <a:lnTo>
                    <a:pt x="665" y="709"/>
                  </a:lnTo>
                  <a:lnTo>
                    <a:pt x="665" y="711"/>
                  </a:lnTo>
                  <a:lnTo>
                    <a:pt x="665" y="719"/>
                  </a:lnTo>
                  <a:lnTo>
                    <a:pt x="665" y="725"/>
                  </a:lnTo>
                  <a:lnTo>
                    <a:pt x="665" y="726"/>
                  </a:lnTo>
                  <a:lnTo>
                    <a:pt x="665" y="736"/>
                  </a:lnTo>
                  <a:lnTo>
                    <a:pt x="667" y="747"/>
                  </a:lnTo>
                  <a:lnTo>
                    <a:pt x="667" y="748"/>
                  </a:lnTo>
                  <a:lnTo>
                    <a:pt x="667" y="753"/>
                  </a:lnTo>
                  <a:lnTo>
                    <a:pt x="667" y="755"/>
                  </a:lnTo>
                  <a:lnTo>
                    <a:pt x="670" y="760"/>
                  </a:lnTo>
                  <a:lnTo>
                    <a:pt x="679" y="755"/>
                  </a:lnTo>
                  <a:lnTo>
                    <a:pt x="689" y="750"/>
                  </a:lnTo>
                  <a:lnTo>
                    <a:pt x="691" y="745"/>
                  </a:lnTo>
                  <a:lnTo>
                    <a:pt x="691" y="752"/>
                  </a:lnTo>
                  <a:lnTo>
                    <a:pt x="692" y="757"/>
                  </a:lnTo>
                  <a:lnTo>
                    <a:pt x="692" y="764"/>
                  </a:lnTo>
                  <a:lnTo>
                    <a:pt x="694" y="765"/>
                  </a:lnTo>
                  <a:lnTo>
                    <a:pt x="702" y="772"/>
                  </a:lnTo>
                  <a:lnTo>
                    <a:pt x="711" y="779"/>
                  </a:lnTo>
                  <a:lnTo>
                    <a:pt x="711" y="782"/>
                  </a:lnTo>
                  <a:lnTo>
                    <a:pt x="711" y="791"/>
                  </a:lnTo>
                  <a:lnTo>
                    <a:pt x="706" y="801"/>
                  </a:lnTo>
                  <a:lnTo>
                    <a:pt x="709" y="806"/>
                  </a:lnTo>
                  <a:lnTo>
                    <a:pt x="713" y="813"/>
                  </a:lnTo>
                  <a:lnTo>
                    <a:pt x="721" y="822"/>
                  </a:lnTo>
                  <a:lnTo>
                    <a:pt x="726" y="823"/>
                  </a:lnTo>
                  <a:lnTo>
                    <a:pt x="731" y="828"/>
                  </a:lnTo>
                  <a:lnTo>
                    <a:pt x="735" y="833"/>
                  </a:lnTo>
                  <a:lnTo>
                    <a:pt x="750" y="852"/>
                  </a:lnTo>
                  <a:lnTo>
                    <a:pt x="753" y="857"/>
                  </a:lnTo>
                  <a:lnTo>
                    <a:pt x="769" y="862"/>
                  </a:lnTo>
                  <a:lnTo>
                    <a:pt x="774" y="864"/>
                  </a:lnTo>
                  <a:lnTo>
                    <a:pt x="786" y="867"/>
                  </a:lnTo>
                  <a:lnTo>
                    <a:pt x="777" y="874"/>
                  </a:lnTo>
                  <a:lnTo>
                    <a:pt x="776" y="878"/>
                  </a:lnTo>
                  <a:lnTo>
                    <a:pt x="774" y="879"/>
                  </a:lnTo>
                  <a:lnTo>
                    <a:pt x="765" y="888"/>
                  </a:lnTo>
                  <a:lnTo>
                    <a:pt x="764" y="891"/>
                  </a:lnTo>
                  <a:lnTo>
                    <a:pt x="762" y="891"/>
                  </a:lnTo>
                  <a:lnTo>
                    <a:pt x="755" y="901"/>
                  </a:lnTo>
                  <a:lnTo>
                    <a:pt x="748" y="900"/>
                  </a:lnTo>
                  <a:lnTo>
                    <a:pt x="738" y="893"/>
                  </a:lnTo>
                  <a:lnTo>
                    <a:pt x="738" y="891"/>
                  </a:lnTo>
                  <a:lnTo>
                    <a:pt x="726" y="895"/>
                  </a:lnTo>
                  <a:lnTo>
                    <a:pt x="725" y="896"/>
                  </a:lnTo>
                  <a:lnTo>
                    <a:pt x="721" y="895"/>
                  </a:lnTo>
                  <a:lnTo>
                    <a:pt x="718" y="898"/>
                  </a:lnTo>
                  <a:lnTo>
                    <a:pt x="714" y="896"/>
                  </a:lnTo>
                  <a:lnTo>
                    <a:pt x="713" y="898"/>
                  </a:lnTo>
                  <a:lnTo>
                    <a:pt x="701" y="898"/>
                  </a:lnTo>
                  <a:lnTo>
                    <a:pt x="697" y="901"/>
                  </a:lnTo>
                  <a:lnTo>
                    <a:pt x="692" y="891"/>
                  </a:lnTo>
                  <a:lnTo>
                    <a:pt x="692" y="884"/>
                  </a:lnTo>
                  <a:lnTo>
                    <a:pt x="680" y="886"/>
                  </a:lnTo>
                  <a:lnTo>
                    <a:pt x="679" y="886"/>
                  </a:lnTo>
                  <a:lnTo>
                    <a:pt x="675" y="895"/>
                  </a:lnTo>
                  <a:lnTo>
                    <a:pt x="667" y="896"/>
                  </a:lnTo>
                  <a:lnTo>
                    <a:pt x="668" y="895"/>
                  </a:lnTo>
                  <a:lnTo>
                    <a:pt x="663" y="893"/>
                  </a:lnTo>
                  <a:lnTo>
                    <a:pt x="658" y="886"/>
                  </a:lnTo>
                  <a:lnTo>
                    <a:pt x="653" y="890"/>
                  </a:lnTo>
                  <a:lnTo>
                    <a:pt x="651" y="884"/>
                  </a:lnTo>
                  <a:lnTo>
                    <a:pt x="643" y="883"/>
                  </a:lnTo>
                  <a:lnTo>
                    <a:pt x="640" y="878"/>
                  </a:lnTo>
                  <a:lnTo>
                    <a:pt x="640" y="879"/>
                  </a:lnTo>
                  <a:lnTo>
                    <a:pt x="638" y="878"/>
                  </a:lnTo>
                  <a:lnTo>
                    <a:pt x="624" y="879"/>
                  </a:lnTo>
                  <a:lnTo>
                    <a:pt x="607" y="888"/>
                  </a:lnTo>
                  <a:lnTo>
                    <a:pt x="606" y="890"/>
                  </a:lnTo>
                  <a:lnTo>
                    <a:pt x="599" y="890"/>
                  </a:lnTo>
                  <a:lnTo>
                    <a:pt x="590" y="886"/>
                  </a:lnTo>
                  <a:lnTo>
                    <a:pt x="582" y="886"/>
                  </a:lnTo>
                  <a:lnTo>
                    <a:pt x="573" y="890"/>
                  </a:lnTo>
                  <a:lnTo>
                    <a:pt x="570" y="890"/>
                  </a:lnTo>
                  <a:lnTo>
                    <a:pt x="563" y="886"/>
                  </a:lnTo>
                  <a:lnTo>
                    <a:pt x="565" y="881"/>
                  </a:lnTo>
                  <a:lnTo>
                    <a:pt x="565" y="874"/>
                  </a:lnTo>
                  <a:lnTo>
                    <a:pt x="556" y="876"/>
                  </a:lnTo>
                  <a:lnTo>
                    <a:pt x="549" y="874"/>
                  </a:lnTo>
                  <a:lnTo>
                    <a:pt x="548" y="886"/>
                  </a:lnTo>
                  <a:lnTo>
                    <a:pt x="539" y="883"/>
                  </a:lnTo>
                  <a:lnTo>
                    <a:pt x="527" y="886"/>
                  </a:lnTo>
                  <a:lnTo>
                    <a:pt x="526" y="891"/>
                  </a:lnTo>
                  <a:lnTo>
                    <a:pt x="526" y="901"/>
                  </a:lnTo>
                  <a:lnTo>
                    <a:pt x="514" y="905"/>
                  </a:lnTo>
                  <a:lnTo>
                    <a:pt x="504" y="898"/>
                  </a:lnTo>
                  <a:lnTo>
                    <a:pt x="498" y="903"/>
                  </a:lnTo>
                  <a:lnTo>
                    <a:pt x="492" y="907"/>
                  </a:lnTo>
                  <a:lnTo>
                    <a:pt x="490" y="913"/>
                  </a:lnTo>
                  <a:lnTo>
                    <a:pt x="481" y="905"/>
                  </a:lnTo>
                  <a:lnTo>
                    <a:pt x="475" y="901"/>
                  </a:lnTo>
                  <a:lnTo>
                    <a:pt x="470" y="900"/>
                  </a:lnTo>
                  <a:lnTo>
                    <a:pt x="464" y="907"/>
                  </a:lnTo>
                  <a:lnTo>
                    <a:pt x="456" y="908"/>
                  </a:lnTo>
                  <a:lnTo>
                    <a:pt x="447" y="901"/>
                  </a:lnTo>
                  <a:lnTo>
                    <a:pt x="441" y="900"/>
                  </a:lnTo>
                  <a:lnTo>
                    <a:pt x="430" y="896"/>
                  </a:lnTo>
                  <a:lnTo>
                    <a:pt x="425" y="905"/>
                  </a:lnTo>
                  <a:lnTo>
                    <a:pt x="422" y="903"/>
                  </a:lnTo>
                  <a:lnTo>
                    <a:pt x="412" y="903"/>
                  </a:lnTo>
                  <a:lnTo>
                    <a:pt x="407" y="912"/>
                  </a:lnTo>
                  <a:lnTo>
                    <a:pt x="407" y="917"/>
                  </a:lnTo>
                  <a:lnTo>
                    <a:pt x="398" y="925"/>
                  </a:lnTo>
                  <a:lnTo>
                    <a:pt x="390" y="920"/>
                  </a:lnTo>
                  <a:lnTo>
                    <a:pt x="379" y="918"/>
                  </a:lnTo>
                  <a:lnTo>
                    <a:pt x="374" y="924"/>
                  </a:lnTo>
                  <a:lnTo>
                    <a:pt x="374" y="934"/>
                  </a:lnTo>
                  <a:lnTo>
                    <a:pt x="362" y="935"/>
                  </a:lnTo>
                  <a:lnTo>
                    <a:pt x="352" y="937"/>
                  </a:lnTo>
                  <a:lnTo>
                    <a:pt x="347" y="929"/>
                  </a:lnTo>
                  <a:lnTo>
                    <a:pt x="342" y="925"/>
                  </a:lnTo>
                  <a:lnTo>
                    <a:pt x="337" y="918"/>
                  </a:lnTo>
                  <a:lnTo>
                    <a:pt x="334" y="917"/>
                  </a:lnTo>
                  <a:lnTo>
                    <a:pt x="335" y="908"/>
                  </a:lnTo>
                  <a:lnTo>
                    <a:pt x="330" y="908"/>
                  </a:lnTo>
                  <a:lnTo>
                    <a:pt x="323" y="898"/>
                  </a:lnTo>
                  <a:lnTo>
                    <a:pt x="318" y="898"/>
                  </a:lnTo>
                  <a:lnTo>
                    <a:pt x="320" y="890"/>
                  </a:lnTo>
                  <a:lnTo>
                    <a:pt x="315" y="890"/>
                  </a:lnTo>
                  <a:lnTo>
                    <a:pt x="315" y="879"/>
                  </a:lnTo>
                  <a:lnTo>
                    <a:pt x="306" y="873"/>
                  </a:lnTo>
                  <a:lnTo>
                    <a:pt x="305" y="871"/>
                  </a:lnTo>
                  <a:lnTo>
                    <a:pt x="296" y="867"/>
                  </a:lnTo>
                  <a:lnTo>
                    <a:pt x="283" y="869"/>
                  </a:lnTo>
                  <a:lnTo>
                    <a:pt x="279" y="873"/>
                  </a:lnTo>
                  <a:lnTo>
                    <a:pt x="279" y="869"/>
                  </a:lnTo>
                  <a:lnTo>
                    <a:pt x="283" y="866"/>
                  </a:lnTo>
                  <a:lnTo>
                    <a:pt x="281" y="857"/>
                  </a:lnTo>
                  <a:lnTo>
                    <a:pt x="274" y="861"/>
                  </a:lnTo>
                  <a:lnTo>
                    <a:pt x="269" y="854"/>
                  </a:lnTo>
                  <a:lnTo>
                    <a:pt x="264" y="856"/>
                  </a:lnTo>
                  <a:lnTo>
                    <a:pt x="262" y="850"/>
                  </a:lnTo>
                  <a:lnTo>
                    <a:pt x="259" y="854"/>
                  </a:lnTo>
                  <a:lnTo>
                    <a:pt x="255" y="852"/>
                  </a:lnTo>
                  <a:lnTo>
                    <a:pt x="254" y="842"/>
                  </a:lnTo>
                  <a:lnTo>
                    <a:pt x="245" y="839"/>
                  </a:lnTo>
                  <a:lnTo>
                    <a:pt x="237" y="840"/>
                  </a:lnTo>
                  <a:lnTo>
                    <a:pt x="232" y="844"/>
                  </a:lnTo>
                  <a:lnTo>
                    <a:pt x="225" y="849"/>
                  </a:lnTo>
                  <a:lnTo>
                    <a:pt x="223" y="837"/>
                  </a:lnTo>
                  <a:lnTo>
                    <a:pt x="218" y="833"/>
                  </a:lnTo>
                  <a:lnTo>
                    <a:pt x="215" y="825"/>
                  </a:lnTo>
                  <a:lnTo>
                    <a:pt x="209" y="825"/>
                  </a:lnTo>
                  <a:lnTo>
                    <a:pt x="215" y="820"/>
                  </a:lnTo>
                  <a:lnTo>
                    <a:pt x="209" y="811"/>
                  </a:lnTo>
                  <a:lnTo>
                    <a:pt x="209" y="804"/>
                  </a:lnTo>
                  <a:lnTo>
                    <a:pt x="204" y="811"/>
                  </a:lnTo>
                  <a:lnTo>
                    <a:pt x="203" y="808"/>
                  </a:lnTo>
                  <a:lnTo>
                    <a:pt x="199" y="804"/>
                  </a:lnTo>
                  <a:lnTo>
                    <a:pt x="189" y="801"/>
                  </a:lnTo>
                  <a:lnTo>
                    <a:pt x="184" y="806"/>
                  </a:lnTo>
                  <a:lnTo>
                    <a:pt x="172" y="808"/>
                  </a:lnTo>
                  <a:lnTo>
                    <a:pt x="169" y="806"/>
                  </a:lnTo>
                  <a:lnTo>
                    <a:pt x="167" y="810"/>
                  </a:lnTo>
                  <a:lnTo>
                    <a:pt x="170" y="816"/>
                  </a:lnTo>
                  <a:lnTo>
                    <a:pt x="167" y="818"/>
                  </a:lnTo>
                  <a:lnTo>
                    <a:pt x="160" y="810"/>
                  </a:lnTo>
                  <a:lnTo>
                    <a:pt x="148" y="815"/>
                  </a:lnTo>
                  <a:lnTo>
                    <a:pt x="147" y="806"/>
                  </a:lnTo>
                  <a:lnTo>
                    <a:pt x="143" y="811"/>
                  </a:lnTo>
                  <a:lnTo>
                    <a:pt x="136" y="803"/>
                  </a:lnTo>
                  <a:lnTo>
                    <a:pt x="128" y="803"/>
                  </a:lnTo>
                  <a:lnTo>
                    <a:pt x="121" y="794"/>
                  </a:lnTo>
                  <a:lnTo>
                    <a:pt x="114" y="796"/>
                  </a:lnTo>
                  <a:lnTo>
                    <a:pt x="106" y="791"/>
                  </a:lnTo>
                  <a:lnTo>
                    <a:pt x="99" y="794"/>
                  </a:lnTo>
                  <a:lnTo>
                    <a:pt x="94" y="801"/>
                  </a:lnTo>
                  <a:lnTo>
                    <a:pt x="106" y="801"/>
                  </a:lnTo>
                  <a:lnTo>
                    <a:pt x="104" y="808"/>
                  </a:lnTo>
                  <a:lnTo>
                    <a:pt x="96" y="804"/>
                  </a:lnTo>
                  <a:lnTo>
                    <a:pt x="96" y="808"/>
                  </a:lnTo>
                  <a:lnTo>
                    <a:pt x="89" y="813"/>
                  </a:lnTo>
                  <a:lnTo>
                    <a:pt x="82" y="813"/>
                  </a:lnTo>
                  <a:lnTo>
                    <a:pt x="80" y="820"/>
                  </a:lnTo>
                  <a:lnTo>
                    <a:pt x="75" y="820"/>
                  </a:lnTo>
                  <a:lnTo>
                    <a:pt x="79" y="813"/>
                  </a:lnTo>
                  <a:lnTo>
                    <a:pt x="73" y="808"/>
                  </a:lnTo>
                  <a:lnTo>
                    <a:pt x="67" y="804"/>
                  </a:lnTo>
                  <a:lnTo>
                    <a:pt x="70" y="799"/>
                  </a:lnTo>
                  <a:lnTo>
                    <a:pt x="63" y="794"/>
                  </a:lnTo>
                  <a:lnTo>
                    <a:pt x="62" y="789"/>
                  </a:lnTo>
                  <a:lnTo>
                    <a:pt x="58" y="798"/>
                  </a:lnTo>
                  <a:lnTo>
                    <a:pt x="50" y="794"/>
                  </a:lnTo>
                  <a:lnTo>
                    <a:pt x="55" y="798"/>
                  </a:lnTo>
                  <a:lnTo>
                    <a:pt x="46" y="806"/>
                  </a:lnTo>
                  <a:lnTo>
                    <a:pt x="48" y="799"/>
                  </a:lnTo>
                  <a:lnTo>
                    <a:pt x="45" y="796"/>
                  </a:lnTo>
                  <a:lnTo>
                    <a:pt x="41" y="789"/>
                  </a:lnTo>
                  <a:lnTo>
                    <a:pt x="41" y="786"/>
                  </a:lnTo>
                  <a:lnTo>
                    <a:pt x="29" y="784"/>
                  </a:lnTo>
                  <a:lnTo>
                    <a:pt x="21" y="789"/>
                  </a:lnTo>
                  <a:lnTo>
                    <a:pt x="22" y="782"/>
                  </a:lnTo>
                  <a:lnTo>
                    <a:pt x="16" y="787"/>
                  </a:lnTo>
                  <a:lnTo>
                    <a:pt x="11" y="777"/>
                  </a:lnTo>
                  <a:lnTo>
                    <a:pt x="5" y="781"/>
                  </a:lnTo>
                  <a:lnTo>
                    <a:pt x="2" y="772"/>
                  </a:lnTo>
                  <a:lnTo>
                    <a:pt x="0" y="769"/>
                  </a:lnTo>
                  <a:lnTo>
                    <a:pt x="12" y="767"/>
                  </a:lnTo>
                  <a:lnTo>
                    <a:pt x="12" y="770"/>
                  </a:lnTo>
                  <a:lnTo>
                    <a:pt x="19" y="770"/>
                  </a:lnTo>
                  <a:lnTo>
                    <a:pt x="22" y="760"/>
                  </a:lnTo>
                  <a:lnTo>
                    <a:pt x="21" y="753"/>
                  </a:lnTo>
                  <a:lnTo>
                    <a:pt x="22" y="748"/>
                  </a:lnTo>
                  <a:lnTo>
                    <a:pt x="29" y="742"/>
                  </a:lnTo>
                  <a:lnTo>
                    <a:pt x="45" y="740"/>
                  </a:lnTo>
                  <a:lnTo>
                    <a:pt x="41" y="728"/>
                  </a:lnTo>
                  <a:lnTo>
                    <a:pt x="39" y="728"/>
                  </a:lnTo>
                  <a:lnTo>
                    <a:pt x="43" y="718"/>
                  </a:lnTo>
                  <a:lnTo>
                    <a:pt x="45" y="711"/>
                  </a:lnTo>
                  <a:lnTo>
                    <a:pt x="55" y="711"/>
                  </a:lnTo>
                  <a:lnTo>
                    <a:pt x="55" y="708"/>
                  </a:lnTo>
                  <a:lnTo>
                    <a:pt x="68" y="706"/>
                  </a:lnTo>
                  <a:lnTo>
                    <a:pt x="67" y="699"/>
                  </a:lnTo>
                  <a:lnTo>
                    <a:pt x="72" y="697"/>
                  </a:lnTo>
                  <a:lnTo>
                    <a:pt x="72" y="694"/>
                  </a:lnTo>
                  <a:lnTo>
                    <a:pt x="79" y="694"/>
                  </a:lnTo>
                  <a:lnTo>
                    <a:pt x="79" y="691"/>
                  </a:lnTo>
                  <a:lnTo>
                    <a:pt x="77" y="687"/>
                  </a:lnTo>
                  <a:lnTo>
                    <a:pt x="77" y="677"/>
                  </a:lnTo>
                  <a:lnTo>
                    <a:pt x="79" y="670"/>
                  </a:lnTo>
                  <a:lnTo>
                    <a:pt x="90" y="674"/>
                  </a:lnTo>
                  <a:lnTo>
                    <a:pt x="89" y="677"/>
                  </a:lnTo>
                  <a:lnTo>
                    <a:pt x="94" y="675"/>
                  </a:lnTo>
                  <a:lnTo>
                    <a:pt x="94" y="680"/>
                  </a:lnTo>
                  <a:lnTo>
                    <a:pt x="107" y="682"/>
                  </a:lnTo>
                  <a:lnTo>
                    <a:pt x="107" y="672"/>
                  </a:lnTo>
                  <a:lnTo>
                    <a:pt x="114" y="672"/>
                  </a:lnTo>
                  <a:lnTo>
                    <a:pt x="121" y="674"/>
                  </a:lnTo>
                  <a:lnTo>
                    <a:pt x="140" y="675"/>
                  </a:lnTo>
                  <a:lnTo>
                    <a:pt x="141" y="662"/>
                  </a:lnTo>
                  <a:lnTo>
                    <a:pt x="147" y="657"/>
                  </a:lnTo>
                  <a:lnTo>
                    <a:pt x="148" y="650"/>
                  </a:lnTo>
                  <a:lnTo>
                    <a:pt x="158" y="645"/>
                  </a:lnTo>
                  <a:lnTo>
                    <a:pt x="167" y="643"/>
                  </a:lnTo>
                  <a:lnTo>
                    <a:pt x="164" y="634"/>
                  </a:lnTo>
                  <a:lnTo>
                    <a:pt x="162" y="628"/>
                  </a:lnTo>
                  <a:lnTo>
                    <a:pt x="155" y="629"/>
                  </a:lnTo>
                  <a:lnTo>
                    <a:pt x="153" y="617"/>
                  </a:lnTo>
                  <a:lnTo>
                    <a:pt x="147" y="621"/>
                  </a:lnTo>
                  <a:lnTo>
                    <a:pt x="135" y="622"/>
                  </a:lnTo>
                  <a:lnTo>
                    <a:pt x="128" y="628"/>
                  </a:lnTo>
                  <a:lnTo>
                    <a:pt x="118" y="619"/>
                  </a:lnTo>
                  <a:lnTo>
                    <a:pt x="109" y="616"/>
                  </a:lnTo>
                  <a:lnTo>
                    <a:pt x="106" y="614"/>
                  </a:lnTo>
                  <a:lnTo>
                    <a:pt x="106" y="602"/>
                  </a:lnTo>
                  <a:lnTo>
                    <a:pt x="96" y="600"/>
                  </a:lnTo>
                  <a:lnTo>
                    <a:pt x="82" y="597"/>
                  </a:lnTo>
                  <a:lnTo>
                    <a:pt x="84" y="587"/>
                  </a:lnTo>
                  <a:lnTo>
                    <a:pt x="84" y="582"/>
                  </a:lnTo>
                  <a:lnTo>
                    <a:pt x="80" y="575"/>
                  </a:lnTo>
                  <a:lnTo>
                    <a:pt x="72" y="570"/>
                  </a:lnTo>
                  <a:lnTo>
                    <a:pt x="75" y="561"/>
                  </a:lnTo>
                  <a:lnTo>
                    <a:pt x="80" y="558"/>
                  </a:lnTo>
                  <a:lnTo>
                    <a:pt x="77" y="553"/>
                  </a:lnTo>
                  <a:lnTo>
                    <a:pt x="84" y="553"/>
                  </a:lnTo>
                  <a:lnTo>
                    <a:pt x="85" y="549"/>
                  </a:lnTo>
                  <a:lnTo>
                    <a:pt x="96" y="553"/>
                  </a:lnTo>
                  <a:lnTo>
                    <a:pt x="99" y="541"/>
                  </a:lnTo>
                  <a:lnTo>
                    <a:pt x="101" y="537"/>
                  </a:lnTo>
                  <a:lnTo>
                    <a:pt x="111" y="529"/>
                  </a:lnTo>
                  <a:lnTo>
                    <a:pt x="116" y="529"/>
                  </a:lnTo>
                  <a:lnTo>
                    <a:pt x="126" y="532"/>
                  </a:lnTo>
                  <a:lnTo>
                    <a:pt x="131" y="534"/>
                  </a:lnTo>
                  <a:lnTo>
                    <a:pt x="143" y="534"/>
                  </a:lnTo>
                  <a:lnTo>
                    <a:pt x="145" y="532"/>
                  </a:lnTo>
                  <a:lnTo>
                    <a:pt x="147" y="541"/>
                  </a:lnTo>
                  <a:lnTo>
                    <a:pt x="153" y="537"/>
                  </a:lnTo>
                  <a:lnTo>
                    <a:pt x="164" y="537"/>
                  </a:lnTo>
                  <a:lnTo>
                    <a:pt x="170" y="537"/>
                  </a:lnTo>
                  <a:lnTo>
                    <a:pt x="172" y="539"/>
                  </a:lnTo>
                  <a:lnTo>
                    <a:pt x="177" y="529"/>
                  </a:lnTo>
                  <a:lnTo>
                    <a:pt x="175" y="529"/>
                  </a:lnTo>
                  <a:lnTo>
                    <a:pt x="175" y="517"/>
                  </a:lnTo>
                  <a:lnTo>
                    <a:pt x="179" y="507"/>
                  </a:lnTo>
                  <a:lnTo>
                    <a:pt x="179" y="505"/>
                  </a:lnTo>
                  <a:lnTo>
                    <a:pt x="179" y="502"/>
                  </a:lnTo>
                  <a:lnTo>
                    <a:pt x="186" y="505"/>
                  </a:lnTo>
                  <a:lnTo>
                    <a:pt x="191" y="507"/>
                  </a:lnTo>
                  <a:lnTo>
                    <a:pt x="192" y="503"/>
                  </a:lnTo>
                  <a:lnTo>
                    <a:pt x="196" y="493"/>
                  </a:lnTo>
                  <a:lnTo>
                    <a:pt x="192" y="490"/>
                  </a:lnTo>
                  <a:lnTo>
                    <a:pt x="192" y="488"/>
                  </a:lnTo>
                  <a:lnTo>
                    <a:pt x="198" y="476"/>
                  </a:lnTo>
                  <a:lnTo>
                    <a:pt x="204" y="468"/>
                  </a:lnTo>
                  <a:lnTo>
                    <a:pt x="196" y="464"/>
                  </a:lnTo>
                  <a:lnTo>
                    <a:pt x="198" y="461"/>
                  </a:lnTo>
                  <a:lnTo>
                    <a:pt x="201" y="449"/>
                  </a:lnTo>
                  <a:lnTo>
                    <a:pt x="211" y="446"/>
                  </a:lnTo>
                  <a:lnTo>
                    <a:pt x="226" y="442"/>
                  </a:lnTo>
                  <a:lnTo>
                    <a:pt x="226" y="435"/>
                  </a:lnTo>
                  <a:lnTo>
                    <a:pt x="220" y="435"/>
                  </a:lnTo>
                  <a:lnTo>
                    <a:pt x="223" y="425"/>
                  </a:lnTo>
                  <a:lnTo>
                    <a:pt x="220" y="420"/>
                  </a:lnTo>
                  <a:lnTo>
                    <a:pt x="228" y="417"/>
                  </a:lnTo>
                  <a:lnTo>
                    <a:pt x="233" y="417"/>
                  </a:lnTo>
                  <a:lnTo>
                    <a:pt x="237" y="413"/>
                  </a:lnTo>
                  <a:lnTo>
                    <a:pt x="235" y="412"/>
                  </a:lnTo>
                  <a:lnTo>
                    <a:pt x="232" y="401"/>
                  </a:lnTo>
                  <a:lnTo>
                    <a:pt x="226" y="412"/>
                  </a:lnTo>
                  <a:lnTo>
                    <a:pt x="215" y="406"/>
                  </a:lnTo>
                  <a:lnTo>
                    <a:pt x="216" y="412"/>
                  </a:lnTo>
                  <a:lnTo>
                    <a:pt x="208" y="415"/>
                  </a:lnTo>
                  <a:lnTo>
                    <a:pt x="213" y="423"/>
                  </a:lnTo>
                  <a:lnTo>
                    <a:pt x="209" y="423"/>
                  </a:lnTo>
                  <a:lnTo>
                    <a:pt x="196" y="430"/>
                  </a:lnTo>
                  <a:lnTo>
                    <a:pt x="194" y="427"/>
                  </a:lnTo>
                  <a:lnTo>
                    <a:pt x="189" y="418"/>
                  </a:lnTo>
                  <a:lnTo>
                    <a:pt x="187" y="410"/>
                  </a:lnTo>
                  <a:lnTo>
                    <a:pt x="174" y="422"/>
                  </a:lnTo>
                  <a:lnTo>
                    <a:pt x="179" y="410"/>
                  </a:lnTo>
                  <a:lnTo>
                    <a:pt x="172" y="405"/>
                  </a:lnTo>
                  <a:lnTo>
                    <a:pt x="165" y="410"/>
                  </a:lnTo>
                  <a:lnTo>
                    <a:pt x="158" y="415"/>
                  </a:lnTo>
                  <a:lnTo>
                    <a:pt x="160" y="423"/>
                  </a:lnTo>
                  <a:lnTo>
                    <a:pt x="170" y="422"/>
                  </a:lnTo>
                  <a:lnTo>
                    <a:pt x="170" y="429"/>
                  </a:lnTo>
                  <a:lnTo>
                    <a:pt x="172" y="434"/>
                  </a:lnTo>
                  <a:lnTo>
                    <a:pt x="172" y="439"/>
                  </a:lnTo>
                  <a:lnTo>
                    <a:pt x="174" y="439"/>
                  </a:lnTo>
                  <a:lnTo>
                    <a:pt x="177" y="440"/>
                  </a:lnTo>
                  <a:lnTo>
                    <a:pt x="175" y="446"/>
                  </a:lnTo>
                  <a:lnTo>
                    <a:pt x="169" y="444"/>
                  </a:lnTo>
                  <a:lnTo>
                    <a:pt x="167" y="440"/>
                  </a:lnTo>
                  <a:lnTo>
                    <a:pt x="160" y="442"/>
                  </a:lnTo>
                  <a:lnTo>
                    <a:pt x="160" y="446"/>
                  </a:lnTo>
                  <a:lnTo>
                    <a:pt x="170" y="452"/>
                  </a:lnTo>
                  <a:lnTo>
                    <a:pt x="160" y="454"/>
                  </a:lnTo>
                  <a:lnTo>
                    <a:pt x="155" y="457"/>
                  </a:lnTo>
                  <a:lnTo>
                    <a:pt x="147" y="457"/>
                  </a:lnTo>
                  <a:lnTo>
                    <a:pt x="145" y="456"/>
                  </a:lnTo>
                  <a:lnTo>
                    <a:pt x="147" y="451"/>
                  </a:lnTo>
                  <a:lnTo>
                    <a:pt x="148" y="442"/>
                  </a:lnTo>
                  <a:lnTo>
                    <a:pt x="138" y="439"/>
                  </a:lnTo>
                  <a:lnTo>
                    <a:pt x="138" y="442"/>
                  </a:lnTo>
                  <a:lnTo>
                    <a:pt x="133" y="452"/>
                  </a:lnTo>
                  <a:lnTo>
                    <a:pt x="128" y="451"/>
                  </a:lnTo>
                  <a:lnTo>
                    <a:pt x="124" y="447"/>
                  </a:lnTo>
                  <a:lnTo>
                    <a:pt x="124" y="446"/>
                  </a:lnTo>
                  <a:lnTo>
                    <a:pt x="121" y="439"/>
                  </a:lnTo>
                  <a:lnTo>
                    <a:pt x="118" y="427"/>
                  </a:lnTo>
                  <a:lnTo>
                    <a:pt x="116" y="420"/>
                  </a:lnTo>
                  <a:lnTo>
                    <a:pt x="114" y="412"/>
                  </a:lnTo>
                  <a:lnTo>
                    <a:pt x="116" y="408"/>
                  </a:lnTo>
                  <a:lnTo>
                    <a:pt x="116" y="400"/>
                  </a:lnTo>
                  <a:lnTo>
                    <a:pt x="111" y="395"/>
                  </a:lnTo>
                  <a:lnTo>
                    <a:pt x="114" y="393"/>
                  </a:lnTo>
                  <a:lnTo>
                    <a:pt x="114" y="389"/>
                  </a:lnTo>
                  <a:lnTo>
                    <a:pt x="113" y="379"/>
                  </a:lnTo>
                  <a:lnTo>
                    <a:pt x="118" y="376"/>
                  </a:lnTo>
                  <a:lnTo>
                    <a:pt x="114" y="359"/>
                  </a:lnTo>
                  <a:lnTo>
                    <a:pt x="119" y="357"/>
                  </a:lnTo>
                  <a:lnTo>
                    <a:pt x="130" y="350"/>
                  </a:lnTo>
                  <a:lnTo>
                    <a:pt x="133" y="349"/>
                  </a:lnTo>
                  <a:lnTo>
                    <a:pt x="145" y="347"/>
                  </a:lnTo>
                  <a:lnTo>
                    <a:pt x="143" y="342"/>
                  </a:lnTo>
                  <a:lnTo>
                    <a:pt x="147" y="337"/>
                  </a:lnTo>
                  <a:lnTo>
                    <a:pt x="152" y="330"/>
                  </a:lnTo>
                  <a:lnTo>
                    <a:pt x="157" y="332"/>
                  </a:lnTo>
                  <a:lnTo>
                    <a:pt x="155" y="320"/>
                  </a:lnTo>
                  <a:lnTo>
                    <a:pt x="152" y="309"/>
                  </a:lnTo>
                  <a:lnTo>
                    <a:pt x="148" y="299"/>
                  </a:lnTo>
                  <a:lnTo>
                    <a:pt x="140" y="301"/>
                  </a:lnTo>
                  <a:lnTo>
                    <a:pt x="128" y="308"/>
                  </a:lnTo>
                  <a:lnTo>
                    <a:pt x="124" y="308"/>
                  </a:lnTo>
                  <a:lnTo>
                    <a:pt x="123" y="301"/>
                  </a:lnTo>
                  <a:lnTo>
                    <a:pt x="119" y="304"/>
                  </a:lnTo>
                  <a:lnTo>
                    <a:pt x="109" y="308"/>
                  </a:lnTo>
                  <a:lnTo>
                    <a:pt x="102" y="309"/>
                  </a:lnTo>
                  <a:lnTo>
                    <a:pt x="94" y="311"/>
                  </a:lnTo>
                  <a:lnTo>
                    <a:pt x="92" y="316"/>
                  </a:lnTo>
                  <a:lnTo>
                    <a:pt x="84" y="318"/>
                  </a:lnTo>
                  <a:lnTo>
                    <a:pt x="73" y="325"/>
                  </a:lnTo>
                  <a:lnTo>
                    <a:pt x="70" y="325"/>
                  </a:lnTo>
                  <a:lnTo>
                    <a:pt x="60" y="326"/>
                  </a:lnTo>
                  <a:lnTo>
                    <a:pt x="55" y="326"/>
                  </a:lnTo>
                  <a:lnTo>
                    <a:pt x="56" y="325"/>
                  </a:lnTo>
                  <a:lnTo>
                    <a:pt x="56" y="315"/>
                  </a:lnTo>
                  <a:lnTo>
                    <a:pt x="53" y="311"/>
                  </a:lnTo>
                  <a:lnTo>
                    <a:pt x="58" y="309"/>
                  </a:lnTo>
                  <a:lnTo>
                    <a:pt x="70" y="304"/>
                  </a:lnTo>
                  <a:lnTo>
                    <a:pt x="70" y="306"/>
                  </a:lnTo>
                  <a:lnTo>
                    <a:pt x="84" y="306"/>
                  </a:lnTo>
                  <a:lnTo>
                    <a:pt x="79" y="294"/>
                  </a:lnTo>
                  <a:lnTo>
                    <a:pt x="89" y="292"/>
                  </a:lnTo>
                  <a:lnTo>
                    <a:pt x="102" y="291"/>
                  </a:lnTo>
                  <a:lnTo>
                    <a:pt x="113" y="289"/>
                  </a:lnTo>
                  <a:lnTo>
                    <a:pt x="119" y="286"/>
                  </a:lnTo>
                  <a:lnTo>
                    <a:pt x="116" y="279"/>
                  </a:lnTo>
                  <a:lnTo>
                    <a:pt x="113" y="272"/>
                  </a:lnTo>
                  <a:lnTo>
                    <a:pt x="121" y="267"/>
                  </a:lnTo>
                  <a:lnTo>
                    <a:pt x="128" y="264"/>
                  </a:lnTo>
                  <a:lnTo>
                    <a:pt x="135" y="260"/>
                  </a:lnTo>
                  <a:lnTo>
                    <a:pt x="141" y="258"/>
                  </a:lnTo>
                  <a:lnTo>
                    <a:pt x="153" y="247"/>
                  </a:lnTo>
                  <a:lnTo>
                    <a:pt x="167" y="248"/>
                  </a:lnTo>
                  <a:lnTo>
                    <a:pt x="174" y="248"/>
                  </a:lnTo>
                  <a:lnTo>
                    <a:pt x="177" y="253"/>
                  </a:lnTo>
                  <a:lnTo>
                    <a:pt x="186" y="248"/>
                  </a:lnTo>
                  <a:lnTo>
                    <a:pt x="198" y="245"/>
                  </a:lnTo>
                  <a:lnTo>
                    <a:pt x="201" y="253"/>
                  </a:lnTo>
                  <a:lnTo>
                    <a:pt x="187" y="258"/>
                  </a:lnTo>
                  <a:lnTo>
                    <a:pt x="192" y="269"/>
                  </a:lnTo>
                  <a:lnTo>
                    <a:pt x="192" y="272"/>
                  </a:lnTo>
                  <a:lnTo>
                    <a:pt x="199" y="270"/>
                  </a:lnTo>
                  <a:lnTo>
                    <a:pt x="201" y="275"/>
                  </a:lnTo>
                  <a:lnTo>
                    <a:pt x="204" y="281"/>
                  </a:lnTo>
                  <a:lnTo>
                    <a:pt x="208" y="289"/>
                  </a:lnTo>
                  <a:lnTo>
                    <a:pt x="209" y="289"/>
                  </a:lnTo>
                  <a:lnTo>
                    <a:pt x="220" y="286"/>
                  </a:lnTo>
                  <a:lnTo>
                    <a:pt x="228" y="287"/>
                  </a:lnTo>
                  <a:lnTo>
                    <a:pt x="233" y="287"/>
                  </a:lnTo>
                  <a:lnTo>
                    <a:pt x="238" y="298"/>
                  </a:lnTo>
                  <a:lnTo>
                    <a:pt x="249" y="301"/>
                  </a:lnTo>
                  <a:lnTo>
                    <a:pt x="237" y="306"/>
                  </a:lnTo>
                  <a:lnTo>
                    <a:pt x="238" y="309"/>
                  </a:lnTo>
                  <a:lnTo>
                    <a:pt x="225" y="308"/>
                  </a:lnTo>
                  <a:lnTo>
                    <a:pt x="225" y="316"/>
                  </a:lnTo>
                  <a:lnTo>
                    <a:pt x="226" y="325"/>
                  </a:lnTo>
                  <a:lnTo>
                    <a:pt x="221" y="337"/>
                  </a:lnTo>
                  <a:lnTo>
                    <a:pt x="223" y="344"/>
                  </a:lnTo>
                  <a:lnTo>
                    <a:pt x="235" y="349"/>
                  </a:lnTo>
                  <a:lnTo>
                    <a:pt x="237" y="347"/>
                  </a:lnTo>
                  <a:lnTo>
                    <a:pt x="238" y="355"/>
                  </a:lnTo>
                  <a:lnTo>
                    <a:pt x="243" y="354"/>
                  </a:lnTo>
                  <a:lnTo>
                    <a:pt x="254" y="352"/>
                  </a:lnTo>
                  <a:lnTo>
                    <a:pt x="257" y="350"/>
                  </a:lnTo>
                  <a:lnTo>
                    <a:pt x="259" y="355"/>
                  </a:lnTo>
                  <a:lnTo>
                    <a:pt x="255" y="364"/>
                  </a:lnTo>
                  <a:lnTo>
                    <a:pt x="247" y="374"/>
                  </a:lnTo>
                  <a:lnTo>
                    <a:pt x="264" y="369"/>
                  </a:lnTo>
                  <a:lnTo>
                    <a:pt x="266" y="381"/>
                  </a:lnTo>
                  <a:lnTo>
                    <a:pt x="276" y="378"/>
                  </a:lnTo>
                  <a:lnTo>
                    <a:pt x="281" y="371"/>
                  </a:lnTo>
                  <a:lnTo>
                    <a:pt x="296" y="371"/>
                  </a:lnTo>
                  <a:lnTo>
                    <a:pt x="301" y="369"/>
                  </a:lnTo>
                  <a:lnTo>
                    <a:pt x="303" y="378"/>
                  </a:lnTo>
                  <a:lnTo>
                    <a:pt x="306" y="379"/>
                  </a:lnTo>
                  <a:lnTo>
                    <a:pt x="317" y="381"/>
                  </a:lnTo>
                  <a:lnTo>
                    <a:pt x="330" y="379"/>
                  </a:lnTo>
                  <a:lnTo>
                    <a:pt x="337" y="381"/>
                  </a:lnTo>
                  <a:lnTo>
                    <a:pt x="347" y="383"/>
                  </a:lnTo>
                  <a:lnTo>
                    <a:pt x="349" y="378"/>
                  </a:lnTo>
                  <a:lnTo>
                    <a:pt x="366" y="376"/>
                  </a:lnTo>
                  <a:lnTo>
                    <a:pt x="371" y="378"/>
                  </a:lnTo>
                  <a:lnTo>
                    <a:pt x="388" y="369"/>
                  </a:lnTo>
                  <a:lnTo>
                    <a:pt x="402" y="372"/>
                  </a:lnTo>
                  <a:lnTo>
                    <a:pt x="413" y="378"/>
                  </a:lnTo>
                  <a:lnTo>
                    <a:pt x="419" y="367"/>
                  </a:lnTo>
                  <a:lnTo>
                    <a:pt x="427" y="366"/>
                  </a:lnTo>
                  <a:lnTo>
                    <a:pt x="430" y="372"/>
                  </a:lnTo>
                  <a:lnTo>
                    <a:pt x="444" y="367"/>
                  </a:lnTo>
                  <a:lnTo>
                    <a:pt x="444" y="361"/>
                  </a:lnTo>
                  <a:lnTo>
                    <a:pt x="458" y="359"/>
                  </a:lnTo>
                  <a:lnTo>
                    <a:pt x="471" y="361"/>
                  </a:lnTo>
                  <a:lnTo>
                    <a:pt x="475" y="361"/>
                  </a:lnTo>
                  <a:lnTo>
                    <a:pt x="475" y="345"/>
                  </a:lnTo>
                  <a:lnTo>
                    <a:pt x="476" y="337"/>
                  </a:lnTo>
                  <a:lnTo>
                    <a:pt x="478" y="332"/>
                  </a:lnTo>
                  <a:lnTo>
                    <a:pt x="476" y="332"/>
                  </a:lnTo>
                  <a:lnTo>
                    <a:pt x="476" y="325"/>
                  </a:lnTo>
                  <a:lnTo>
                    <a:pt x="476" y="309"/>
                  </a:lnTo>
                  <a:lnTo>
                    <a:pt x="475" y="303"/>
                  </a:lnTo>
                  <a:lnTo>
                    <a:pt x="470" y="294"/>
                  </a:lnTo>
                  <a:lnTo>
                    <a:pt x="483" y="292"/>
                  </a:lnTo>
                  <a:lnTo>
                    <a:pt x="483" y="287"/>
                  </a:lnTo>
                  <a:lnTo>
                    <a:pt x="490" y="292"/>
                  </a:lnTo>
                  <a:lnTo>
                    <a:pt x="498" y="299"/>
                  </a:lnTo>
                  <a:lnTo>
                    <a:pt x="498" y="304"/>
                  </a:lnTo>
                  <a:lnTo>
                    <a:pt x="507" y="303"/>
                  </a:lnTo>
                  <a:lnTo>
                    <a:pt x="514" y="303"/>
                  </a:lnTo>
                  <a:lnTo>
                    <a:pt x="514" y="294"/>
                  </a:lnTo>
                  <a:lnTo>
                    <a:pt x="515" y="284"/>
                  </a:lnTo>
                  <a:lnTo>
                    <a:pt x="515" y="279"/>
                  </a:lnTo>
                  <a:lnTo>
                    <a:pt x="517" y="277"/>
                  </a:lnTo>
                  <a:lnTo>
                    <a:pt x="527" y="281"/>
                  </a:lnTo>
                  <a:lnTo>
                    <a:pt x="524" y="270"/>
                  </a:lnTo>
                  <a:lnTo>
                    <a:pt x="524" y="267"/>
                  </a:lnTo>
                  <a:lnTo>
                    <a:pt x="522" y="267"/>
                  </a:lnTo>
                  <a:lnTo>
                    <a:pt x="522" y="262"/>
                  </a:lnTo>
                  <a:lnTo>
                    <a:pt x="522" y="257"/>
                  </a:lnTo>
                  <a:lnTo>
                    <a:pt x="524" y="250"/>
                  </a:lnTo>
                  <a:lnTo>
                    <a:pt x="527" y="238"/>
                  </a:lnTo>
                  <a:lnTo>
                    <a:pt x="527" y="236"/>
                  </a:lnTo>
                  <a:lnTo>
                    <a:pt x="527" y="231"/>
                  </a:lnTo>
                  <a:lnTo>
                    <a:pt x="529" y="233"/>
                  </a:lnTo>
                  <a:lnTo>
                    <a:pt x="543" y="233"/>
                  </a:lnTo>
                  <a:lnTo>
                    <a:pt x="551" y="235"/>
                  </a:lnTo>
                  <a:lnTo>
                    <a:pt x="555" y="235"/>
                  </a:lnTo>
                  <a:lnTo>
                    <a:pt x="558" y="240"/>
                  </a:lnTo>
                  <a:lnTo>
                    <a:pt x="560" y="236"/>
                  </a:lnTo>
                  <a:lnTo>
                    <a:pt x="570" y="240"/>
                  </a:lnTo>
                  <a:lnTo>
                    <a:pt x="570" y="230"/>
                  </a:lnTo>
                  <a:lnTo>
                    <a:pt x="582" y="236"/>
                  </a:lnTo>
                  <a:lnTo>
                    <a:pt x="580" y="230"/>
                  </a:lnTo>
                  <a:lnTo>
                    <a:pt x="589" y="231"/>
                  </a:lnTo>
                  <a:lnTo>
                    <a:pt x="592" y="235"/>
                  </a:lnTo>
                  <a:lnTo>
                    <a:pt x="594" y="240"/>
                  </a:lnTo>
                  <a:lnTo>
                    <a:pt x="595" y="247"/>
                  </a:lnTo>
                  <a:lnTo>
                    <a:pt x="604" y="255"/>
                  </a:lnTo>
                  <a:lnTo>
                    <a:pt x="604" y="257"/>
                  </a:lnTo>
                  <a:lnTo>
                    <a:pt x="606" y="258"/>
                  </a:lnTo>
                  <a:lnTo>
                    <a:pt x="607" y="248"/>
                  </a:lnTo>
                  <a:lnTo>
                    <a:pt x="619" y="245"/>
                  </a:lnTo>
                  <a:lnTo>
                    <a:pt x="624" y="243"/>
                  </a:lnTo>
                  <a:lnTo>
                    <a:pt x="629" y="248"/>
                  </a:lnTo>
                  <a:lnTo>
                    <a:pt x="629" y="240"/>
                  </a:lnTo>
                  <a:lnTo>
                    <a:pt x="636" y="236"/>
                  </a:lnTo>
                  <a:lnTo>
                    <a:pt x="640" y="230"/>
                  </a:lnTo>
                  <a:lnTo>
                    <a:pt x="643" y="231"/>
                  </a:lnTo>
                  <a:lnTo>
                    <a:pt x="650" y="221"/>
                  </a:lnTo>
                  <a:lnTo>
                    <a:pt x="651" y="211"/>
                  </a:lnTo>
                  <a:lnTo>
                    <a:pt x="645" y="206"/>
                  </a:lnTo>
                  <a:lnTo>
                    <a:pt x="645" y="199"/>
                  </a:lnTo>
                  <a:lnTo>
                    <a:pt x="657" y="201"/>
                  </a:lnTo>
                  <a:lnTo>
                    <a:pt x="658" y="199"/>
                  </a:lnTo>
                  <a:lnTo>
                    <a:pt x="667" y="192"/>
                  </a:lnTo>
                  <a:lnTo>
                    <a:pt x="665" y="182"/>
                  </a:lnTo>
                  <a:lnTo>
                    <a:pt x="658" y="172"/>
                  </a:lnTo>
                  <a:lnTo>
                    <a:pt x="657" y="170"/>
                  </a:lnTo>
                  <a:lnTo>
                    <a:pt x="663" y="160"/>
                  </a:lnTo>
                  <a:lnTo>
                    <a:pt x="670" y="167"/>
                  </a:lnTo>
                  <a:lnTo>
                    <a:pt x="672" y="156"/>
                  </a:lnTo>
                  <a:lnTo>
                    <a:pt x="672" y="150"/>
                  </a:lnTo>
                  <a:lnTo>
                    <a:pt x="672" y="138"/>
                  </a:lnTo>
                  <a:lnTo>
                    <a:pt x="680" y="127"/>
                  </a:lnTo>
                  <a:lnTo>
                    <a:pt x="687" y="134"/>
                  </a:lnTo>
                  <a:lnTo>
                    <a:pt x="691" y="138"/>
                  </a:lnTo>
                  <a:lnTo>
                    <a:pt x="697" y="141"/>
                  </a:lnTo>
                  <a:lnTo>
                    <a:pt x="709" y="148"/>
                  </a:lnTo>
                  <a:lnTo>
                    <a:pt x="718" y="144"/>
                  </a:lnTo>
                  <a:lnTo>
                    <a:pt x="730" y="143"/>
                  </a:lnTo>
                  <a:lnTo>
                    <a:pt x="731" y="160"/>
                  </a:lnTo>
                  <a:lnTo>
                    <a:pt x="743" y="158"/>
                  </a:lnTo>
                  <a:lnTo>
                    <a:pt x="748" y="156"/>
                  </a:lnTo>
                  <a:lnTo>
                    <a:pt x="755" y="156"/>
                  </a:lnTo>
                  <a:lnTo>
                    <a:pt x="764" y="155"/>
                  </a:lnTo>
                  <a:lnTo>
                    <a:pt x="770" y="155"/>
                  </a:lnTo>
                  <a:lnTo>
                    <a:pt x="781" y="155"/>
                  </a:lnTo>
                  <a:lnTo>
                    <a:pt x="789" y="153"/>
                  </a:lnTo>
                  <a:lnTo>
                    <a:pt x="801" y="153"/>
                  </a:lnTo>
                  <a:lnTo>
                    <a:pt x="808" y="138"/>
                  </a:lnTo>
                  <a:lnTo>
                    <a:pt x="799" y="124"/>
                  </a:lnTo>
                  <a:lnTo>
                    <a:pt x="796" y="117"/>
                  </a:lnTo>
                  <a:lnTo>
                    <a:pt x="784" y="121"/>
                  </a:lnTo>
                  <a:lnTo>
                    <a:pt x="786" y="110"/>
                  </a:lnTo>
                  <a:lnTo>
                    <a:pt x="786" y="107"/>
                  </a:lnTo>
                  <a:lnTo>
                    <a:pt x="786" y="104"/>
                  </a:lnTo>
                  <a:lnTo>
                    <a:pt x="806" y="102"/>
                  </a:lnTo>
                  <a:lnTo>
                    <a:pt x="803" y="97"/>
                  </a:lnTo>
                  <a:lnTo>
                    <a:pt x="798" y="88"/>
                  </a:lnTo>
                  <a:lnTo>
                    <a:pt x="796" y="85"/>
                  </a:lnTo>
                  <a:lnTo>
                    <a:pt x="787" y="88"/>
                  </a:lnTo>
                  <a:lnTo>
                    <a:pt x="784" y="88"/>
                  </a:lnTo>
                  <a:lnTo>
                    <a:pt x="781" y="90"/>
                  </a:lnTo>
                  <a:lnTo>
                    <a:pt x="770" y="90"/>
                  </a:lnTo>
                  <a:lnTo>
                    <a:pt x="759" y="90"/>
                  </a:lnTo>
                  <a:lnTo>
                    <a:pt x="759" y="87"/>
                  </a:lnTo>
                  <a:lnTo>
                    <a:pt x="760" y="76"/>
                  </a:lnTo>
                  <a:lnTo>
                    <a:pt x="759" y="66"/>
                  </a:lnTo>
                  <a:lnTo>
                    <a:pt x="759" y="54"/>
                  </a:lnTo>
                  <a:lnTo>
                    <a:pt x="767" y="49"/>
                  </a:lnTo>
                  <a:lnTo>
                    <a:pt x="774" y="42"/>
                  </a:lnTo>
                  <a:lnTo>
                    <a:pt x="770" y="36"/>
                  </a:lnTo>
                  <a:lnTo>
                    <a:pt x="776" y="36"/>
                  </a:lnTo>
                  <a:lnTo>
                    <a:pt x="777" y="29"/>
                  </a:lnTo>
                  <a:lnTo>
                    <a:pt x="769" y="29"/>
                  </a:lnTo>
                  <a:lnTo>
                    <a:pt x="764" y="29"/>
                  </a:lnTo>
                  <a:lnTo>
                    <a:pt x="765" y="25"/>
                  </a:lnTo>
                  <a:lnTo>
                    <a:pt x="772" y="24"/>
                  </a:lnTo>
                  <a:lnTo>
                    <a:pt x="786" y="22"/>
                  </a:lnTo>
                  <a:lnTo>
                    <a:pt x="791" y="20"/>
                  </a:lnTo>
                  <a:lnTo>
                    <a:pt x="793" y="13"/>
                  </a:lnTo>
                  <a:lnTo>
                    <a:pt x="798" y="12"/>
                  </a:lnTo>
                  <a:lnTo>
                    <a:pt x="804" y="17"/>
                  </a:lnTo>
                  <a:lnTo>
                    <a:pt x="808" y="20"/>
                  </a:lnTo>
                  <a:lnTo>
                    <a:pt x="811" y="24"/>
                  </a:lnTo>
                  <a:lnTo>
                    <a:pt x="813" y="31"/>
                  </a:lnTo>
                  <a:lnTo>
                    <a:pt x="823" y="24"/>
                  </a:lnTo>
                  <a:lnTo>
                    <a:pt x="830" y="25"/>
                  </a:lnTo>
                  <a:lnTo>
                    <a:pt x="840" y="24"/>
                  </a:lnTo>
                  <a:lnTo>
                    <a:pt x="845" y="19"/>
                  </a:lnTo>
                  <a:lnTo>
                    <a:pt x="850" y="22"/>
                  </a:lnTo>
                  <a:lnTo>
                    <a:pt x="859" y="19"/>
                  </a:lnTo>
                  <a:lnTo>
                    <a:pt x="864" y="10"/>
                  </a:lnTo>
                  <a:lnTo>
                    <a:pt x="867" y="12"/>
                  </a:lnTo>
                  <a:lnTo>
                    <a:pt x="879" y="15"/>
                  </a:lnTo>
                  <a:lnTo>
                    <a:pt x="884" y="19"/>
                  </a:lnTo>
                  <a:lnTo>
                    <a:pt x="894" y="13"/>
                  </a:lnTo>
                  <a:lnTo>
                    <a:pt x="903" y="19"/>
                  </a:lnTo>
                  <a:lnTo>
                    <a:pt x="910" y="10"/>
                  </a:lnTo>
                  <a:lnTo>
                    <a:pt x="920" y="8"/>
                  </a:lnTo>
                  <a:lnTo>
                    <a:pt x="922" y="10"/>
                  </a:lnTo>
                  <a:lnTo>
                    <a:pt x="923" y="19"/>
                  </a:lnTo>
                  <a:lnTo>
                    <a:pt x="930" y="20"/>
                  </a:lnTo>
                  <a:lnTo>
                    <a:pt x="939" y="17"/>
                  </a:lnTo>
                  <a:lnTo>
                    <a:pt x="939" y="7"/>
                  </a:lnTo>
                  <a:lnTo>
                    <a:pt x="949" y="0"/>
                  </a:lnTo>
                  <a:lnTo>
                    <a:pt x="959" y="3"/>
                  </a:lnTo>
                  <a:lnTo>
                    <a:pt x="962" y="0"/>
                  </a:lnTo>
                  <a:lnTo>
                    <a:pt x="969" y="0"/>
                  </a:lnTo>
                  <a:lnTo>
                    <a:pt x="978"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4" name="Freeform 13">
              <a:extLst>
                <a:ext uri="{FF2B5EF4-FFF2-40B4-BE49-F238E27FC236}">
                  <a16:creationId xmlns:a16="http://schemas.microsoft.com/office/drawing/2014/main" id="{176214BB-E64D-48BD-9190-68A9219491CA}"/>
                </a:ext>
              </a:extLst>
            </p:cNvPr>
            <p:cNvSpPr>
              <a:spLocks/>
            </p:cNvSpPr>
            <p:nvPr/>
          </p:nvSpPr>
          <p:spPr bwMode="gray">
            <a:xfrm>
              <a:off x="6802438" y="1876425"/>
              <a:ext cx="817562" cy="766763"/>
            </a:xfrm>
            <a:custGeom>
              <a:avLst/>
              <a:gdLst>
                <a:gd name="T0" fmla="*/ 265 w 515"/>
                <a:gd name="T1" fmla="*/ 475 h 483"/>
                <a:gd name="T2" fmla="*/ 248 w 515"/>
                <a:gd name="T3" fmla="*/ 466 h 483"/>
                <a:gd name="T4" fmla="*/ 219 w 515"/>
                <a:gd name="T5" fmla="*/ 443 h 483"/>
                <a:gd name="T6" fmla="*/ 190 w 515"/>
                <a:gd name="T7" fmla="*/ 427 h 483"/>
                <a:gd name="T8" fmla="*/ 151 w 515"/>
                <a:gd name="T9" fmla="*/ 448 h 483"/>
                <a:gd name="T10" fmla="*/ 110 w 515"/>
                <a:gd name="T11" fmla="*/ 434 h 483"/>
                <a:gd name="T12" fmla="*/ 107 w 515"/>
                <a:gd name="T13" fmla="*/ 410 h 483"/>
                <a:gd name="T14" fmla="*/ 68 w 515"/>
                <a:gd name="T15" fmla="*/ 410 h 483"/>
                <a:gd name="T16" fmla="*/ 35 w 515"/>
                <a:gd name="T17" fmla="*/ 403 h 483"/>
                <a:gd name="T18" fmla="*/ 6 w 515"/>
                <a:gd name="T19" fmla="*/ 390 h 483"/>
                <a:gd name="T20" fmla="*/ 18 w 515"/>
                <a:gd name="T21" fmla="*/ 359 h 483"/>
                <a:gd name="T22" fmla="*/ 20 w 515"/>
                <a:gd name="T23" fmla="*/ 329 h 483"/>
                <a:gd name="T24" fmla="*/ 45 w 515"/>
                <a:gd name="T25" fmla="*/ 305 h 483"/>
                <a:gd name="T26" fmla="*/ 57 w 515"/>
                <a:gd name="T27" fmla="*/ 269 h 483"/>
                <a:gd name="T28" fmla="*/ 83 w 515"/>
                <a:gd name="T29" fmla="*/ 233 h 483"/>
                <a:gd name="T30" fmla="*/ 85 w 515"/>
                <a:gd name="T31" fmla="*/ 203 h 483"/>
                <a:gd name="T32" fmla="*/ 115 w 515"/>
                <a:gd name="T33" fmla="*/ 194 h 483"/>
                <a:gd name="T34" fmla="*/ 147 w 515"/>
                <a:gd name="T35" fmla="*/ 203 h 483"/>
                <a:gd name="T36" fmla="*/ 187 w 515"/>
                <a:gd name="T37" fmla="*/ 196 h 483"/>
                <a:gd name="T38" fmla="*/ 210 w 515"/>
                <a:gd name="T39" fmla="*/ 194 h 483"/>
                <a:gd name="T40" fmla="*/ 217 w 515"/>
                <a:gd name="T41" fmla="*/ 164 h 483"/>
                <a:gd name="T42" fmla="*/ 221 w 515"/>
                <a:gd name="T43" fmla="*/ 131 h 483"/>
                <a:gd name="T44" fmla="*/ 241 w 515"/>
                <a:gd name="T45" fmla="*/ 121 h 483"/>
                <a:gd name="T46" fmla="*/ 231 w 515"/>
                <a:gd name="T47" fmla="*/ 89 h 483"/>
                <a:gd name="T48" fmla="*/ 232 w 515"/>
                <a:gd name="T49" fmla="*/ 70 h 483"/>
                <a:gd name="T50" fmla="*/ 263 w 515"/>
                <a:gd name="T51" fmla="*/ 72 h 483"/>
                <a:gd name="T52" fmla="*/ 304 w 515"/>
                <a:gd name="T53" fmla="*/ 63 h 483"/>
                <a:gd name="T54" fmla="*/ 329 w 515"/>
                <a:gd name="T55" fmla="*/ 56 h 483"/>
                <a:gd name="T56" fmla="*/ 379 w 515"/>
                <a:gd name="T57" fmla="*/ 38 h 483"/>
                <a:gd name="T58" fmla="*/ 408 w 515"/>
                <a:gd name="T59" fmla="*/ 29 h 483"/>
                <a:gd name="T60" fmla="*/ 418 w 515"/>
                <a:gd name="T61" fmla="*/ 2 h 483"/>
                <a:gd name="T62" fmla="*/ 425 w 515"/>
                <a:gd name="T63" fmla="*/ 38 h 483"/>
                <a:gd name="T64" fmla="*/ 392 w 515"/>
                <a:gd name="T65" fmla="*/ 60 h 483"/>
                <a:gd name="T66" fmla="*/ 394 w 515"/>
                <a:gd name="T67" fmla="*/ 101 h 483"/>
                <a:gd name="T68" fmla="*/ 402 w 515"/>
                <a:gd name="T69" fmla="*/ 147 h 483"/>
                <a:gd name="T70" fmla="*/ 426 w 515"/>
                <a:gd name="T71" fmla="*/ 143 h 483"/>
                <a:gd name="T72" fmla="*/ 448 w 515"/>
                <a:gd name="T73" fmla="*/ 153 h 483"/>
                <a:gd name="T74" fmla="*/ 455 w 515"/>
                <a:gd name="T75" fmla="*/ 141 h 483"/>
                <a:gd name="T76" fmla="*/ 438 w 515"/>
                <a:gd name="T77" fmla="*/ 124 h 483"/>
                <a:gd name="T78" fmla="*/ 465 w 515"/>
                <a:gd name="T79" fmla="*/ 111 h 483"/>
                <a:gd name="T80" fmla="*/ 486 w 515"/>
                <a:gd name="T81" fmla="*/ 116 h 483"/>
                <a:gd name="T82" fmla="*/ 515 w 515"/>
                <a:gd name="T83" fmla="*/ 114 h 483"/>
                <a:gd name="T84" fmla="*/ 504 w 515"/>
                <a:gd name="T85" fmla="*/ 136 h 483"/>
                <a:gd name="T86" fmla="*/ 482 w 515"/>
                <a:gd name="T87" fmla="*/ 169 h 483"/>
                <a:gd name="T88" fmla="*/ 469 w 515"/>
                <a:gd name="T89" fmla="*/ 208 h 483"/>
                <a:gd name="T90" fmla="*/ 453 w 515"/>
                <a:gd name="T91" fmla="*/ 230 h 483"/>
                <a:gd name="T92" fmla="*/ 425 w 515"/>
                <a:gd name="T93" fmla="*/ 242 h 483"/>
                <a:gd name="T94" fmla="*/ 389 w 515"/>
                <a:gd name="T95" fmla="*/ 230 h 483"/>
                <a:gd name="T96" fmla="*/ 355 w 515"/>
                <a:gd name="T97" fmla="*/ 254 h 483"/>
                <a:gd name="T98" fmla="*/ 362 w 515"/>
                <a:gd name="T99" fmla="*/ 288 h 483"/>
                <a:gd name="T100" fmla="*/ 396 w 515"/>
                <a:gd name="T101" fmla="*/ 320 h 483"/>
                <a:gd name="T102" fmla="*/ 440 w 515"/>
                <a:gd name="T103" fmla="*/ 329 h 483"/>
                <a:gd name="T104" fmla="*/ 419 w 515"/>
                <a:gd name="T105" fmla="*/ 363 h 483"/>
                <a:gd name="T106" fmla="*/ 372 w 515"/>
                <a:gd name="T107" fmla="*/ 381 h 483"/>
                <a:gd name="T108" fmla="*/ 355 w 515"/>
                <a:gd name="T109" fmla="*/ 388 h 483"/>
                <a:gd name="T110" fmla="*/ 346 w 515"/>
                <a:gd name="T111" fmla="*/ 407 h 483"/>
                <a:gd name="T112" fmla="*/ 319 w 515"/>
                <a:gd name="T113" fmla="*/ 429 h 483"/>
                <a:gd name="T114" fmla="*/ 297 w 515"/>
                <a:gd name="T115" fmla="*/ 471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483">
                  <a:moveTo>
                    <a:pt x="280" y="473"/>
                  </a:moveTo>
                  <a:lnTo>
                    <a:pt x="275" y="475"/>
                  </a:lnTo>
                  <a:lnTo>
                    <a:pt x="278" y="482"/>
                  </a:lnTo>
                  <a:lnTo>
                    <a:pt x="275" y="483"/>
                  </a:lnTo>
                  <a:lnTo>
                    <a:pt x="268" y="480"/>
                  </a:lnTo>
                  <a:lnTo>
                    <a:pt x="265" y="475"/>
                  </a:lnTo>
                  <a:lnTo>
                    <a:pt x="263" y="465"/>
                  </a:lnTo>
                  <a:lnTo>
                    <a:pt x="258" y="463"/>
                  </a:lnTo>
                  <a:lnTo>
                    <a:pt x="260" y="475"/>
                  </a:lnTo>
                  <a:lnTo>
                    <a:pt x="256" y="473"/>
                  </a:lnTo>
                  <a:lnTo>
                    <a:pt x="246" y="475"/>
                  </a:lnTo>
                  <a:lnTo>
                    <a:pt x="248" y="466"/>
                  </a:lnTo>
                  <a:lnTo>
                    <a:pt x="246" y="463"/>
                  </a:lnTo>
                  <a:lnTo>
                    <a:pt x="236" y="460"/>
                  </a:lnTo>
                  <a:lnTo>
                    <a:pt x="229" y="451"/>
                  </a:lnTo>
                  <a:lnTo>
                    <a:pt x="221" y="449"/>
                  </a:lnTo>
                  <a:lnTo>
                    <a:pt x="224" y="446"/>
                  </a:lnTo>
                  <a:lnTo>
                    <a:pt x="219" y="443"/>
                  </a:lnTo>
                  <a:lnTo>
                    <a:pt x="215" y="431"/>
                  </a:lnTo>
                  <a:lnTo>
                    <a:pt x="217" y="422"/>
                  </a:lnTo>
                  <a:lnTo>
                    <a:pt x="210" y="415"/>
                  </a:lnTo>
                  <a:lnTo>
                    <a:pt x="204" y="417"/>
                  </a:lnTo>
                  <a:lnTo>
                    <a:pt x="198" y="426"/>
                  </a:lnTo>
                  <a:lnTo>
                    <a:pt x="190" y="427"/>
                  </a:lnTo>
                  <a:lnTo>
                    <a:pt x="187" y="436"/>
                  </a:lnTo>
                  <a:lnTo>
                    <a:pt x="173" y="437"/>
                  </a:lnTo>
                  <a:lnTo>
                    <a:pt x="161" y="437"/>
                  </a:lnTo>
                  <a:lnTo>
                    <a:pt x="156" y="441"/>
                  </a:lnTo>
                  <a:lnTo>
                    <a:pt x="156" y="451"/>
                  </a:lnTo>
                  <a:lnTo>
                    <a:pt x="151" y="448"/>
                  </a:lnTo>
                  <a:lnTo>
                    <a:pt x="146" y="441"/>
                  </a:lnTo>
                  <a:lnTo>
                    <a:pt x="136" y="441"/>
                  </a:lnTo>
                  <a:lnTo>
                    <a:pt x="130" y="444"/>
                  </a:lnTo>
                  <a:lnTo>
                    <a:pt x="122" y="443"/>
                  </a:lnTo>
                  <a:lnTo>
                    <a:pt x="122" y="432"/>
                  </a:lnTo>
                  <a:lnTo>
                    <a:pt x="110" y="434"/>
                  </a:lnTo>
                  <a:lnTo>
                    <a:pt x="108" y="432"/>
                  </a:lnTo>
                  <a:lnTo>
                    <a:pt x="113" y="431"/>
                  </a:lnTo>
                  <a:lnTo>
                    <a:pt x="115" y="422"/>
                  </a:lnTo>
                  <a:lnTo>
                    <a:pt x="107" y="429"/>
                  </a:lnTo>
                  <a:lnTo>
                    <a:pt x="107" y="420"/>
                  </a:lnTo>
                  <a:lnTo>
                    <a:pt x="107" y="410"/>
                  </a:lnTo>
                  <a:lnTo>
                    <a:pt x="90" y="410"/>
                  </a:lnTo>
                  <a:lnTo>
                    <a:pt x="78" y="405"/>
                  </a:lnTo>
                  <a:lnTo>
                    <a:pt x="76" y="405"/>
                  </a:lnTo>
                  <a:lnTo>
                    <a:pt x="71" y="405"/>
                  </a:lnTo>
                  <a:lnTo>
                    <a:pt x="69" y="410"/>
                  </a:lnTo>
                  <a:lnTo>
                    <a:pt x="68" y="410"/>
                  </a:lnTo>
                  <a:lnTo>
                    <a:pt x="61" y="403"/>
                  </a:lnTo>
                  <a:lnTo>
                    <a:pt x="57" y="400"/>
                  </a:lnTo>
                  <a:lnTo>
                    <a:pt x="54" y="390"/>
                  </a:lnTo>
                  <a:lnTo>
                    <a:pt x="47" y="390"/>
                  </a:lnTo>
                  <a:lnTo>
                    <a:pt x="47" y="400"/>
                  </a:lnTo>
                  <a:lnTo>
                    <a:pt x="35" y="403"/>
                  </a:lnTo>
                  <a:lnTo>
                    <a:pt x="32" y="403"/>
                  </a:lnTo>
                  <a:lnTo>
                    <a:pt x="22" y="407"/>
                  </a:lnTo>
                  <a:lnTo>
                    <a:pt x="20" y="402"/>
                  </a:lnTo>
                  <a:lnTo>
                    <a:pt x="20" y="397"/>
                  </a:lnTo>
                  <a:lnTo>
                    <a:pt x="18" y="390"/>
                  </a:lnTo>
                  <a:lnTo>
                    <a:pt x="6" y="390"/>
                  </a:lnTo>
                  <a:lnTo>
                    <a:pt x="3" y="385"/>
                  </a:lnTo>
                  <a:lnTo>
                    <a:pt x="0" y="378"/>
                  </a:lnTo>
                  <a:lnTo>
                    <a:pt x="8" y="378"/>
                  </a:lnTo>
                  <a:lnTo>
                    <a:pt x="20" y="373"/>
                  </a:lnTo>
                  <a:lnTo>
                    <a:pt x="18" y="368"/>
                  </a:lnTo>
                  <a:lnTo>
                    <a:pt x="18" y="359"/>
                  </a:lnTo>
                  <a:lnTo>
                    <a:pt x="18" y="358"/>
                  </a:lnTo>
                  <a:lnTo>
                    <a:pt x="18" y="356"/>
                  </a:lnTo>
                  <a:lnTo>
                    <a:pt x="17" y="351"/>
                  </a:lnTo>
                  <a:lnTo>
                    <a:pt x="10" y="339"/>
                  </a:lnTo>
                  <a:lnTo>
                    <a:pt x="13" y="334"/>
                  </a:lnTo>
                  <a:lnTo>
                    <a:pt x="20" y="329"/>
                  </a:lnTo>
                  <a:lnTo>
                    <a:pt x="22" y="327"/>
                  </a:lnTo>
                  <a:lnTo>
                    <a:pt x="32" y="322"/>
                  </a:lnTo>
                  <a:lnTo>
                    <a:pt x="39" y="318"/>
                  </a:lnTo>
                  <a:lnTo>
                    <a:pt x="47" y="313"/>
                  </a:lnTo>
                  <a:lnTo>
                    <a:pt x="47" y="312"/>
                  </a:lnTo>
                  <a:lnTo>
                    <a:pt x="45" y="305"/>
                  </a:lnTo>
                  <a:lnTo>
                    <a:pt x="42" y="298"/>
                  </a:lnTo>
                  <a:lnTo>
                    <a:pt x="40" y="291"/>
                  </a:lnTo>
                  <a:lnTo>
                    <a:pt x="39" y="276"/>
                  </a:lnTo>
                  <a:lnTo>
                    <a:pt x="44" y="278"/>
                  </a:lnTo>
                  <a:lnTo>
                    <a:pt x="56" y="279"/>
                  </a:lnTo>
                  <a:lnTo>
                    <a:pt x="57" y="269"/>
                  </a:lnTo>
                  <a:lnTo>
                    <a:pt x="73" y="269"/>
                  </a:lnTo>
                  <a:lnTo>
                    <a:pt x="73" y="261"/>
                  </a:lnTo>
                  <a:lnTo>
                    <a:pt x="76" y="252"/>
                  </a:lnTo>
                  <a:lnTo>
                    <a:pt x="76" y="244"/>
                  </a:lnTo>
                  <a:lnTo>
                    <a:pt x="81" y="242"/>
                  </a:lnTo>
                  <a:lnTo>
                    <a:pt x="83" y="233"/>
                  </a:lnTo>
                  <a:lnTo>
                    <a:pt x="83" y="230"/>
                  </a:lnTo>
                  <a:lnTo>
                    <a:pt x="83" y="216"/>
                  </a:lnTo>
                  <a:lnTo>
                    <a:pt x="85" y="216"/>
                  </a:lnTo>
                  <a:lnTo>
                    <a:pt x="83" y="208"/>
                  </a:lnTo>
                  <a:lnTo>
                    <a:pt x="86" y="208"/>
                  </a:lnTo>
                  <a:lnTo>
                    <a:pt x="85" y="203"/>
                  </a:lnTo>
                  <a:lnTo>
                    <a:pt x="95" y="201"/>
                  </a:lnTo>
                  <a:lnTo>
                    <a:pt x="98" y="201"/>
                  </a:lnTo>
                  <a:lnTo>
                    <a:pt x="103" y="198"/>
                  </a:lnTo>
                  <a:lnTo>
                    <a:pt x="108" y="198"/>
                  </a:lnTo>
                  <a:lnTo>
                    <a:pt x="107" y="196"/>
                  </a:lnTo>
                  <a:lnTo>
                    <a:pt x="115" y="194"/>
                  </a:lnTo>
                  <a:lnTo>
                    <a:pt x="124" y="186"/>
                  </a:lnTo>
                  <a:lnTo>
                    <a:pt x="134" y="184"/>
                  </a:lnTo>
                  <a:lnTo>
                    <a:pt x="134" y="196"/>
                  </a:lnTo>
                  <a:lnTo>
                    <a:pt x="137" y="194"/>
                  </a:lnTo>
                  <a:lnTo>
                    <a:pt x="142" y="204"/>
                  </a:lnTo>
                  <a:lnTo>
                    <a:pt x="147" y="203"/>
                  </a:lnTo>
                  <a:lnTo>
                    <a:pt x="156" y="199"/>
                  </a:lnTo>
                  <a:lnTo>
                    <a:pt x="158" y="198"/>
                  </a:lnTo>
                  <a:lnTo>
                    <a:pt x="158" y="210"/>
                  </a:lnTo>
                  <a:lnTo>
                    <a:pt x="171" y="204"/>
                  </a:lnTo>
                  <a:lnTo>
                    <a:pt x="181" y="201"/>
                  </a:lnTo>
                  <a:lnTo>
                    <a:pt x="187" y="196"/>
                  </a:lnTo>
                  <a:lnTo>
                    <a:pt x="188" y="189"/>
                  </a:lnTo>
                  <a:lnTo>
                    <a:pt x="197" y="191"/>
                  </a:lnTo>
                  <a:lnTo>
                    <a:pt x="195" y="201"/>
                  </a:lnTo>
                  <a:lnTo>
                    <a:pt x="198" y="201"/>
                  </a:lnTo>
                  <a:lnTo>
                    <a:pt x="200" y="196"/>
                  </a:lnTo>
                  <a:lnTo>
                    <a:pt x="210" y="194"/>
                  </a:lnTo>
                  <a:lnTo>
                    <a:pt x="207" y="191"/>
                  </a:lnTo>
                  <a:lnTo>
                    <a:pt x="215" y="189"/>
                  </a:lnTo>
                  <a:lnTo>
                    <a:pt x="217" y="184"/>
                  </a:lnTo>
                  <a:lnTo>
                    <a:pt x="214" y="174"/>
                  </a:lnTo>
                  <a:lnTo>
                    <a:pt x="221" y="172"/>
                  </a:lnTo>
                  <a:lnTo>
                    <a:pt x="217" y="164"/>
                  </a:lnTo>
                  <a:lnTo>
                    <a:pt x="214" y="157"/>
                  </a:lnTo>
                  <a:lnTo>
                    <a:pt x="215" y="157"/>
                  </a:lnTo>
                  <a:lnTo>
                    <a:pt x="214" y="150"/>
                  </a:lnTo>
                  <a:lnTo>
                    <a:pt x="215" y="143"/>
                  </a:lnTo>
                  <a:lnTo>
                    <a:pt x="222" y="140"/>
                  </a:lnTo>
                  <a:lnTo>
                    <a:pt x="221" y="131"/>
                  </a:lnTo>
                  <a:lnTo>
                    <a:pt x="217" y="130"/>
                  </a:lnTo>
                  <a:lnTo>
                    <a:pt x="219" y="126"/>
                  </a:lnTo>
                  <a:lnTo>
                    <a:pt x="224" y="116"/>
                  </a:lnTo>
                  <a:lnTo>
                    <a:pt x="231" y="118"/>
                  </a:lnTo>
                  <a:lnTo>
                    <a:pt x="236" y="119"/>
                  </a:lnTo>
                  <a:lnTo>
                    <a:pt x="241" y="121"/>
                  </a:lnTo>
                  <a:lnTo>
                    <a:pt x="243" y="114"/>
                  </a:lnTo>
                  <a:lnTo>
                    <a:pt x="234" y="113"/>
                  </a:lnTo>
                  <a:lnTo>
                    <a:pt x="226" y="109"/>
                  </a:lnTo>
                  <a:lnTo>
                    <a:pt x="231" y="101"/>
                  </a:lnTo>
                  <a:lnTo>
                    <a:pt x="238" y="97"/>
                  </a:lnTo>
                  <a:lnTo>
                    <a:pt x="231" y="89"/>
                  </a:lnTo>
                  <a:lnTo>
                    <a:pt x="227" y="84"/>
                  </a:lnTo>
                  <a:lnTo>
                    <a:pt x="221" y="89"/>
                  </a:lnTo>
                  <a:lnTo>
                    <a:pt x="215" y="80"/>
                  </a:lnTo>
                  <a:lnTo>
                    <a:pt x="222" y="68"/>
                  </a:lnTo>
                  <a:lnTo>
                    <a:pt x="231" y="67"/>
                  </a:lnTo>
                  <a:lnTo>
                    <a:pt x="232" y="70"/>
                  </a:lnTo>
                  <a:lnTo>
                    <a:pt x="241" y="79"/>
                  </a:lnTo>
                  <a:lnTo>
                    <a:pt x="244" y="79"/>
                  </a:lnTo>
                  <a:lnTo>
                    <a:pt x="251" y="73"/>
                  </a:lnTo>
                  <a:lnTo>
                    <a:pt x="258" y="68"/>
                  </a:lnTo>
                  <a:lnTo>
                    <a:pt x="258" y="72"/>
                  </a:lnTo>
                  <a:lnTo>
                    <a:pt x="263" y="72"/>
                  </a:lnTo>
                  <a:lnTo>
                    <a:pt x="275" y="68"/>
                  </a:lnTo>
                  <a:lnTo>
                    <a:pt x="277" y="58"/>
                  </a:lnTo>
                  <a:lnTo>
                    <a:pt x="283" y="58"/>
                  </a:lnTo>
                  <a:lnTo>
                    <a:pt x="289" y="65"/>
                  </a:lnTo>
                  <a:lnTo>
                    <a:pt x="300" y="63"/>
                  </a:lnTo>
                  <a:lnTo>
                    <a:pt x="304" y="63"/>
                  </a:lnTo>
                  <a:lnTo>
                    <a:pt x="304" y="62"/>
                  </a:lnTo>
                  <a:lnTo>
                    <a:pt x="307" y="62"/>
                  </a:lnTo>
                  <a:lnTo>
                    <a:pt x="307" y="55"/>
                  </a:lnTo>
                  <a:lnTo>
                    <a:pt x="317" y="51"/>
                  </a:lnTo>
                  <a:lnTo>
                    <a:pt x="329" y="50"/>
                  </a:lnTo>
                  <a:lnTo>
                    <a:pt x="329" y="56"/>
                  </a:lnTo>
                  <a:lnTo>
                    <a:pt x="343" y="56"/>
                  </a:lnTo>
                  <a:lnTo>
                    <a:pt x="345" y="55"/>
                  </a:lnTo>
                  <a:lnTo>
                    <a:pt x="362" y="53"/>
                  </a:lnTo>
                  <a:lnTo>
                    <a:pt x="362" y="43"/>
                  </a:lnTo>
                  <a:lnTo>
                    <a:pt x="365" y="39"/>
                  </a:lnTo>
                  <a:lnTo>
                    <a:pt x="379" y="38"/>
                  </a:lnTo>
                  <a:lnTo>
                    <a:pt x="377" y="38"/>
                  </a:lnTo>
                  <a:lnTo>
                    <a:pt x="389" y="38"/>
                  </a:lnTo>
                  <a:lnTo>
                    <a:pt x="396" y="46"/>
                  </a:lnTo>
                  <a:lnTo>
                    <a:pt x="402" y="34"/>
                  </a:lnTo>
                  <a:lnTo>
                    <a:pt x="406" y="38"/>
                  </a:lnTo>
                  <a:lnTo>
                    <a:pt x="408" y="29"/>
                  </a:lnTo>
                  <a:lnTo>
                    <a:pt x="402" y="27"/>
                  </a:lnTo>
                  <a:lnTo>
                    <a:pt x="397" y="21"/>
                  </a:lnTo>
                  <a:lnTo>
                    <a:pt x="392" y="12"/>
                  </a:lnTo>
                  <a:lnTo>
                    <a:pt x="402" y="9"/>
                  </a:lnTo>
                  <a:lnTo>
                    <a:pt x="406" y="9"/>
                  </a:lnTo>
                  <a:lnTo>
                    <a:pt x="418" y="2"/>
                  </a:lnTo>
                  <a:lnTo>
                    <a:pt x="426" y="0"/>
                  </a:lnTo>
                  <a:lnTo>
                    <a:pt x="430" y="10"/>
                  </a:lnTo>
                  <a:lnTo>
                    <a:pt x="433" y="21"/>
                  </a:lnTo>
                  <a:lnTo>
                    <a:pt x="435" y="33"/>
                  </a:lnTo>
                  <a:lnTo>
                    <a:pt x="430" y="31"/>
                  </a:lnTo>
                  <a:lnTo>
                    <a:pt x="425" y="38"/>
                  </a:lnTo>
                  <a:lnTo>
                    <a:pt x="421" y="43"/>
                  </a:lnTo>
                  <a:lnTo>
                    <a:pt x="423" y="48"/>
                  </a:lnTo>
                  <a:lnTo>
                    <a:pt x="411" y="50"/>
                  </a:lnTo>
                  <a:lnTo>
                    <a:pt x="408" y="51"/>
                  </a:lnTo>
                  <a:lnTo>
                    <a:pt x="397" y="58"/>
                  </a:lnTo>
                  <a:lnTo>
                    <a:pt x="392" y="60"/>
                  </a:lnTo>
                  <a:lnTo>
                    <a:pt x="396" y="77"/>
                  </a:lnTo>
                  <a:lnTo>
                    <a:pt x="391" y="80"/>
                  </a:lnTo>
                  <a:lnTo>
                    <a:pt x="392" y="90"/>
                  </a:lnTo>
                  <a:lnTo>
                    <a:pt x="392" y="94"/>
                  </a:lnTo>
                  <a:lnTo>
                    <a:pt x="389" y="96"/>
                  </a:lnTo>
                  <a:lnTo>
                    <a:pt x="394" y="101"/>
                  </a:lnTo>
                  <a:lnTo>
                    <a:pt x="394" y="109"/>
                  </a:lnTo>
                  <a:lnTo>
                    <a:pt x="392" y="113"/>
                  </a:lnTo>
                  <a:lnTo>
                    <a:pt x="394" y="121"/>
                  </a:lnTo>
                  <a:lnTo>
                    <a:pt x="396" y="128"/>
                  </a:lnTo>
                  <a:lnTo>
                    <a:pt x="399" y="140"/>
                  </a:lnTo>
                  <a:lnTo>
                    <a:pt x="402" y="147"/>
                  </a:lnTo>
                  <a:lnTo>
                    <a:pt x="402" y="148"/>
                  </a:lnTo>
                  <a:lnTo>
                    <a:pt x="406" y="152"/>
                  </a:lnTo>
                  <a:lnTo>
                    <a:pt x="411" y="153"/>
                  </a:lnTo>
                  <a:lnTo>
                    <a:pt x="416" y="143"/>
                  </a:lnTo>
                  <a:lnTo>
                    <a:pt x="416" y="140"/>
                  </a:lnTo>
                  <a:lnTo>
                    <a:pt x="426" y="143"/>
                  </a:lnTo>
                  <a:lnTo>
                    <a:pt x="425" y="152"/>
                  </a:lnTo>
                  <a:lnTo>
                    <a:pt x="423" y="157"/>
                  </a:lnTo>
                  <a:lnTo>
                    <a:pt x="425" y="158"/>
                  </a:lnTo>
                  <a:lnTo>
                    <a:pt x="433" y="158"/>
                  </a:lnTo>
                  <a:lnTo>
                    <a:pt x="438" y="155"/>
                  </a:lnTo>
                  <a:lnTo>
                    <a:pt x="448" y="153"/>
                  </a:lnTo>
                  <a:lnTo>
                    <a:pt x="438" y="147"/>
                  </a:lnTo>
                  <a:lnTo>
                    <a:pt x="438" y="143"/>
                  </a:lnTo>
                  <a:lnTo>
                    <a:pt x="445" y="141"/>
                  </a:lnTo>
                  <a:lnTo>
                    <a:pt x="447" y="145"/>
                  </a:lnTo>
                  <a:lnTo>
                    <a:pt x="453" y="147"/>
                  </a:lnTo>
                  <a:lnTo>
                    <a:pt x="455" y="141"/>
                  </a:lnTo>
                  <a:lnTo>
                    <a:pt x="452" y="140"/>
                  </a:lnTo>
                  <a:lnTo>
                    <a:pt x="450" y="140"/>
                  </a:lnTo>
                  <a:lnTo>
                    <a:pt x="450" y="135"/>
                  </a:lnTo>
                  <a:lnTo>
                    <a:pt x="448" y="130"/>
                  </a:lnTo>
                  <a:lnTo>
                    <a:pt x="448" y="123"/>
                  </a:lnTo>
                  <a:lnTo>
                    <a:pt x="438" y="124"/>
                  </a:lnTo>
                  <a:lnTo>
                    <a:pt x="436" y="116"/>
                  </a:lnTo>
                  <a:lnTo>
                    <a:pt x="443" y="111"/>
                  </a:lnTo>
                  <a:lnTo>
                    <a:pt x="450" y="106"/>
                  </a:lnTo>
                  <a:lnTo>
                    <a:pt x="457" y="111"/>
                  </a:lnTo>
                  <a:lnTo>
                    <a:pt x="452" y="123"/>
                  </a:lnTo>
                  <a:lnTo>
                    <a:pt x="465" y="111"/>
                  </a:lnTo>
                  <a:lnTo>
                    <a:pt x="467" y="119"/>
                  </a:lnTo>
                  <a:lnTo>
                    <a:pt x="472" y="128"/>
                  </a:lnTo>
                  <a:lnTo>
                    <a:pt x="474" y="131"/>
                  </a:lnTo>
                  <a:lnTo>
                    <a:pt x="487" y="124"/>
                  </a:lnTo>
                  <a:lnTo>
                    <a:pt x="491" y="124"/>
                  </a:lnTo>
                  <a:lnTo>
                    <a:pt x="486" y="116"/>
                  </a:lnTo>
                  <a:lnTo>
                    <a:pt x="494" y="113"/>
                  </a:lnTo>
                  <a:lnTo>
                    <a:pt x="493" y="107"/>
                  </a:lnTo>
                  <a:lnTo>
                    <a:pt x="504" y="113"/>
                  </a:lnTo>
                  <a:lnTo>
                    <a:pt x="510" y="102"/>
                  </a:lnTo>
                  <a:lnTo>
                    <a:pt x="513" y="113"/>
                  </a:lnTo>
                  <a:lnTo>
                    <a:pt x="515" y="114"/>
                  </a:lnTo>
                  <a:lnTo>
                    <a:pt x="511" y="118"/>
                  </a:lnTo>
                  <a:lnTo>
                    <a:pt x="506" y="118"/>
                  </a:lnTo>
                  <a:lnTo>
                    <a:pt x="498" y="121"/>
                  </a:lnTo>
                  <a:lnTo>
                    <a:pt x="501" y="126"/>
                  </a:lnTo>
                  <a:lnTo>
                    <a:pt x="498" y="136"/>
                  </a:lnTo>
                  <a:lnTo>
                    <a:pt x="504" y="136"/>
                  </a:lnTo>
                  <a:lnTo>
                    <a:pt x="504" y="143"/>
                  </a:lnTo>
                  <a:lnTo>
                    <a:pt x="489" y="147"/>
                  </a:lnTo>
                  <a:lnTo>
                    <a:pt x="479" y="150"/>
                  </a:lnTo>
                  <a:lnTo>
                    <a:pt x="476" y="162"/>
                  </a:lnTo>
                  <a:lnTo>
                    <a:pt x="474" y="165"/>
                  </a:lnTo>
                  <a:lnTo>
                    <a:pt x="482" y="169"/>
                  </a:lnTo>
                  <a:lnTo>
                    <a:pt x="476" y="177"/>
                  </a:lnTo>
                  <a:lnTo>
                    <a:pt x="470" y="189"/>
                  </a:lnTo>
                  <a:lnTo>
                    <a:pt x="470" y="191"/>
                  </a:lnTo>
                  <a:lnTo>
                    <a:pt x="474" y="194"/>
                  </a:lnTo>
                  <a:lnTo>
                    <a:pt x="470" y="204"/>
                  </a:lnTo>
                  <a:lnTo>
                    <a:pt x="469" y="208"/>
                  </a:lnTo>
                  <a:lnTo>
                    <a:pt x="464" y="206"/>
                  </a:lnTo>
                  <a:lnTo>
                    <a:pt x="457" y="203"/>
                  </a:lnTo>
                  <a:lnTo>
                    <a:pt x="457" y="206"/>
                  </a:lnTo>
                  <a:lnTo>
                    <a:pt x="457" y="208"/>
                  </a:lnTo>
                  <a:lnTo>
                    <a:pt x="453" y="218"/>
                  </a:lnTo>
                  <a:lnTo>
                    <a:pt x="453" y="230"/>
                  </a:lnTo>
                  <a:lnTo>
                    <a:pt x="455" y="230"/>
                  </a:lnTo>
                  <a:lnTo>
                    <a:pt x="450" y="240"/>
                  </a:lnTo>
                  <a:lnTo>
                    <a:pt x="448" y="238"/>
                  </a:lnTo>
                  <a:lnTo>
                    <a:pt x="442" y="238"/>
                  </a:lnTo>
                  <a:lnTo>
                    <a:pt x="431" y="238"/>
                  </a:lnTo>
                  <a:lnTo>
                    <a:pt x="425" y="242"/>
                  </a:lnTo>
                  <a:lnTo>
                    <a:pt x="423" y="233"/>
                  </a:lnTo>
                  <a:lnTo>
                    <a:pt x="421" y="235"/>
                  </a:lnTo>
                  <a:lnTo>
                    <a:pt x="409" y="235"/>
                  </a:lnTo>
                  <a:lnTo>
                    <a:pt x="404" y="233"/>
                  </a:lnTo>
                  <a:lnTo>
                    <a:pt x="394" y="230"/>
                  </a:lnTo>
                  <a:lnTo>
                    <a:pt x="389" y="230"/>
                  </a:lnTo>
                  <a:lnTo>
                    <a:pt x="379" y="238"/>
                  </a:lnTo>
                  <a:lnTo>
                    <a:pt x="377" y="242"/>
                  </a:lnTo>
                  <a:lnTo>
                    <a:pt x="374" y="254"/>
                  </a:lnTo>
                  <a:lnTo>
                    <a:pt x="363" y="250"/>
                  </a:lnTo>
                  <a:lnTo>
                    <a:pt x="362" y="254"/>
                  </a:lnTo>
                  <a:lnTo>
                    <a:pt x="355" y="254"/>
                  </a:lnTo>
                  <a:lnTo>
                    <a:pt x="358" y="259"/>
                  </a:lnTo>
                  <a:lnTo>
                    <a:pt x="353" y="262"/>
                  </a:lnTo>
                  <a:lnTo>
                    <a:pt x="350" y="271"/>
                  </a:lnTo>
                  <a:lnTo>
                    <a:pt x="358" y="276"/>
                  </a:lnTo>
                  <a:lnTo>
                    <a:pt x="362" y="283"/>
                  </a:lnTo>
                  <a:lnTo>
                    <a:pt x="362" y="288"/>
                  </a:lnTo>
                  <a:lnTo>
                    <a:pt x="360" y="298"/>
                  </a:lnTo>
                  <a:lnTo>
                    <a:pt x="374" y="301"/>
                  </a:lnTo>
                  <a:lnTo>
                    <a:pt x="384" y="303"/>
                  </a:lnTo>
                  <a:lnTo>
                    <a:pt x="384" y="315"/>
                  </a:lnTo>
                  <a:lnTo>
                    <a:pt x="387" y="317"/>
                  </a:lnTo>
                  <a:lnTo>
                    <a:pt x="396" y="320"/>
                  </a:lnTo>
                  <a:lnTo>
                    <a:pt x="406" y="329"/>
                  </a:lnTo>
                  <a:lnTo>
                    <a:pt x="413" y="323"/>
                  </a:lnTo>
                  <a:lnTo>
                    <a:pt x="425" y="322"/>
                  </a:lnTo>
                  <a:lnTo>
                    <a:pt x="431" y="318"/>
                  </a:lnTo>
                  <a:lnTo>
                    <a:pt x="433" y="330"/>
                  </a:lnTo>
                  <a:lnTo>
                    <a:pt x="440" y="329"/>
                  </a:lnTo>
                  <a:lnTo>
                    <a:pt x="442" y="335"/>
                  </a:lnTo>
                  <a:lnTo>
                    <a:pt x="445" y="344"/>
                  </a:lnTo>
                  <a:lnTo>
                    <a:pt x="436" y="346"/>
                  </a:lnTo>
                  <a:lnTo>
                    <a:pt x="426" y="351"/>
                  </a:lnTo>
                  <a:lnTo>
                    <a:pt x="425" y="358"/>
                  </a:lnTo>
                  <a:lnTo>
                    <a:pt x="419" y="363"/>
                  </a:lnTo>
                  <a:lnTo>
                    <a:pt x="418" y="376"/>
                  </a:lnTo>
                  <a:lnTo>
                    <a:pt x="399" y="375"/>
                  </a:lnTo>
                  <a:lnTo>
                    <a:pt x="392" y="373"/>
                  </a:lnTo>
                  <a:lnTo>
                    <a:pt x="385" y="373"/>
                  </a:lnTo>
                  <a:lnTo>
                    <a:pt x="385" y="383"/>
                  </a:lnTo>
                  <a:lnTo>
                    <a:pt x="372" y="381"/>
                  </a:lnTo>
                  <a:lnTo>
                    <a:pt x="372" y="376"/>
                  </a:lnTo>
                  <a:lnTo>
                    <a:pt x="367" y="378"/>
                  </a:lnTo>
                  <a:lnTo>
                    <a:pt x="368" y="375"/>
                  </a:lnTo>
                  <a:lnTo>
                    <a:pt x="357" y="371"/>
                  </a:lnTo>
                  <a:lnTo>
                    <a:pt x="355" y="378"/>
                  </a:lnTo>
                  <a:lnTo>
                    <a:pt x="355" y="388"/>
                  </a:lnTo>
                  <a:lnTo>
                    <a:pt x="357" y="392"/>
                  </a:lnTo>
                  <a:lnTo>
                    <a:pt x="357" y="395"/>
                  </a:lnTo>
                  <a:lnTo>
                    <a:pt x="350" y="395"/>
                  </a:lnTo>
                  <a:lnTo>
                    <a:pt x="350" y="398"/>
                  </a:lnTo>
                  <a:lnTo>
                    <a:pt x="345" y="400"/>
                  </a:lnTo>
                  <a:lnTo>
                    <a:pt x="346" y="407"/>
                  </a:lnTo>
                  <a:lnTo>
                    <a:pt x="333" y="409"/>
                  </a:lnTo>
                  <a:lnTo>
                    <a:pt x="333" y="412"/>
                  </a:lnTo>
                  <a:lnTo>
                    <a:pt x="323" y="412"/>
                  </a:lnTo>
                  <a:lnTo>
                    <a:pt x="321" y="419"/>
                  </a:lnTo>
                  <a:lnTo>
                    <a:pt x="317" y="429"/>
                  </a:lnTo>
                  <a:lnTo>
                    <a:pt x="319" y="429"/>
                  </a:lnTo>
                  <a:lnTo>
                    <a:pt x="323" y="441"/>
                  </a:lnTo>
                  <a:lnTo>
                    <a:pt x="307" y="443"/>
                  </a:lnTo>
                  <a:lnTo>
                    <a:pt x="300" y="449"/>
                  </a:lnTo>
                  <a:lnTo>
                    <a:pt x="299" y="454"/>
                  </a:lnTo>
                  <a:lnTo>
                    <a:pt x="300" y="461"/>
                  </a:lnTo>
                  <a:lnTo>
                    <a:pt x="297" y="471"/>
                  </a:lnTo>
                  <a:lnTo>
                    <a:pt x="290" y="471"/>
                  </a:lnTo>
                  <a:lnTo>
                    <a:pt x="290" y="468"/>
                  </a:lnTo>
                  <a:lnTo>
                    <a:pt x="278" y="470"/>
                  </a:lnTo>
                  <a:lnTo>
                    <a:pt x="280" y="47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5" name="Freeform 14">
              <a:extLst>
                <a:ext uri="{FF2B5EF4-FFF2-40B4-BE49-F238E27FC236}">
                  <a16:creationId xmlns:a16="http://schemas.microsoft.com/office/drawing/2014/main" id="{EA33C844-89C2-4938-98FD-4D8E3FA82BD2}"/>
                </a:ext>
              </a:extLst>
            </p:cNvPr>
            <p:cNvSpPr>
              <a:spLocks/>
            </p:cNvSpPr>
            <p:nvPr/>
          </p:nvSpPr>
          <p:spPr bwMode="gray">
            <a:xfrm>
              <a:off x="6518275" y="615950"/>
              <a:ext cx="2278062" cy="1393825"/>
            </a:xfrm>
            <a:custGeom>
              <a:avLst/>
              <a:gdLst>
                <a:gd name="T0" fmla="*/ 1379 w 1435"/>
                <a:gd name="T1" fmla="*/ 505 h 878"/>
                <a:gd name="T2" fmla="*/ 1307 w 1435"/>
                <a:gd name="T3" fmla="*/ 517 h 878"/>
                <a:gd name="T4" fmla="*/ 1250 w 1435"/>
                <a:gd name="T5" fmla="*/ 508 h 878"/>
                <a:gd name="T6" fmla="*/ 1231 w 1435"/>
                <a:gd name="T7" fmla="*/ 537 h 878"/>
                <a:gd name="T8" fmla="*/ 1244 w 1435"/>
                <a:gd name="T9" fmla="*/ 583 h 878"/>
                <a:gd name="T10" fmla="*/ 1256 w 1435"/>
                <a:gd name="T11" fmla="*/ 619 h 878"/>
                <a:gd name="T12" fmla="*/ 1188 w 1435"/>
                <a:gd name="T13" fmla="*/ 655 h 878"/>
                <a:gd name="T14" fmla="*/ 1129 w 1435"/>
                <a:gd name="T15" fmla="*/ 651 h 878"/>
                <a:gd name="T16" fmla="*/ 1102 w 1435"/>
                <a:gd name="T17" fmla="*/ 701 h 878"/>
                <a:gd name="T18" fmla="*/ 1064 w 1435"/>
                <a:gd name="T19" fmla="*/ 743 h 878"/>
                <a:gd name="T20" fmla="*/ 1027 w 1435"/>
                <a:gd name="T21" fmla="*/ 725 h 878"/>
                <a:gd name="T22" fmla="*/ 984 w 1435"/>
                <a:gd name="T23" fmla="*/ 733 h 878"/>
                <a:gd name="T24" fmla="*/ 972 w 1435"/>
                <a:gd name="T25" fmla="*/ 779 h 878"/>
                <a:gd name="T26" fmla="*/ 932 w 1435"/>
                <a:gd name="T27" fmla="*/ 798 h 878"/>
                <a:gd name="T28" fmla="*/ 901 w 1435"/>
                <a:gd name="T29" fmla="*/ 856 h 878"/>
                <a:gd name="T30" fmla="*/ 806 w 1435"/>
                <a:gd name="T31" fmla="*/ 873 h 878"/>
                <a:gd name="T32" fmla="*/ 733 w 1435"/>
                <a:gd name="T33" fmla="*/ 873 h 878"/>
                <a:gd name="T34" fmla="*/ 694 w 1435"/>
                <a:gd name="T35" fmla="*/ 842 h 878"/>
                <a:gd name="T36" fmla="*/ 695 w 1435"/>
                <a:gd name="T37" fmla="*/ 793 h 878"/>
                <a:gd name="T38" fmla="*/ 649 w 1435"/>
                <a:gd name="T39" fmla="*/ 764 h 878"/>
                <a:gd name="T40" fmla="*/ 592 w 1435"/>
                <a:gd name="T41" fmla="*/ 755 h 878"/>
                <a:gd name="T42" fmla="*/ 541 w 1435"/>
                <a:gd name="T43" fmla="*/ 801 h 878"/>
                <a:gd name="T44" fmla="*/ 530 w 1435"/>
                <a:gd name="T45" fmla="*/ 820 h 878"/>
                <a:gd name="T46" fmla="*/ 576 w 1435"/>
                <a:gd name="T47" fmla="*/ 815 h 878"/>
                <a:gd name="T48" fmla="*/ 541 w 1435"/>
                <a:gd name="T49" fmla="*/ 837 h 878"/>
                <a:gd name="T50" fmla="*/ 478 w 1435"/>
                <a:gd name="T51" fmla="*/ 828 h 878"/>
                <a:gd name="T52" fmla="*/ 451 w 1435"/>
                <a:gd name="T53" fmla="*/ 789 h 878"/>
                <a:gd name="T54" fmla="*/ 444 w 1435"/>
                <a:gd name="T55" fmla="*/ 760 h 878"/>
                <a:gd name="T56" fmla="*/ 369 w 1435"/>
                <a:gd name="T57" fmla="*/ 759 h 878"/>
                <a:gd name="T58" fmla="*/ 306 w 1435"/>
                <a:gd name="T59" fmla="*/ 774 h 878"/>
                <a:gd name="T60" fmla="*/ 238 w 1435"/>
                <a:gd name="T61" fmla="*/ 789 h 878"/>
                <a:gd name="T62" fmla="*/ 199 w 1435"/>
                <a:gd name="T63" fmla="*/ 752 h 878"/>
                <a:gd name="T64" fmla="*/ 160 w 1435"/>
                <a:gd name="T65" fmla="*/ 691 h 878"/>
                <a:gd name="T66" fmla="*/ 95 w 1435"/>
                <a:gd name="T67" fmla="*/ 723 h 878"/>
                <a:gd name="T68" fmla="*/ 29 w 1435"/>
                <a:gd name="T69" fmla="*/ 716 h 878"/>
                <a:gd name="T70" fmla="*/ 12 w 1435"/>
                <a:gd name="T71" fmla="*/ 662 h 878"/>
                <a:gd name="T72" fmla="*/ 48 w 1435"/>
                <a:gd name="T73" fmla="*/ 612 h 878"/>
                <a:gd name="T74" fmla="*/ 100 w 1435"/>
                <a:gd name="T75" fmla="*/ 580 h 878"/>
                <a:gd name="T76" fmla="*/ 129 w 1435"/>
                <a:gd name="T77" fmla="*/ 524 h 878"/>
                <a:gd name="T78" fmla="*/ 150 w 1435"/>
                <a:gd name="T79" fmla="*/ 454 h 878"/>
                <a:gd name="T80" fmla="*/ 172 w 1435"/>
                <a:gd name="T81" fmla="*/ 415 h 878"/>
                <a:gd name="T82" fmla="*/ 204 w 1435"/>
                <a:gd name="T83" fmla="*/ 376 h 878"/>
                <a:gd name="T84" fmla="*/ 248 w 1435"/>
                <a:gd name="T85" fmla="*/ 342 h 878"/>
                <a:gd name="T86" fmla="*/ 281 w 1435"/>
                <a:gd name="T87" fmla="*/ 335 h 878"/>
                <a:gd name="T88" fmla="*/ 315 w 1435"/>
                <a:gd name="T89" fmla="*/ 304 h 878"/>
                <a:gd name="T90" fmla="*/ 367 w 1435"/>
                <a:gd name="T91" fmla="*/ 269 h 878"/>
                <a:gd name="T92" fmla="*/ 418 w 1435"/>
                <a:gd name="T93" fmla="*/ 223 h 878"/>
                <a:gd name="T94" fmla="*/ 471 w 1435"/>
                <a:gd name="T95" fmla="*/ 172 h 878"/>
                <a:gd name="T96" fmla="*/ 524 w 1435"/>
                <a:gd name="T97" fmla="*/ 119 h 878"/>
                <a:gd name="T98" fmla="*/ 600 w 1435"/>
                <a:gd name="T99" fmla="*/ 116 h 878"/>
                <a:gd name="T100" fmla="*/ 663 w 1435"/>
                <a:gd name="T101" fmla="*/ 87 h 878"/>
                <a:gd name="T102" fmla="*/ 700 w 1435"/>
                <a:gd name="T103" fmla="*/ 29 h 878"/>
                <a:gd name="T104" fmla="*/ 780 w 1435"/>
                <a:gd name="T105" fmla="*/ 17 h 878"/>
                <a:gd name="T106" fmla="*/ 838 w 1435"/>
                <a:gd name="T107" fmla="*/ 7 h 878"/>
                <a:gd name="T108" fmla="*/ 915 w 1435"/>
                <a:gd name="T109" fmla="*/ 13 h 878"/>
                <a:gd name="T110" fmla="*/ 984 w 1435"/>
                <a:gd name="T111" fmla="*/ 42 h 878"/>
                <a:gd name="T112" fmla="*/ 1057 w 1435"/>
                <a:gd name="T113" fmla="*/ 59 h 878"/>
                <a:gd name="T114" fmla="*/ 1144 w 1435"/>
                <a:gd name="T115" fmla="*/ 51 h 878"/>
                <a:gd name="T116" fmla="*/ 1219 w 1435"/>
                <a:gd name="T117" fmla="*/ 51 h 878"/>
                <a:gd name="T118" fmla="*/ 1290 w 1435"/>
                <a:gd name="T119" fmla="*/ 65 h 878"/>
                <a:gd name="T120" fmla="*/ 1358 w 1435"/>
                <a:gd name="T121" fmla="*/ 294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5" h="878">
                  <a:moveTo>
                    <a:pt x="1435" y="495"/>
                  </a:moveTo>
                  <a:lnTo>
                    <a:pt x="1426" y="495"/>
                  </a:lnTo>
                  <a:lnTo>
                    <a:pt x="1419" y="495"/>
                  </a:lnTo>
                  <a:lnTo>
                    <a:pt x="1416" y="498"/>
                  </a:lnTo>
                  <a:lnTo>
                    <a:pt x="1406" y="495"/>
                  </a:lnTo>
                  <a:lnTo>
                    <a:pt x="1396" y="502"/>
                  </a:lnTo>
                  <a:lnTo>
                    <a:pt x="1396" y="512"/>
                  </a:lnTo>
                  <a:lnTo>
                    <a:pt x="1387" y="515"/>
                  </a:lnTo>
                  <a:lnTo>
                    <a:pt x="1380" y="514"/>
                  </a:lnTo>
                  <a:lnTo>
                    <a:pt x="1379" y="505"/>
                  </a:lnTo>
                  <a:lnTo>
                    <a:pt x="1377" y="503"/>
                  </a:lnTo>
                  <a:lnTo>
                    <a:pt x="1367" y="505"/>
                  </a:lnTo>
                  <a:lnTo>
                    <a:pt x="1360" y="514"/>
                  </a:lnTo>
                  <a:lnTo>
                    <a:pt x="1351" y="508"/>
                  </a:lnTo>
                  <a:lnTo>
                    <a:pt x="1341" y="514"/>
                  </a:lnTo>
                  <a:lnTo>
                    <a:pt x="1336" y="510"/>
                  </a:lnTo>
                  <a:lnTo>
                    <a:pt x="1324" y="507"/>
                  </a:lnTo>
                  <a:lnTo>
                    <a:pt x="1321" y="505"/>
                  </a:lnTo>
                  <a:lnTo>
                    <a:pt x="1316" y="514"/>
                  </a:lnTo>
                  <a:lnTo>
                    <a:pt x="1307" y="517"/>
                  </a:lnTo>
                  <a:lnTo>
                    <a:pt x="1302" y="514"/>
                  </a:lnTo>
                  <a:lnTo>
                    <a:pt x="1297" y="519"/>
                  </a:lnTo>
                  <a:lnTo>
                    <a:pt x="1287" y="520"/>
                  </a:lnTo>
                  <a:lnTo>
                    <a:pt x="1280" y="519"/>
                  </a:lnTo>
                  <a:lnTo>
                    <a:pt x="1270" y="526"/>
                  </a:lnTo>
                  <a:lnTo>
                    <a:pt x="1268" y="519"/>
                  </a:lnTo>
                  <a:lnTo>
                    <a:pt x="1265" y="515"/>
                  </a:lnTo>
                  <a:lnTo>
                    <a:pt x="1261" y="512"/>
                  </a:lnTo>
                  <a:lnTo>
                    <a:pt x="1255" y="507"/>
                  </a:lnTo>
                  <a:lnTo>
                    <a:pt x="1250" y="508"/>
                  </a:lnTo>
                  <a:lnTo>
                    <a:pt x="1248" y="515"/>
                  </a:lnTo>
                  <a:lnTo>
                    <a:pt x="1243" y="517"/>
                  </a:lnTo>
                  <a:lnTo>
                    <a:pt x="1229" y="519"/>
                  </a:lnTo>
                  <a:lnTo>
                    <a:pt x="1222" y="520"/>
                  </a:lnTo>
                  <a:lnTo>
                    <a:pt x="1221" y="524"/>
                  </a:lnTo>
                  <a:lnTo>
                    <a:pt x="1226" y="524"/>
                  </a:lnTo>
                  <a:lnTo>
                    <a:pt x="1234" y="524"/>
                  </a:lnTo>
                  <a:lnTo>
                    <a:pt x="1233" y="531"/>
                  </a:lnTo>
                  <a:lnTo>
                    <a:pt x="1227" y="531"/>
                  </a:lnTo>
                  <a:lnTo>
                    <a:pt x="1231" y="537"/>
                  </a:lnTo>
                  <a:lnTo>
                    <a:pt x="1224" y="544"/>
                  </a:lnTo>
                  <a:lnTo>
                    <a:pt x="1216" y="549"/>
                  </a:lnTo>
                  <a:lnTo>
                    <a:pt x="1216" y="561"/>
                  </a:lnTo>
                  <a:lnTo>
                    <a:pt x="1217" y="571"/>
                  </a:lnTo>
                  <a:lnTo>
                    <a:pt x="1216" y="582"/>
                  </a:lnTo>
                  <a:lnTo>
                    <a:pt x="1216" y="585"/>
                  </a:lnTo>
                  <a:lnTo>
                    <a:pt x="1227" y="585"/>
                  </a:lnTo>
                  <a:lnTo>
                    <a:pt x="1238" y="585"/>
                  </a:lnTo>
                  <a:lnTo>
                    <a:pt x="1241" y="583"/>
                  </a:lnTo>
                  <a:lnTo>
                    <a:pt x="1244" y="583"/>
                  </a:lnTo>
                  <a:lnTo>
                    <a:pt x="1253" y="580"/>
                  </a:lnTo>
                  <a:lnTo>
                    <a:pt x="1255" y="583"/>
                  </a:lnTo>
                  <a:lnTo>
                    <a:pt x="1260" y="592"/>
                  </a:lnTo>
                  <a:lnTo>
                    <a:pt x="1263" y="597"/>
                  </a:lnTo>
                  <a:lnTo>
                    <a:pt x="1243" y="599"/>
                  </a:lnTo>
                  <a:lnTo>
                    <a:pt x="1243" y="602"/>
                  </a:lnTo>
                  <a:lnTo>
                    <a:pt x="1243" y="605"/>
                  </a:lnTo>
                  <a:lnTo>
                    <a:pt x="1241" y="616"/>
                  </a:lnTo>
                  <a:lnTo>
                    <a:pt x="1253" y="612"/>
                  </a:lnTo>
                  <a:lnTo>
                    <a:pt x="1256" y="619"/>
                  </a:lnTo>
                  <a:lnTo>
                    <a:pt x="1265" y="633"/>
                  </a:lnTo>
                  <a:lnTo>
                    <a:pt x="1258" y="648"/>
                  </a:lnTo>
                  <a:lnTo>
                    <a:pt x="1246" y="648"/>
                  </a:lnTo>
                  <a:lnTo>
                    <a:pt x="1238" y="650"/>
                  </a:lnTo>
                  <a:lnTo>
                    <a:pt x="1227" y="650"/>
                  </a:lnTo>
                  <a:lnTo>
                    <a:pt x="1221" y="650"/>
                  </a:lnTo>
                  <a:lnTo>
                    <a:pt x="1212" y="651"/>
                  </a:lnTo>
                  <a:lnTo>
                    <a:pt x="1205" y="651"/>
                  </a:lnTo>
                  <a:lnTo>
                    <a:pt x="1200" y="653"/>
                  </a:lnTo>
                  <a:lnTo>
                    <a:pt x="1188" y="655"/>
                  </a:lnTo>
                  <a:lnTo>
                    <a:pt x="1187" y="638"/>
                  </a:lnTo>
                  <a:lnTo>
                    <a:pt x="1175" y="639"/>
                  </a:lnTo>
                  <a:lnTo>
                    <a:pt x="1166" y="643"/>
                  </a:lnTo>
                  <a:lnTo>
                    <a:pt x="1154" y="636"/>
                  </a:lnTo>
                  <a:lnTo>
                    <a:pt x="1148" y="633"/>
                  </a:lnTo>
                  <a:lnTo>
                    <a:pt x="1144" y="629"/>
                  </a:lnTo>
                  <a:lnTo>
                    <a:pt x="1137" y="622"/>
                  </a:lnTo>
                  <a:lnTo>
                    <a:pt x="1129" y="633"/>
                  </a:lnTo>
                  <a:lnTo>
                    <a:pt x="1129" y="645"/>
                  </a:lnTo>
                  <a:lnTo>
                    <a:pt x="1129" y="651"/>
                  </a:lnTo>
                  <a:lnTo>
                    <a:pt x="1127" y="662"/>
                  </a:lnTo>
                  <a:lnTo>
                    <a:pt x="1120" y="655"/>
                  </a:lnTo>
                  <a:lnTo>
                    <a:pt x="1114" y="665"/>
                  </a:lnTo>
                  <a:lnTo>
                    <a:pt x="1115" y="667"/>
                  </a:lnTo>
                  <a:lnTo>
                    <a:pt x="1122" y="677"/>
                  </a:lnTo>
                  <a:lnTo>
                    <a:pt x="1124" y="687"/>
                  </a:lnTo>
                  <a:lnTo>
                    <a:pt x="1115" y="694"/>
                  </a:lnTo>
                  <a:lnTo>
                    <a:pt x="1114" y="696"/>
                  </a:lnTo>
                  <a:lnTo>
                    <a:pt x="1102" y="694"/>
                  </a:lnTo>
                  <a:lnTo>
                    <a:pt x="1102" y="701"/>
                  </a:lnTo>
                  <a:lnTo>
                    <a:pt x="1108" y="706"/>
                  </a:lnTo>
                  <a:lnTo>
                    <a:pt x="1107" y="716"/>
                  </a:lnTo>
                  <a:lnTo>
                    <a:pt x="1100" y="726"/>
                  </a:lnTo>
                  <a:lnTo>
                    <a:pt x="1097" y="725"/>
                  </a:lnTo>
                  <a:lnTo>
                    <a:pt x="1093" y="731"/>
                  </a:lnTo>
                  <a:lnTo>
                    <a:pt x="1086" y="735"/>
                  </a:lnTo>
                  <a:lnTo>
                    <a:pt x="1086" y="743"/>
                  </a:lnTo>
                  <a:lnTo>
                    <a:pt x="1081" y="738"/>
                  </a:lnTo>
                  <a:lnTo>
                    <a:pt x="1076" y="740"/>
                  </a:lnTo>
                  <a:lnTo>
                    <a:pt x="1064" y="743"/>
                  </a:lnTo>
                  <a:lnTo>
                    <a:pt x="1063" y="753"/>
                  </a:lnTo>
                  <a:lnTo>
                    <a:pt x="1061" y="752"/>
                  </a:lnTo>
                  <a:lnTo>
                    <a:pt x="1061" y="750"/>
                  </a:lnTo>
                  <a:lnTo>
                    <a:pt x="1052" y="742"/>
                  </a:lnTo>
                  <a:lnTo>
                    <a:pt x="1051" y="735"/>
                  </a:lnTo>
                  <a:lnTo>
                    <a:pt x="1049" y="730"/>
                  </a:lnTo>
                  <a:lnTo>
                    <a:pt x="1046" y="726"/>
                  </a:lnTo>
                  <a:lnTo>
                    <a:pt x="1037" y="725"/>
                  </a:lnTo>
                  <a:lnTo>
                    <a:pt x="1039" y="731"/>
                  </a:lnTo>
                  <a:lnTo>
                    <a:pt x="1027" y="725"/>
                  </a:lnTo>
                  <a:lnTo>
                    <a:pt x="1027" y="735"/>
                  </a:lnTo>
                  <a:lnTo>
                    <a:pt x="1017" y="731"/>
                  </a:lnTo>
                  <a:lnTo>
                    <a:pt x="1015" y="735"/>
                  </a:lnTo>
                  <a:lnTo>
                    <a:pt x="1012" y="730"/>
                  </a:lnTo>
                  <a:lnTo>
                    <a:pt x="1008" y="730"/>
                  </a:lnTo>
                  <a:lnTo>
                    <a:pt x="1000" y="728"/>
                  </a:lnTo>
                  <a:lnTo>
                    <a:pt x="986" y="728"/>
                  </a:lnTo>
                  <a:lnTo>
                    <a:pt x="984" y="726"/>
                  </a:lnTo>
                  <a:lnTo>
                    <a:pt x="984" y="731"/>
                  </a:lnTo>
                  <a:lnTo>
                    <a:pt x="984" y="733"/>
                  </a:lnTo>
                  <a:lnTo>
                    <a:pt x="981" y="745"/>
                  </a:lnTo>
                  <a:lnTo>
                    <a:pt x="979" y="752"/>
                  </a:lnTo>
                  <a:lnTo>
                    <a:pt x="979" y="757"/>
                  </a:lnTo>
                  <a:lnTo>
                    <a:pt x="979" y="762"/>
                  </a:lnTo>
                  <a:lnTo>
                    <a:pt x="981" y="762"/>
                  </a:lnTo>
                  <a:lnTo>
                    <a:pt x="981" y="765"/>
                  </a:lnTo>
                  <a:lnTo>
                    <a:pt x="984" y="776"/>
                  </a:lnTo>
                  <a:lnTo>
                    <a:pt x="974" y="772"/>
                  </a:lnTo>
                  <a:lnTo>
                    <a:pt x="972" y="774"/>
                  </a:lnTo>
                  <a:lnTo>
                    <a:pt x="972" y="779"/>
                  </a:lnTo>
                  <a:lnTo>
                    <a:pt x="971" y="789"/>
                  </a:lnTo>
                  <a:lnTo>
                    <a:pt x="971" y="798"/>
                  </a:lnTo>
                  <a:lnTo>
                    <a:pt x="964" y="798"/>
                  </a:lnTo>
                  <a:lnTo>
                    <a:pt x="955" y="799"/>
                  </a:lnTo>
                  <a:lnTo>
                    <a:pt x="955" y="794"/>
                  </a:lnTo>
                  <a:lnTo>
                    <a:pt x="947" y="787"/>
                  </a:lnTo>
                  <a:lnTo>
                    <a:pt x="940" y="782"/>
                  </a:lnTo>
                  <a:lnTo>
                    <a:pt x="940" y="787"/>
                  </a:lnTo>
                  <a:lnTo>
                    <a:pt x="927" y="789"/>
                  </a:lnTo>
                  <a:lnTo>
                    <a:pt x="932" y="798"/>
                  </a:lnTo>
                  <a:lnTo>
                    <a:pt x="933" y="804"/>
                  </a:lnTo>
                  <a:lnTo>
                    <a:pt x="933" y="820"/>
                  </a:lnTo>
                  <a:lnTo>
                    <a:pt x="933" y="827"/>
                  </a:lnTo>
                  <a:lnTo>
                    <a:pt x="935" y="827"/>
                  </a:lnTo>
                  <a:lnTo>
                    <a:pt x="933" y="832"/>
                  </a:lnTo>
                  <a:lnTo>
                    <a:pt x="932" y="840"/>
                  </a:lnTo>
                  <a:lnTo>
                    <a:pt x="932" y="856"/>
                  </a:lnTo>
                  <a:lnTo>
                    <a:pt x="928" y="856"/>
                  </a:lnTo>
                  <a:lnTo>
                    <a:pt x="915" y="854"/>
                  </a:lnTo>
                  <a:lnTo>
                    <a:pt x="901" y="856"/>
                  </a:lnTo>
                  <a:lnTo>
                    <a:pt x="901" y="862"/>
                  </a:lnTo>
                  <a:lnTo>
                    <a:pt x="887" y="867"/>
                  </a:lnTo>
                  <a:lnTo>
                    <a:pt x="884" y="861"/>
                  </a:lnTo>
                  <a:lnTo>
                    <a:pt x="876" y="862"/>
                  </a:lnTo>
                  <a:lnTo>
                    <a:pt x="870" y="873"/>
                  </a:lnTo>
                  <a:lnTo>
                    <a:pt x="859" y="867"/>
                  </a:lnTo>
                  <a:lnTo>
                    <a:pt x="845" y="864"/>
                  </a:lnTo>
                  <a:lnTo>
                    <a:pt x="828" y="873"/>
                  </a:lnTo>
                  <a:lnTo>
                    <a:pt x="823" y="871"/>
                  </a:lnTo>
                  <a:lnTo>
                    <a:pt x="806" y="873"/>
                  </a:lnTo>
                  <a:lnTo>
                    <a:pt x="804" y="878"/>
                  </a:lnTo>
                  <a:lnTo>
                    <a:pt x="794" y="876"/>
                  </a:lnTo>
                  <a:lnTo>
                    <a:pt x="787" y="874"/>
                  </a:lnTo>
                  <a:lnTo>
                    <a:pt x="774" y="876"/>
                  </a:lnTo>
                  <a:lnTo>
                    <a:pt x="763" y="874"/>
                  </a:lnTo>
                  <a:lnTo>
                    <a:pt x="760" y="873"/>
                  </a:lnTo>
                  <a:lnTo>
                    <a:pt x="758" y="864"/>
                  </a:lnTo>
                  <a:lnTo>
                    <a:pt x="753" y="866"/>
                  </a:lnTo>
                  <a:lnTo>
                    <a:pt x="738" y="866"/>
                  </a:lnTo>
                  <a:lnTo>
                    <a:pt x="733" y="873"/>
                  </a:lnTo>
                  <a:lnTo>
                    <a:pt x="723" y="876"/>
                  </a:lnTo>
                  <a:lnTo>
                    <a:pt x="721" y="864"/>
                  </a:lnTo>
                  <a:lnTo>
                    <a:pt x="704" y="869"/>
                  </a:lnTo>
                  <a:lnTo>
                    <a:pt x="712" y="859"/>
                  </a:lnTo>
                  <a:lnTo>
                    <a:pt x="716" y="850"/>
                  </a:lnTo>
                  <a:lnTo>
                    <a:pt x="714" y="845"/>
                  </a:lnTo>
                  <a:lnTo>
                    <a:pt x="711" y="847"/>
                  </a:lnTo>
                  <a:lnTo>
                    <a:pt x="700" y="849"/>
                  </a:lnTo>
                  <a:lnTo>
                    <a:pt x="695" y="850"/>
                  </a:lnTo>
                  <a:lnTo>
                    <a:pt x="694" y="842"/>
                  </a:lnTo>
                  <a:lnTo>
                    <a:pt x="692" y="844"/>
                  </a:lnTo>
                  <a:lnTo>
                    <a:pt x="680" y="839"/>
                  </a:lnTo>
                  <a:lnTo>
                    <a:pt x="678" y="832"/>
                  </a:lnTo>
                  <a:lnTo>
                    <a:pt x="683" y="820"/>
                  </a:lnTo>
                  <a:lnTo>
                    <a:pt x="682" y="811"/>
                  </a:lnTo>
                  <a:lnTo>
                    <a:pt x="682" y="803"/>
                  </a:lnTo>
                  <a:lnTo>
                    <a:pt x="695" y="804"/>
                  </a:lnTo>
                  <a:lnTo>
                    <a:pt x="694" y="801"/>
                  </a:lnTo>
                  <a:lnTo>
                    <a:pt x="706" y="796"/>
                  </a:lnTo>
                  <a:lnTo>
                    <a:pt x="695" y="793"/>
                  </a:lnTo>
                  <a:lnTo>
                    <a:pt x="690" y="782"/>
                  </a:lnTo>
                  <a:lnTo>
                    <a:pt x="685" y="782"/>
                  </a:lnTo>
                  <a:lnTo>
                    <a:pt x="677" y="781"/>
                  </a:lnTo>
                  <a:lnTo>
                    <a:pt x="666" y="784"/>
                  </a:lnTo>
                  <a:lnTo>
                    <a:pt x="665" y="784"/>
                  </a:lnTo>
                  <a:lnTo>
                    <a:pt x="661" y="776"/>
                  </a:lnTo>
                  <a:lnTo>
                    <a:pt x="658" y="770"/>
                  </a:lnTo>
                  <a:lnTo>
                    <a:pt x="656" y="765"/>
                  </a:lnTo>
                  <a:lnTo>
                    <a:pt x="649" y="767"/>
                  </a:lnTo>
                  <a:lnTo>
                    <a:pt x="649" y="764"/>
                  </a:lnTo>
                  <a:lnTo>
                    <a:pt x="644" y="753"/>
                  </a:lnTo>
                  <a:lnTo>
                    <a:pt x="658" y="748"/>
                  </a:lnTo>
                  <a:lnTo>
                    <a:pt x="655" y="740"/>
                  </a:lnTo>
                  <a:lnTo>
                    <a:pt x="643" y="743"/>
                  </a:lnTo>
                  <a:lnTo>
                    <a:pt x="634" y="748"/>
                  </a:lnTo>
                  <a:lnTo>
                    <a:pt x="631" y="743"/>
                  </a:lnTo>
                  <a:lnTo>
                    <a:pt x="624" y="743"/>
                  </a:lnTo>
                  <a:lnTo>
                    <a:pt x="610" y="742"/>
                  </a:lnTo>
                  <a:lnTo>
                    <a:pt x="598" y="753"/>
                  </a:lnTo>
                  <a:lnTo>
                    <a:pt x="592" y="755"/>
                  </a:lnTo>
                  <a:lnTo>
                    <a:pt x="585" y="759"/>
                  </a:lnTo>
                  <a:lnTo>
                    <a:pt x="578" y="762"/>
                  </a:lnTo>
                  <a:lnTo>
                    <a:pt x="570" y="767"/>
                  </a:lnTo>
                  <a:lnTo>
                    <a:pt x="573" y="774"/>
                  </a:lnTo>
                  <a:lnTo>
                    <a:pt x="576" y="781"/>
                  </a:lnTo>
                  <a:lnTo>
                    <a:pt x="570" y="784"/>
                  </a:lnTo>
                  <a:lnTo>
                    <a:pt x="559" y="786"/>
                  </a:lnTo>
                  <a:lnTo>
                    <a:pt x="546" y="787"/>
                  </a:lnTo>
                  <a:lnTo>
                    <a:pt x="536" y="789"/>
                  </a:lnTo>
                  <a:lnTo>
                    <a:pt x="541" y="801"/>
                  </a:lnTo>
                  <a:lnTo>
                    <a:pt x="527" y="801"/>
                  </a:lnTo>
                  <a:lnTo>
                    <a:pt x="527" y="799"/>
                  </a:lnTo>
                  <a:lnTo>
                    <a:pt x="515" y="804"/>
                  </a:lnTo>
                  <a:lnTo>
                    <a:pt x="510" y="806"/>
                  </a:lnTo>
                  <a:lnTo>
                    <a:pt x="513" y="810"/>
                  </a:lnTo>
                  <a:lnTo>
                    <a:pt x="513" y="820"/>
                  </a:lnTo>
                  <a:lnTo>
                    <a:pt x="512" y="821"/>
                  </a:lnTo>
                  <a:lnTo>
                    <a:pt x="517" y="821"/>
                  </a:lnTo>
                  <a:lnTo>
                    <a:pt x="527" y="820"/>
                  </a:lnTo>
                  <a:lnTo>
                    <a:pt x="530" y="820"/>
                  </a:lnTo>
                  <a:lnTo>
                    <a:pt x="541" y="813"/>
                  </a:lnTo>
                  <a:lnTo>
                    <a:pt x="549" y="811"/>
                  </a:lnTo>
                  <a:lnTo>
                    <a:pt x="551" y="806"/>
                  </a:lnTo>
                  <a:lnTo>
                    <a:pt x="559" y="804"/>
                  </a:lnTo>
                  <a:lnTo>
                    <a:pt x="566" y="803"/>
                  </a:lnTo>
                  <a:lnTo>
                    <a:pt x="576" y="799"/>
                  </a:lnTo>
                  <a:lnTo>
                    <a:pt x="580" y="796"/>
                  </a:lnTo>
                  <a:lnTo>
                    <a:pt x="581" y="803"/>
                  </a:lnTo>
                  <a:lnTo>
                    <a:pt x="571" y="806"/>
                  </a:lnTo>
                  <a:lnTo>
                    <a:pt x="576" y="815"/>
                  </a:lnTo>
                  <a:lnTo>
                    <a:pt x="581" y="821"/>
                  </a:lnTo>
                  <a:lnTo>
                    <a:pt x="587" y="823"/>
                  </a:lnTo>
                  <a:lnTo>
                    <a:pt x="585" y="832"/>
                  </a:lnTo>
                  <a:lnTo>
                    <a:pt x="581" y="828"/>
                  </a:lnTo>
                  <a:lnTo>
                    <a:pt x="575" y="840"/>
                  </a:lnTo>
                  <a:lnTo>
                    <a:pt x="568" y="832"/>
                  </a:lnTo>
                  <a:lnTo>
                    <a:pt x="556" y="832"/>
                  </a:lnTo>
                  <a:lnTo>
                    <a:pt x="558" y="832"/>
                  </a:lnTo>
                  <a:lnTo>
                    <a:pt x="544" y="833"/>
                  </a:lnTo>
                  <a:lnTo>
                    <a:pt x="541" y="837"/>
                  </a:lnTo>
                  <a:lnTo>
                    <a:pt x="541" y="847"/>
                  </a:lnTo>
                  <a:lnTo>
                    <a:pt x="524" y="849"/>
                  </a:lnTo>
                  <a:lnTo>
                    <a:pt x="522" y="850"/>
                  </a:lnTo>
                  <a:lnTo>
                    <a:pt x="508" y="850"/>
                  </a:lnTo>
                  <a:lnTo>
                    <a:pt x="508" y="844"/>
                  </a:lnTo>
                  <a:lnTo>
                    <a:pt x="496" y="845"/>
                  </a:lnTo>
                  <a:lnTo>
                    <a:pt x="486" y="849"/>
                  </a:lnTo>
                  <a:lnTo>
                    <a:pt x="488" y="844"/>
                  </a:lnTo>
                  <a:lnTo>
                    <a:pt x="483" y="837"/>
                  </a:lnTo>
                  <a:lnTo>
                    <a:pt x="478" y="828"/>
                  </a:lnTo>
                  <a:lnTo>
                    <a:pt x="474" y="821"/>
                  </a:lnTo>
                  <a:lnTo>
                    <a:pt x="466" y="818"/>
                  </a:lnTo>
                  <a:lnTo>
                    <a:pt x="454" y="821"/>
                  </a:lnTo>
                  <a:lnTo>
                    <a:pt x="445" y="820"/>
                  </a:lnTo>
                  <a:lnTo>
                    <a:pt x="445" y="811"/>
                  </a:lnTo>
                  <a:lnTo>
                    <a:pt x="444" y="804"/>
                  </a:lnTo>
                  <a:lnTo>
                    <a:pt x="435" y="804"/>
                  </a:lnTo>
                  <a:lnTo>
                    <a:pt x="434" y="793"/>
                  </a:lnTo>
                  <a:lnTo>
                    <a:pt x="442" y="791"/>
                  </a:lnTo>
                  <a:lnTo>
                    <a:pt x="451" y="789"/>
                  </a:lnTo>
                  <a:lnTo>
                    <a:pt x="456" y="798"/>
                  </a:lnTo>
                  <a:lnTo>
                    <a:pt x="468" y="799"/>
                  </a:lnTo>
                  <a:lnTo>
                    <a:pt x="468" y="796"/>
                  </a:lnTo>
                  <a:lnTo>
                    <a:pt x="474" y="786"/>
                  </a:lnTo>
                  <a:lnTo>
                    <a:pt x="479" y="779"/>
                  </a:lnTo>
                  <a:lnTo>
                    <a:pt x="473" y="777"/>
                  </a:lnTo>
                  <a:lnTo>
                    <a:pt x="461" y="774"/>
                  </a:lnTo>
                  <a:lnTo>
                    <a:pt x="454" y="770"/>
                  </a:lnTo>
                  <a:lnTo>
                    <a:pt x="444" y="767"/>
                  </a:lnTo>
                  <a:lnTo>
                    <a:pt x="444" y="760"/>
                  </a:lnTo>
                  <a:lnTo>
                    <a:pt x="434" y="760"/>
                  </a:lnTo>
                  <a:lnTo>
                    <a:pt x="422" y="762"/>
                  </a:lnTo>
                  <a:lnTo>
                    <a:pt x="411" y="759"/>
                  </a:lnTo>
                  <a:lnTo>
                    <a:pt x="408" y="753"/>
                  </a:lnTo>
                  <a:lnTo>
                    <a:pt x="401" y="757"/>
                  </a:lnTo>
                  <a:lnTo>
                    <a:pt x="398" y="765"/>
                  </a:lnTo>
                  <a:lnTo>
                    <a:pt x="389" y="764"/>
                  </a:lnTo>
                  <a:lnTo>
                    <a:pt x="383" y="762"/>
                  </a:lnTo>
                  <a:lnTo>
                    <a:pt x="381" y="762"/>
                  </a:lnTo>
                  <a:lnTo>
                    <a:pt x="369" y="759"/>
                  </a:lnTo>
                  <a:lnTo>
                    <a:pt x="357" y="757"/>
                  </a:lnTo>
                  <a:lnTo>
                    <a:pt x="350" y="757"/>
                  </a:lnTo>
                  <a:lnTo>
                    <a:pt x="343" y="760"/>
                  </a:lnTo>
                  <a:lnTo>
                    <a:pt x="335" y="762"/>
                  </a:lnTo>
                  <a:lnTo>
                    <a:pt x="330" y="764"/>
                  </a:lnTo>
                  <a:lnTo>
                    <a:pt x="330" y="762"/>
                  </a:lnTo>
                  <a:lnTo>
                    <a:pt x="316" y="759"/>
                  </a:lnTo>
                  <a:lnTo>
                    <a:pt x="315" y="759"/>
                  </a:lnTo>
                  <a:lnTo>
                    <a:pt x="308" y="762"/>
                  </a:lnTo>
                  <a:lnTo>
                    <a:pt x="306" y="774"/>
                  </a:lnTo>
                  <a:lnTo>
                    <a:pt x="299" y="781"/>
                  </a:lnTo>
                  <a:lnTo>
                    <a:pt x="298" y="787"/>
                  </a:lnTo>
                  <a:lnTo>
                    <a:pt x="292" y="791"/>
                  </a:lnTo>
                  <a:lnTo>
                    <a:pt x="286" y="786"/>
                  </a:lnTo>
                  <a:lnTo>
                    <a:pt x="277" y="786"/>
                  </a:lnTo>
                  <a:lnTo>
                    <a:pt x="275" y="784"/>
                  </a:lnTo>
                  <a:lnTo>
                    <a:pt x="264" y="787"/>
                  </a:lnTo>
                  <a:lnTo>
                    <a:pt x="262" y="784"/>
                  </a:lnTo>
                  <a:lnTo>
                    <a:pt x="250" y="787"/>
                  </a:lnTo>
                  <a:lnTo>
                    <a:pt x="238" y="789"/>
                  </a:lnTo>
                  <a:lnTo>
                    <a:pt x="236" y="786"/>
                  </a:lnTo>
                  <a:lnTo>
                    <a:pt x="233" y="777"/>
                  </a:lnTo>
                  <a:lnTo>
                    <a:pt x="221" y="776"/>
                  </a:lnTo>
                  <a:lnTo>
                    <a:pt x="216" y="779"/>
                  </a:lnTo>
                  <a:lnTo>
                    <a:pt x="209" y="784"/>
                  </a:lnTo>
                  <a:lnTo>
                    <a:pt x="211" y="776"/>
                  </a:lnTo>
                  <a:lnTo>
                    <a:pt x="204" y="774"/>
                  </a:lnTo>
                  <a:lnTo>
                    <a:pt x="206" y="764"/>
                  </a:lnTo>
                  <a:lnTo>
                    <a:pt x="211" y="755"/>
                  </a:lnTo>
                  <a:lnTo>
                    <a:pt x="199" y="752"/>
                  </a:lnTo>
                  <a:lnTo>
                    <a:pt x="192" y="760"/>
                  </a:lnTo>
                  <a:lnTo>
                    <a:pt x="189" y="752"/>
                  </a:lnTo>
                  <a:lnTo>
                    <a:pt x="189" y="750"/>
                  </a:lnTo>
                  <a:lnTo>
                    <a:pt x="184" y="745"/>
                  </a:lnTo>
                  <a:lnTo>
                    <a:pt x="179" y="738"/>
                  </a:lnTo>
                  <a:lnTo>
                    <a:pt x="163" y="735"/>
                  </a:lnTo>
                  <a:lnTo>
                    <a:pt x="162" y="726"/>
                  </a:lnTo>
                  <a:lnTo>
                    <a:pt x="162" y="719"/>
                  </a:lnTo>
                  <a:lnTo>
                    <a:pt x="162" y="711"/>
                  </a:lnTo>
                  <a:lnTo>
                    <a:pt x="160" y="691"/>
                  </a:lnTo>
                  <a:lnTo>
                    <a:pt x="153" y="691"/>
                  </a:lnTo>
                  <a:lnTo>
                    <a:pt x="148" y="691"/>
                  </a:lnTo>
                  <a:lnTo>
                    <a:pt x="148" y="699"/>
                  </a:lnTo>
                  <a:lnTo>
                    <a:pt x="148" y="706"/>
                  </a:lnTo>
                  <a:lnTo>
                    <a:pt x="138" y="706"/>
                  </a:lnTo>
                  <a:lnTo>
                    <a:pt x="138" y="708"/>
                  </a:lnTo>
                  <a:lnTo>
                    <a:pt x="128" y="711"/>
                  </a:lnTo>
                  <a:lnTo>
                    <a:pt x="116" y="714"/>
                  </a:lnTo>
                  <a:lnTo>
                    <a:pt x="99" y="721"/>
                  </a:lnTo>
                  <a:lnTo>
                    <a:pt x="95" y="723"/>
                  </a:lnTo>
                  <a:lnTo>
                    <a:pt x="92" y="728"/>
                  </a:lnTo>
                  <a:lnTo>
                    <a:pt x="87" y="735"/>
                  </a:lnTo>
                  <a:lnTo>
                    <a:pt x="78" y="728"/>
                  </a:lnTo>
                  <a:lnTo>
                    <a:pt x="75" y="728"/>
                  </a:lnTo>
                  <a:lnTo>
                    <a:pt x="73" y="730"/>
                  </a:lnTo>
                  <a:lnTo>
                    <a:pt x="65" y="723"/>
                  </a:lnTo>
                  <a:lnTo>
                    <a:pt x="54" y="714"/>
                  </a:lnTo>
                  <a:lnTo>
                    <a:pt x="49" y="716"/>
                  </a:lnTo>
                  <a:lnTo>
                    <a:pt x="39" y="718"/>
                  </a:lnTo>
                  <a:lnTo>
                    <a:pt x="29" y="716"/>
                  </a:lnTo>
                  <a:lnTo>
                    <a:pt x="24" y="716"/>
                  </a:lnTo>
                  <a:lnTo>
                    <a:pt x="12" y="714"/>
                  </a:lnTo>
                  <a:lnTo>
                    <a:pt x="12" y="709"/>
                  </a:lnTo>
                  <a:lnTo>
                    <a:pt x="3" y="704"/>
                  </a:lnTo>
                  <a:lnTo>
                    <a:pt x="2" y="694"/>
                  </a:lnTo>
                  <a:lnTo>
                    <a:pt x="3" y="685"/>
                  </a:lnTo>
                  <a:lnTo>
                    <a:pt x="5" y="675"/>
                  </a:lnTo>
                  <a:lnTo>
                    <a:pt x="0" y="672"/>
                  </a:lnTo>
                  <a:lnTo>
                    <a:pt x="5" y="663"/>
                  </a:lnTo>
                  <a:lnTo>
                    <a:pt x="12" y="662"/>
                  </a:lnTo>
                  <a:lnTo>
                    <a:pt x="17" y="656"/>
                  </a:lnTo>
                  <a:lnTo>
                    <a:pt x="19" y="648"/>
                  </a:lnTo>
                  <a:lnTo>
                    <a:pt x="26" y="638"/>
                  </a:lnTo>
                  <a:lnTo>
                    <a:pt x="26" y="634"/>
                  </a:lnTo>
                  <a:lnTo>
                    <a:pt x="27" y="633"/>
                  </a:lnTo>
                  <a:lnTo>
                    <a:pt x="27" y="629"/>
                  </a:lnTo>
                  <a:lnTo>
                    <a:pt x="34" y="626"/>
                  </a:lnTo>
                  <a:lnTo>
                    <a:pt x="39" y="619"/>
                  </a:lnTo>
                  <a:lnTo>
                    <a:pt x="41" y="621"/>
                  </a:lnTo>
                  <a:lnTo>
                    <a:pt x="48" y="612"/>
                  </a:lnTo>
                  <a:lnTo>
                    <a:pt x="48" y="609"/>
                  </a:lnTo>
                  <a:lnTo>
                    <a:pt x="54" y="607"/>
                  </a:lnTo>
                  <a:lnTo>
                    <a:pt x="65" y="600"/>
                  </a:lnTo>
                  <a:lnTo>
                    <a:pt x="66" y="602"/>
                  </a:lnTo>
                  <a:lnTo>
                    <a:pt x="71" y="590"/>
                  </a:lnTo>
                  <a:lnTo>
                    <a:pt x="78" y="590"/>
                  </a:lnTo>
                  <a:lnTo>
                    <a:pt x="80" y="585"/>
                  </a:lnTo>
                  <a:lnTo>
                    <a:pt x="87" y="580"/>
                  </a:lnTo>
                  <a:lnTo>
                    <a:pt x="92" y="583"/>
                  </a:lnTo>
                  <a:lnTo>
                    <a:pt x="100" y="580"/>
                  </a:lnTo>
                  <a:lnTo>
                    <a:pt x="105" y="577"/>
                  </a:lnTo>
                  <a:lnTo>
                    <a:pt x="116" y="571"/>
                  </a:lnTo>
                  <a:lnTo>
                    <a:pt x="122" y="566"/>
                  </a:lnTo>
                  <a:lnTo>
                    <a:pt x="121" y="558"/>
                  </a:lnTo>
                  <a:lnTo>
                    <a:pt x="128" y="549"/>
                  </a:lnTo>
                  <a:lnTo>
                    <a:pt x="122" y="548"/>
                  </a:lnTo>
                  <a:lnTo>
                    <a:pt x="126" y="543"/>
                  </a:lnTo>
                  <a:lnTo>
                    <a:pt x="122" y="536"/>
                  </a:lnTo>
                  <a:lnTo>
                    <a:pt x="122" y="527"/>
                  </a:lnTo>
                  <a:lnTo>
                    <a:pt x="129" y="524"/>
                  </a:lnTo>
                  <a:lnTo>
                    <a:pt x="129" y="514"/>
                  </a:lnTo>
                  <a:lnTo>
                    <a:pt x="136" y="507"/>
                  </a:lnTo>
                  <a:lnTo>
                    <a:pt x="136" y="497"/>
                  </a:lnTo>
                  <a:lnTo>
                    <a:pt x="138" y="491"/>
                  </a:lnTo>
                  <a:lnTo>
                    <a:pt x="141" y="488"/>
                  </a:lnTo>
                  <a:lnTo>
                    <a:pt x="141" y="478"/>
                  </a:lnTo>
                  <a:lnTo>
                    <a:pt x="145" y="469"/>
                  </a:lnTo>
                  <a:lnTo>
                    <a:pt x="148" y="466"/>
                  </a:lnTo>
                  <a:lnTo>
                    <a:pt x="143" y="459"/>
                  </a:lnTo>
                  <a:lnTo>
                    <a:pt x="150" y="454"/>
                  </a:lnTo>
                  <a:lnTo>
                    <a:pt x="148" y="449"/>
                  </a:lnTo>
                  <a:lnTo>
                    <a:pt x="151" y="440"/>
                  </a:lnTo>
                  <a:lnTo>
                    <a:pt x="151" y="432"/>
                  </a:lnTo>
                  <a:lnTo>
                    <a:pt x="155" y="423"/>
                  </a:lnTo>
                  <a:lnTo>
                    <a:pt x="155" y="420"/>
                  </a:lnTo>
                  <a:lnTo>
                    <a:pt x="162" y="417"/>
                  </a:lnTo>
                  <a:lnTo>
                    <a:pt x="162" y="406"/>
                  </a:lnTo>
                  <a:lnTo>
                    <a:pt x="165" y="403"/>
                  </a:lnTo>
                  <a:lnTo>
                    <a:pt x="172" y="408"/>
                  </a:lnTo>
                  <a:lnTo>
                    <a:pt x="172" y="415"/>
                  </a:lnTo>
                  <a:lnTo>
                    <a:pt x="180" y="412"/>
                  </a:lnTo>
                  <a:lnTo>
                    <a:pt x="184" y="405"/>
                  </a:lnTo>
                  <a:lnTo>
                    <a:pt x="179" y="396"/>
                  </a:lnTo>
                  <a:lnTo>
                    <a:pt x="189" y="393"/>
                  </a:lnTo>
                  <a:lnTo>
                    <a:pt x="194" y="383"/>
                  </a:lnTo>
                  <a:lnTo>
                    <a:pt x="197" y="386"/>
                  </a:lnTo>
                  <a:lnTo>
                    <a:pt x="202" y="384"/>
                  </a:lnTo>
                  <a:lnTo>
                    <a:pt x="199" y="378"/>
                  </a:lnTo>
                  <a:lnTo>
                    <a:pt x="199" y="372"/>
                  </a:lnTo>
                  <a:lnTo>
                    <a:pt x="204" y="376"/>
                  </a:lnTo>
                  <a:lnTo>
                    <a:pt x="207" y="372"/>
                  </a:lnTo>
                  <a:lnTo>
                    <a:pt x="216" y="376"/>
                  </a:lnTo>
                  <a:lnTo>
                    <a:pt x="218" y="372"/>
                  </a:lnTo>
                  <a:lnTo>
                    <a:pt x="214" y="366"/>
                  </a:lnTo>
                  <a:lnTo>
                    <a:pt x="223" y="362"/>
                  </a:lnTo>
                  <a:lnTo>
                    <a:pt x="224" y="366"/>
                  </a:lnTo>
                  <a:lnTo>
                    <a:pt x="231" y="359"/>
                  </a:lnTo>
                  <a:lnTo>
                    <a:pt x="243" y="355"/>
                  </a:lnTo>
                  <a:lnTo>
                    <a:pt x="247" y="352"/>
                  </a:lnTo>
                  <a:lnTo>
                    <a:pt x="248" y="342"/>
                  </a:lnTo>
                  <a:lnTo>
                    <a:pt x="252" y="340"/>
                  </a:lnTo>
                  <a:lnTo>
                    <a:pt x="257" y="340"/>
                  </a:lnTo>
                  <a:lnTo>
                    <a:pt x="255" y="347"/>
                  </a:lnTo>
                  <a:lnTo>
                    <a:pt x="262" y="347"/>
                  </a:lnTo>
                  <a:lnTo>
                    <a:pt x="262" y="338"/>
                  </a:lnTo>
                  <a:lnTo>
                    <a:pt x="270" y="337"/>
                  </a:lnTo>
                  <a:lnTo>
                    <a:pt x="269" y="343"/>
                  </a:lnTo>
                  <a:lnTo>
                    <a:pt x="274" y="347"/>
                  </a:lnTo>
                  <a:lnTo>
                    <a:pt x="275" y="345"/>
                  </a:lnTo>
                  <a:lnTo>
                    <a:pt x="281" y="335"/>
                  </a:lnTo>
                  <a:lnTo>
                    <a:pt x="291" y="335"/>
                  </a:lnTo>
                  <a:lnTo>
                    <a:pt x="292" y="337"/>
                  </a:lnTo>
                  <a:lnTo>
                    <a:pt x="294" y="335"/>
                  </a:lnTo>
                  <a:lnTo>
                    <a:pt x="296" y="337"/>
                  </a:lnTo>
                  <a:lnTo>
                    <a:pt x="303" y="335"/>
                  </a:lnTo>
                  <a:lnTo>
                    <a:pt x="304" y="330"/>
                  </a:lnTo>
                  <a:lnTo>
                    <a:pt x="313" y="323"/>
                  </a:lnTo>
                  <a:lnTo>
                    <a:pt x="311" y="316"/>
                  </a:lnTo>
                  <a:lnTo>
                    <a:pt x="315" y="311"/>
                  </a:lnTo>
                  <a:lnTo>
                    <a:pt x="315" y="304"/>
                  </a:lnTo>
                  <a:lnTo>
                    <a:pt x="323" y="299"/>
                  </a:lnTo>
                  <a:lnTo>
                    <a:pt x="323" y="291"/>
                  </a:lnTo>
                  <a:lnTo>
                    <a:pt x="335" y="292"/>
                  </a:lnTo>
                  <a:lnTo>
                    <a:pt x="342" y="286"/>
                  </a:lnTo>
                  <a:lnTo>
                    <a:pt x="345" y="286"/>
                  </a:lnTo>
                  <a:lnTo>
                    <a:pt x="352" y="294"/>
                  </a:lnTo>
                  <a:lnTo>
                    <a:pt x="359" y="294"/>
                  </a:lnTo>
                  <a:lnTo>
                    <a:pt x="364" y="284"/>
                  </a:lnTo>
                  <a:lnTo>
                    <a:pt x="371" y="279"/>
                  </a:lnTo>
                  <a:lnTo>
                    <a:pt x="367" y="269"/>
                  </a:lnTo>
                  <a:lnTo>
                    <a:pt x="377" y="269"/>
                  </a:lnTo>
                  <a:lnTo>
                    <a:pt x="379" y="262"/>
                  </a:lnTo>
                  <a:lnTo>
                    <a:pt x="388" y="260"/>
                  </a:lnTo>
                  <a:lnTo>
                    <a:pt x="398" y="257"/>
                  </a:lnTo>
                  <a:lnTo>
                    <a:pt x="408" y="252"/>
                  </a:lnTo>
                  <a:lnTo>
                    <a:pt x="413" y="243"/>
                  </a:lnTo>
                  <a:lnTo>
                    <a:pt x="411" y="236"/>
                  </a:lnTo>
                  <a:lnTo>
                    <a:pt x="413" y="231"/>
                  </a:lnTo>
                  <a:lnTo>
                    <a:pt x="413" y="221"/>
                  </a:lnTo>
                  <a:lnTo>
                    <a:pt x="418" y="223"/>
                  </a:lnTo>
                  <a:lnTo>
                    <a:pt x="427" y="216"/>
                  </a:lnTo>
                  <a:lnTo>
                    <a:pt x="434" y="214"/>
                  </a:lnTo>
                  <a:lnTo>
                    <a:pt x="439" y="209"/>
                  </a:lnTo>
                  <a:lnTo>
                    <a:pt x="444" y="202"/>
                  </a:lnTo>
                  <a:lnTo>
                    <a:pt x="442" y="199"/>
                  </a:lnTo>
                  <a:lnTo>
                    <a:pt x="440" y="189"/>
                  </a:lnTo>
                  <a:lnTo>
                    <a:pt x="447" y="187"/>
                  </a:lnTo>
                  <a:lnTo>
                    <a:pt x="456" y="184"/>
                  </a:lnTo>
                  <a:lnTo>
                    <a:pt x="462" y="175"/>
                  </a:lnTo>
                  <a:lnTo>
                    <a:pt x="471" y="172"/>
                  </a:lnTo>
                  <a:lnTo>
                    <a:pt x="474" y="167"/>
                  </a:lnTo>
                  <a:lnTo>
                    <a:pt x="473" y="158"/>
                  </a:lnTo>
                  <a:lnTo>
                    <a:pt x="479" y="150"/>
                  </a:lnTo>
                  <a:lnTo>
                    <a:pt x="486" y="144"/>
                  </a:lnTo>
                  <a:lnTo>
                    <a:pt x="496" y="141"/>
                  </a:lnTo>
                  <a:lnTo>
                    <a:pt x="502" y="138"/>
                  </a:lnTo>
                  <a:lnTo>
                    <a:pt x="505" y="131"/>
                  </a:lnTo>
                  <a:lnTo>
                    <a:pt x="513" y="127"/>
                  </a:lnTo>
                  <a:lnTo>
                    <a:pt x="519" y="124"/>
                  </a:lnTo>
                  <a:lnTo>
                    <a:pt x="524" y="119"/>
                  </a:lnTo>
                  <a:lnTo>
                    <a:pt x="532" y="119"/>
                  </a:lnTo>
                  <a:lnTo>
                    <a:pt x="542" y="119"/>
                  </a:lnTo>
                  <a:lnTo>
                    <a:pt x="547" y="119"/>
                  </a:lnTo>
                  <a:lnTo>
                    <a:pt x="558" y="119"/>
                  </a:lnTo>
                  <a:lnTo>
                    <a:pt x="570" y="122"/>
                  </a:lnTo>
                  <a:lnTo>
                    <a:pt x="575" y="121"/>
                  </a:lnTo>
                  <a:lnTo>
                    <a:pt x="580" y="116"/>
                  </a:lnTo>
                  <a:lnTo>
                    <a:pt x="583" y="116"/>
                  </a:lnTo>
                  <a:lnTo>
                    <a:pt x="593" y="117"/>
                  </a:lnTo>
                  <a:lnTo>
                    <a:pt x="600" y="116"/>
                  </a:lnTo>
                  <a:lnTo>
                    <a:pt x="607" y="109"/>
                  </a:lnTo>
                  <a:lnTo>
                    <a:pt x="612" y="109"/>
                  </a:lnTo>
                  <a:lnTo>
                    <a:pt x="617" y="104"/>
                  </a:lnTo>
                  <a:lnTo>
                    <a:pt x="626" y="100"/>
                  </a:lnTo>
                  <a:lnTo>
                    <a:pt x="636" y="100"/>
                  </a:lnTo>
                  <a:lnTo>
                    <a:pt x="639" y="99"/>
                  </a:lnTo>
                  <a:lnTo>
                    <a:pt x="651" y="97"/>
                  </a:lnTo>
                  <a:lnTo>
                    <a:pt x="649" y="90"/>
                  </a:lnTo>
                  <a:lnTo>
                    <a:pt x="658" y="87"/>
                  </a:lnTo>
                  <a:lnTo>
                    <a:pt x="663" y="87"/>
                  </a:lnTo>
                  <a:lnTo>
                    <a:pt x="673" y="90"/>
                  </a:lnTo>
                  <a:lnTo>
                    <a:pt x="680" y="82"/>
                  </a:lnTo>
                  <a:lnTo>
                    <a:pt x="683" y="75"/>
                  </a:lnTo>
                  <a:lnTo>
                    <a:pt x="689" y="68"/>
                  </a:lnTo>
                  <a:lnTo>
                    <a:pt x="687" y="59"/>
                  </a:lnTo>
                  <a:lnTo>
                    <a:pt x="687" y="49"/>
                  </a:lnTo>
                  <a:lnTo>
                    <a:pt x="692" y="42"/>
                  </a:lnTo>
                  <a:lnTo>
                    <a:pt x="697" y="41"/>
                  </a:lnTo>
                  <a:lnTo>
                    <a:pt x="700" y="36"/>
                  </a:lnTo>
                  <a:lnTo>
                    <a:pt x="700" y="29"/>
                  </a:lnTo>
                  <a:lnTo>
                    <a:pt x="707" y="24"/>
                  </a:lnTo>
                  <a:lnTo>
                    <a:pt x="717" y="25"/>
                  </a:lnTo>
                  <a:lnTo>
                    <a:pt x="726" y="24"/>
                  </a:lnTo>
                  <a:lnTo>
                    <a:pt x="736" y="24"/>
                  </a:lnTo>
                  <a:lnTo>
                    <a:pt x="743" y="20"/>
                  </a:lnTo>
                  <a:lnTo>
                    <a:pt x="746" y="17"/>
                  </a:lnTo>
                  <a:lnTo>
                    <a:pt x="755" y="13"/>
                  </a:lnTo>
                  <a:lnTo>
                    <a:pt x="765" y="19"/>
                  </a:lnTo>
                  <a:lnTo>
                    <a:pt x="772" y="17"/>
                  </a:lnTo>
                  <a:lnTo>
                    <a:pt x="780" y="17"/>
                  </a:lnTo>
                  <a:lnTo>
                    <a:pt x="785" y="22"/>
                  </a:lnTo>
                  <a:lnTo>
                    <a:pt x="787" y="19"/>
                  </a:lnTo>
                  <a:lnTo>
                    <a:pt x="792" y="20"/>
                  </a:lnTo>
                  <a:lnTo>
                    <a:pt x="804" y="15"/>
                  </a:lnTo>
                  <a:lnTo>
                    <a:pt x="806" y="13"/>
                  </a:lnTo>
                  <a:lnTo>
                    <a:pt x="819" y="12"/>
                  </a:lnTo>
                  <a:lnTo>
                    <a:pt x="821" y="12"/>
                  </a:lnTo>
                  <a:lnTo>
                    <a:pt x="831" y="13"/>
                  </a:lnTo>
                  <a:lnTo>
                    <a:pt x="835" y="13"/>
                  </a:lnTo>
                  <a:lnTo>
                    <a:pt x="838" y="7"/>
                  </a:lnTo>
                  <a:lnTo>
                    <a:pt x="850" y="5"/>
                  </a:lnTo>
                  <a:lnTo>
                    <a:pt x="857" y="8"/>
                  </a:lnTo>
                  <a:lnTo>
                    <a:pt x="862" y="3"/>
                  </a:lnTo>
                  <a:lnTo>
                    <a:pt x="869" y="0"/>
                  </a:lnTo>
                  <a:lnTo>
                    <a:pt x="874" y="3"/>
                  </a:lnTo>
                  <a:lnTo>
                    <a:pt x="886" y="5"/>
                  </a:lnTo>
                  <a:lnTo>
                    <a:pt x="889" y="5"/>
                  </a:lnTo>
                  <a:lnTo>
                    <a:pt x="899" y="5"/>
                  </a:lnTo>
                  <a:lnTo>
                    <a:pt x="908" y="10"/>
                  </a:lnTo>
                  <a:lnTo>
                    <a:pt x="915" y="13"/>
                  </a:lnTo>
                  <a:lnTo>
                    <a:pt x="923" y="13"/>
                  </a:lnTo>
                  <a:lnTo>
                    <a:pt x="928" y="19"/>
                  </a:lnTo>
                  <a:lnTo>
                    <a:pt x="940" y="17"/>
                  </a:lnTo>
                  <a:lnTo>
                    <a:pt x="949" y="24"/>
                  </a:lnTo>
                  <a:lnTo>
                    <a:pt x="950" y="27"/>
                  </a:lnTo>
                  <a:lnTo>
                    <a:pt x="964" y="27"/>
                  </a:lnTo>
                  <a:lnTo>
                    <a:pt x="966" y="34"/>
                  </a:lnTo>
                  <a:lnTo>
                    <a:pt x="974" y="36"/>
                  </a:lnTo>
                  <a:lnTo>
                    <a:pt x="978" y="39"/>
                  </a:lnTo>
                  <a:lnTo>
                    <a:pt x="984" y="42"/>
                  </a:lnTo>
                  <a:lnTo>
                    <a:pt x="991" y="49"/>
                  </a:lnTo>
                  <a:lnTo>
                    <a:pt x="1000" y="46"/>
                  </a:lnTo>
                  <a:lnTo>
                    <a:pt x="1008" y="46"/>
                  </a:lnTo>
                  <a:lnTo>
                    <a:pt x="1018" y="46"/>
                  </a:lnTo>
                  <a:lnTo>
                    <a:pt x="1025" y="53"/>
                  </a:lnTo>
                  <a:lnTo>
                    <a:pt x="1029" y="59"/>
                  </a:lnTo>
                  <a:lnTo>
                    <a:pt x="1034" y="61"/>
                  </a:lnTo>
                  <a:lnTo>
                    <a:pt x="1040" y="59"/>
                  </a:lnTo>
                  <a:lnTo>
                    <a:pt x="1046" y="59"/>
                  </a:lnTo>
                  <a:lnTo>
                    <a:pt x="1057" y="59"/>
                  </a:lnTo>
                  <a:lnTo>
                    <a:pt x="1063" y="58"/>
                  </a:lnTo>
                  <a:lnTo>
                    <a:pt x="1073" y="56"/>
                  </a:lnTo>
                  <a:lnTo>
                    <a:pt x="1083" y="51"/>
                  </a:lnTo>
                  <a:lnTo>
                    <a:pt x="1086" y="51"/>
                  </a:lnTo>
                  <a:lnTo>
                    <a:pt x="1090" y="53"/>
                  </a:lnTo>
                  <a:lnTo>
                    <a:pt x="1103" y="54"/>
                  </a:lnTo>
                  <a:lnTo>
                    <a:pt x="1114" y="53"/>
                  </a:lnTo>
                  <a:lnTo>
                    <a:pt x="1124" y="56"/>
                  </a:lnTo>
                  <a:lnTo>
                    <a:pt x="1132" y="49"/>
                  </a:lnTo>
                  <a:lnTo>
                    <a:pt x="1144" y="51"/>
                  </a:lnTo>
                  <a:lnTo>
                    <a:pt x="1148" y="49"/>
                  </a:lnTo>
                  <a:lnTo>
                    <a:pt x="1158" y="48"/>
                  </a:lnTo>
                  <a:lnTo>
                    <a:pt x="1166" y="48"/>
                  </a:lnTo>
                  <a:lnTo>
                    <a:pt x="1176" y="44"/>
                  </a:lnTo>
                  <a:lnTo>
                    <a:pt x="1187" y="46"/>
                  </a:lnTo>
                  <a:lnTo>
                    <a:pt x="1188" y="48"/>
                  </a:lnTo>
                  <a:lnTo>
                    <a:pt x="1202" y="48"/>
                  </a:lnTo>
                  <a:lnTo>
                    <a:pt x="1212" y="51"/>
                  </a:lnTo>
                  <a:lnTo>
                    <a:pt x="1214" y="54"/>
                  </a:lnTo>
                  <a:lnTo>
                    <a:pt x="1219" y="51"/>
                  </a:lnTo>
                  <a:lnTo>
                    <a:pt x="1226" y="53"/>
                  </a:lnTo>
                  <a:lnTo>
                    <a:pt x="1233" y="56"/>
                  </a:lnTo>
                  <a:lnTo>
                    <a:pt x="1243" y="59"/>
                  </a:lnTo>
                  <a:lnTo>
                    <a:pt x="1244" y="59"/>
                  </a:lnTo>
                  <a:lnTo>
                    <a:pt x="1256" y="54"/>
                  </a:lnTo>
                  <a:lnTo>
                    <a:pt x="1263" y="54"/>
                  </a:lnTo>
                  <a:lnTo>
                    <a:pt x="1268" y="58"/>
                  </a:lnTo>
                  <a:lnTo>
                    <a:pt x="1275" y="65"/>
                  </a:lnTo>
                  <a:lnTo>
                    <a:pt x="1285" y="63"/>
                  </a:lnTo>
                  <a:lnTo>
                    <a:pt x="1290" y="65"/>
                  </a:lnTo>
                  <a:lnTo>
                    <a:pt x="1294" y="75"/>
                  </a:lnTo>
                  <a:lnTo>
                    <a:pt x="1300" y="80"/>
                  </a:lnTo>
                  <a:lnTo>
                    <a:pt x="1299" y="80"/>
                  </a:lnTo>
                  <a:lnTo>
                    <a:pt x="1300" y="80"/>
                  </a:lnTo>
                  <a:lnTo>
                    <a:pt x="1307" y="109"/>
                  </a:lnTo>
                  <a:lnTo>
                    <a:pt x="1309" y="110"/>
                  </a:lnTo>
                  <a:lnTo>
                    <a:pt x="1338" y="213"/>
                  </a:lnTo>
                  <a:lnTo>
                    <a:pt x="1355" y="270"/>
                  </a:lnTo>
                  <a:lnTo>
                    <a:pt x="1358" y="286"/>
                  </a:lnTo>
                  <a:lnTo>
                    <a:pt x="1358" y="294"/>
                  </a:lnTo>
                  <a:lnTo>
                    <a:pt x="1357" y="304"/>
                  </a:lnTo>
                  <a:lnTo>
                    <a:pt x="1353" y="342"/>
                  </a:lnTo>
                  <a:lnTo>
                    <a:pt x="1355" y="361"/>
                  </a:lnTo>
                  <a:lnTo>
                    <a:pt x="1382" y="391"/>
                  </a:lnTo>
                  <a:lnTo>
                    <a:pt x="1389" y="401"/>
                  </a:lnTo>
                  <a:lnTo>
                    <a:pt x="1389" y="425"/>
                  </a:lnTo>
                  <a:lnTo>
                    <a:pt x="1406" y="469"/>
                  </a:lnTo>
                  <a:lnTo>
                    <a:pt x="1435" y="486"/>
                  </a:lnTo>
                  <a:lnTo>
                    <a:pt x="1435" y="49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6" name="Freeform 15">
              <a:extLst>
                <a:ext uri="{FF2B5EF4-FFF2-40B4-BE49-F238E27FC236}">
                  <a16:creationId xmlns:a16="http://schemas.microsoft.com/office/drawing/2014/main" id="{179B3D2C-3C3C-40D2-A3FD-B200BE19731A}"/>
                </a:ext>
              </a:extLst>
            </p:cNvPr>
            <p:cNvSpPr>
              <a:spLocks/>
            </p:cNvSpPr>
            <p:nvPr/>
          </p:nvSpPr>
          <p:spPr bwMode="gray">
            <a:xfrm>
              <a:off x="2368550" y="1730375"/>
              <a:ext cx="3709987" cy="3457575"/>
            </a:xfrm>
            <a:custGeom>
              <a:avLst/>
              <a:gdLst>
                <a:gd name="T0" fmla="*/ 1711 w 2337"/>
                <a:gd name="T1" fmla="*/ 354 h 2178"/>
                <a:gd name="T2" fmla="*/ 1853 w 2337"/>
                <a:gd name="T3" fmla="*/ 506 h 2178"/>
                <a:gd name="T4" fmla="*/ 1966 w 2337"/>
                <a:gd name="T5" fmla="*/ 575 h 2178"/>
                <a:gd name="T6" fmla="*/ 1980 w 2337"/>
                <a:gd name="T7" fmla="*/ 710 h 2178"/>
                <a:gd name="T8" fmla="*/ 2068 w 2337"/>
                <a:gd name="T9" fmla="*/ 820 h 2178"/>
                <a:gd name="T10" fmla="*/ 2124 w 2337"/>
                <a:gd name="T11" fmla="*/ 844 h 2178"/>
                <a:gd name="T12" fmla="*/ 2167 w 2337"/>
                <a:gd name="T13" fmla="*/ 764 h 2178"/>
                <a:gd name="T14" fmla="*/ 2181 w 2337"/>
                <a:gd name="T15" fmla="*/ 839 h 2178"/>
                <a:gd name="T16" fmla="*/ 2191 w 2337"/>
                <a:gd name="T17" fmla="*/ 977 h 2178"/>
                <a:gd name="T18" fmla="*/ 2036 w 2337"/>
                <a:gd name="T19" fmla="*/ 1302 h 2178"/>
                <a:gd name="T20" fmla="*/ 2138 w 2337"/>
                <a:gd name="T21" fmla="*/ 1392 h 2178"/>
                <a:gd name="T22" fmla="*/ 2228 w 2337"/>
                <a:gd name="T23" fmla="*/ 1502 h 2178"/>
                <a:gd name="T24" fmla="*/ 2318 w 2337"/>
                <a:gd name="T25" fmla="*/ 1588 h 2178"/>
                <a:gd name="T26" fmla="*/ 2294 w 2337"/>
                <a:gd name="T27" fmla="*/ 1695 h 2178"/>
                <a:gd name="T28" fmla="*/ 2192 w 2337"/>
                <a:gd name="T29" fmla="*/ 1730 h 2178"/>
                <a:gd name="T30" fmla="*/ 2068 w 2337"/>
                <a:gd name="T31" fmla="*/ 1797 h 2178"/>
                <a:gd name="T32" fmla="*/ 1966 w 2337"/>
                <a:gd name="T33" fmla="*/ 1870 h 2178"/>
                <a:gd name="T34" fmla="*/ 1888 w 2337"/>
                <a:gd name="T35" fmla="*/ 1851 h 2178"/>
                <a:gd name="T36" fmla="*/ 1739 w 2337"/>
                <a:gd name="T37" fmla="*/ 1866 h 2178"/>
                <a:gd name="T38" fmla="*/ 1625 w 2337"/>
                <a:gd name="T39" fmla="*/ 1884 h 2178"/>
                <a:gd name="T40" fmla="*/ 1479 w 2337"/>
                <a:gd name="T41" fmla="*/ 1838 h 2178"/>
                <a:gd name="T42" fmla="*/ 1433 w 2337"/>
                <a:gd name="T43" fmla="*/ 1965 h 2178"/>
                <a:gd name="T44" fmla="*/ 1319 w 2337"/>
                <a:gd name="T45" fmla="*/ 1982 h 2178"/>
                <a:gd name="T46" fmla="*/ 1186 w 2337"/>
                <a:gd name="T47" fmla="*/ 2084 h 2178"/>
                <a:gd name="T48" fmla="*/ 1050 w 2337"/>
                <a:gd name="T49" fmla="*/ 2178 h 2178"/>
                <a:gd name="T50" fmla="*/ 923 w 2337"/>
                <a:gd name="T51" fmla="*/ 2079 h 2178"/>
                <a:gd name="T52" fmla="*/ 906 w 2337"/>
                <a:gd name="T53" fmla="*/ 2004 h 2178"/>
                <a:gd name="T54" fmla="*/ 792 w 2337"/>
                <a:gd name="T55" fmla="*/ 2072 h 2178"/>
                <a:gd name="T56" fmla="*/ 766 w 2337"/>
                <a:gd name="T57" fmla="*/ 1982 h 2178"/>
                <a:gd name="T58" fmla="*/ 703 w 2337"/>
                <a:gd name="T59" fmla="*/ 1904 h 2178"/>
                <a:gd name="T60" fmla="*/ 666 w 2337"/>
                <a:gd name="T61" fmla="*/ 1819 h 2178"/>
                <a:gd name="T62" fmla="*/ 630 w 2337"/>
                <a:gd name="T63" fmla="*/ 1688 h 2178"/>
                <a:gd name="T64" fmla="*/ 588 w 2337"/>
                <a:gd name="T65" fmla="*/ 1548 h 2178"/>
                <a:gd name="T66" fmla="*/ 494 w 2337"/>
                <a:gd name="T67" fmla="*/ 1540 h 2178"/>
                <a:gd name="T68" fmla="*/ 387 w 2337"/>
                <a:gd name="T69" fmla="*/ 1639 h 2178"/>
                <a:gd name="T70" fmla="*/ 307 w 2337"/>
                <a:gd name="T71" fmla="*/ 1667 h 2178"/>
                <a:gd name="T72" fmla="*/ 229 w 2337"/>
                <a:gd name="T73" fmla="*/ 1528 h 2178"/>
                <a:gd name="T74" fmla="*/ 176 w 2337"/>
                <a:gd name="T75" fmla="*/ 1397 h 2178"/>
                <a:gd name="T76" fmla="*/ 136 w 2337"/>
                <a:gd name="T77" fmla="*/ 1264 h 2178"/>
                <a:gd name="T78" fmla="*/ 74 w 2337"/>
                <a:gd name="T79" fmla="*/ 1140 h 2178"/>
                <a:gd name="T80" fmla="*/ 1 w 2337"/>
                <a:gd name="T81" fmla="*/ 1019 h 2178"/>
                <a:gd name="T82" fmla="*/ 79 w 2337"/>
                <a:gd name="T83" fmla="*/ 934 h 2178"/>
                <a:gd name="T84" fmla="*/ 170 w 2337"/>
                <a:gd name="T85" fmla="*/ 873 h 2178"/>
                <a:gd name="T86" fmla="*/ 249 w 2337"/>
                <a:gd name="T87" fmla="*/ 968 h 2178"/>
                <a:gd name="T88" fmla="*/ 289 w 2337"/>
                <a:gd name="T89" fmla="*/ 1045 h 2178"/>
                <a:gd name="T90" fmla="*/ 402 w 2337"/>
                <a:gd name="T91" fmla="*/ 1086 h 2178"/>
                <a:gd name="T92" fmla="*/ 555 w 2337"/>
                <a:gd name="T93" fmla="*/ 1089 h 2178"/>
                <a:gd name="T94" fmla="*/ 715 w 2337"/>
                <a:gd name="T95" fmla="*/ 1108 h 2178"/>
                <a:gd name="T96" fmla="*/ 790 w 2337"/>
                <a:gd name="T97" fmla="*/ 1030 h 2178"/>
                <a:gd name="T98" fmla="*/ 919 w 2337"/>
                <a:gd name="T99" fmla="*/ 975 h 2178"/>
                <a:gd name="T100" fmla="*/ 936 w 2337"/>
                <a:gd name="T101" fmla="*/ 267 h 2178"/>
                <a:gd name="T102" fmla="*/ 997 w 2337"/>
                <a:gd name="T103" fmla="*/ 41 h 2178"/>
                <a:gd name="T104" fmla="*/ 1072 w 2337"/>
                <a:gd name="T105" fmla="*/ 148 h 2178"/>
                <a:gd name="T106" fmla="*/ 1106 w 2337"/>
                <a:gd name="T107" fmla="*/ 233 h 2178"/>
                <a:gd name="T108" fmla="*/ 1147 w 2337"/>
                <a:gd name="T109" fmla="*/ 330 h 2178"/>
                <a:gd name="T110" fmla="*/ 1093 w 2337"/>
                <a:gd name="T111" fmla="*/ 455 h 2178"/>
                <a:gd name="T112" fmla="*/ 1128 w 2337"/>
                <a:gd name="T113" fmla="*/ 560 h 2178"/>
                <a:gd name="T114" fmla="*/ 1276 w 2337"/>
                <a:gd name="T115" fmla="*/ 550 h 2178"/>
                <a:gd name="T116" fmla="*/ 1390 w 2337"/>
                <a:gd name="T117" fmla="*/ 514 h 2178"/>
                <a:gd name="T118" fmla="*/ 1502 w 2337"/>
                <a:gd name="T119" fmla="*/ 436 h 2178"/>
                <a:gd name="T120" fmla="*/ 1609 w 2337"/>
                <a:gd name="T121" fmla="*/ 37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7" h="2178">
                  <a:moveTo>
                    <a:pt x="1618" y="361"/>
                  </a:moveTo>
                  <a:lnTo>
                    <a:pt x="1618" y="363"/>
                  </a:lnTo>
                  <a:lnTo>
                    <a:pt x="1620" y="363"/>
                  </a:lnTo>
                  <a:lnTo>
                    <a:pt x="1637" y="361"/>
                  </a:lnTo>
                  <a:lnTo>
                    <a:pt x="1637" y="368"/>
                  </a:lnTo>
                  <a:lnTo>
                    <a:pt x="1637" y="378"/>
                  </a:lnTo>
                  <a:lnTo>
                    <a:pt x="1637" y="392"/>
                  </a:lnTo>
                  <a:lnTo>
                    <a:pt x="1637" y="397"/>
                  </a:lnTo>
                  <a:lnTo>
                    <a:pt x="1637" y="409"/>
                  </a:lnTo>
                  <a:lnTo>
                    <a:pt x="1637" y="424"/>
                  </a:lnTo>
                  <a:lnTo>
                    <a:pt x="1637" y="439"/>
                  </a:lnTo>
                  <a:lnTo>
                    <a:pt x="1645" y="443"/>
                  </a:lnTo>
                  <a:lnTo>
                    <a:pt x="1660" y="450"/>
                  </a:lnTo>
                  <a:lnTo>
                    <a:pt x="1666" y="444"/>
                  </a:lnTo>
                  <a:lnTo>
                    <a:pt x="1671" y="434"/>
                  </a:lnTo>
                  <a:lnTo>
                    <a:pt x="1674" y="429"/>
                  </a:lnTo>
                  <a:lnTo>
                    <a:pt x="1683" y="400"/>
                  </a:lnTo>
                  <a:lnTo>
                    <a:pt x="1688" y="387"/>
                  </a:lnTo>
                  <a:lnTo>
                    <a:pt x="1689" y="368"/>
                  </a:lnTo>
                  <a:lnTo>
                    <a:pt x="1710" y="370"/>
                  </a:lnTo>
                  <a:lnTo>
                    <a:pt x="1711" y="354"/>
                  </a:lnTo>
                  <a:lnTo>
                    <a:pt x="1732" y="356"/>
                  </a:lnTo>
                  <a:lnTo>
                    <a:pt x="1739" y="341"/>
                  </a:lnTo>
                  <a:lnTo>
                    <a:pt x="1739" y="329"/>
                  </a:lnTo>
                  <a:lnTo>
                    <a:pt x="1739" y="325"/>
                  </a:lnTo>
                  <a:lnTo>
                    <a:pt x="1798" y="327"/>
                  </a:lnTo>
                  <a:lnTo>
                    <a:pt x="1817" y="330"/>
                  </a:lnTo>
                  <a:lnTo>
                    <a:pt x="1813" y="336"/>
                  </a:lnTo>
                  <a:lnTo>
                    <a:pt x="1807" y="353"/>
                  </a:lnTo>
                  <a:lnTo>
                    <a:pt x="1795" y="347"/>
                  </a:lnTo>
                  <a:lnTo>
                    <a:pt x="1776" y="344"/>
                  </a:lnTo>
                  <a:lnTo>
                    <a:pt x="1771" y="361"/>
                  </a:lnTo>
                  <a:lnTo>
                    <a:pt x="1779" y="359"/>
                  </a:lnTo>
                  <a:lnTo>
                    <a:pt x="1795" y="368"/>
                  </a:lnTo>
                  <a:lnTo>
                    <a:pt x="1783" y="383"/>
                  </a:lnTo>
                  <a:lnTo>
                    <a:pt x="1771" y="402"/>
                  </a:lnTo>
                  <a:lnTo>
                    <a:pt x="1786" y="421"/>
                  </a:lnTo>
                  <a:lnTo>
                    <a:pt x="1781" y="458"/>
                  </a:lnTo>
                  <a:lnTo>
                    <a:pt x="1832" y="472"/>
                  </a:lnTo>
                  <a:lnTo>
                    <a:pt x="1841" y="477"/>
                  </a:lnTo>
                  <a:lnTo>
                    <a:pt x="1863" y="494"/>
                  </a:lnTo>
                  <a:lnTo>
                    <a:pt x="1853" y="506"/>
                  </a:lnTo>
                  <a:lnTo>
                    <a:pt x="1839" y="523"/>
                  </a:lnTo>
                  <a:lnTo>
                    <a:pt x="1837" y="526"/>
                  </a:lnTo>
                  <a:lnTo>
                    <a:pt x="1846" y="531"/>
                  </a:lnTo>
                  <a:lnTo>
                    <a:pt x="1858" y="536"/>
                  </a:lnTo>
                  <a:lnTo>
                    <a:pt x="1870" y="540"/>
                  </a:lnTo>
                  <a:lnTo>
                    <a:pt x="1878" y="545"/>
                  </a:lnTo>
                  <a:lnTo>
                    <a:pt x="1888" y="546"/>
                  </a:lnTo>
                  <a:lnTo>
                    <a:pt x="1898" y="550"/>
                  </a:lnTo>
                  <a:lnTo>
                    <a:pt x="1907" y="553"/>
                  </a:lnTo>
                  <a:lnTo>
                    <a:pt x="1910" y="555"/>
                  </a:lnTo>
                  <a:lnTo>
                    <a:pt x="1919" y="560"/>
                  </a:lnTo>
                  <a:lnTo>
                    <a:pt x="1922" y="562"/>
                  </a:lnTo>
                  <a:lnTo>
                    <a:pt x="1931" y="567"/>
                  </a:lnTo>
                  <a:lnTo>
                    <a:pt x="1936" y="558"/>
                  </a:lnTo>
                  <a:lnTo>
                    <a:pt x="1948" y="558"/>
                  </a:lnTo>
                  <a:lnTo>
                    <a:pt x="1953" y="563"/>
                  </a:lnTo>
                  <a:lnTo>
                    <a:pt x="1958" y="567"/>
                  </a:lnTo>
                  <a:lnTo>
                    <a:pt x="1958" y="569"/>
                  </a:lnTo>
                  <a:lnTo>
                    <a:pt x="1960" y="569"/>
                  </a:lnTo>
                  <a:lnTo>
                    <a:pt x="1961" y="567"/>
                  </a:lnTo>
                  <a:lnTo>
                    <a:pt x="1966" y="575"/>
                  </a:lnTo>
                  <a:lnTo>
                    <a:pt x="1968" y="580"/>
                  </a:lnTo>
                  <a:lnTo>
                    <a:pt x="1975" y="596"/>
                  </a:lnTo>
                  <a:lnTo>
                    <a:pt x="1977" y="609"/>
                  </a:lnTo>
                  <a:lnTo>
                    <a:pt x="1978" y="609"/>
                  </a:lnTo>
                  <a:lnTo>
                    <a:pt x="1968" y="615"/>
                  </a:lnTo>
                  <a:lnTo>
                    <a:pt x="1961" y="616"/>
                  </a:lnTo>
                  <a:lnTo>
                    <a:pt x="1961" y="621"/>
                  </a:lnTo>
                  <a:lnTo>
                    <a:pt x="1954" y="632"/>
                  </a:lnTo>
                  <a:lnTo>
                    <a:pt x="1951" y="640"/>
                  </a:lnTo>
                  <a:lnTo>
                    <a:pt x="1949" y="645"/>
                  </a:lnTo>
                  <a:lnTo>
                    <a:pt x="1943" y="655"/>
                  </a:lnTo>
                  <a:lnTo>
                    <a:pt x="1939" y="659"/>
                  </a:lnTo>
                  <a:lnTo>
                    <a:pt x="1939" y="664"/>
                  </a:lnTo>
                  <a:lnTo>
                    <a:pt x="1951" y="669"/>
                  </a:lnTo>
                  <a:lnTo>
                    <a:pt x="1953" y="671"/>
                  </a:lnTo>
                  <a:lnTo>
                    <a:pt x="1954" y="671"/>
                  </a:lnTo>
                  <a:lnTo>
                    <a:pt x="1958" y="674"/>
                  </a:lnTo>
                  <a:lnTo>
                    <a:pt x="1970" y="683"/>
                  </a:lnTo>
                  <a:lnTo>
                    <a:pt x="1982" y="689"/>
                  </a:lnTo>
                  <a:lnTo>
                    <a:pt x="1988" y="689"/>
                  </a:lnTo>
                  <a:lnTo>
                    <a:pt x="1980" y="710"/>
                  </a:lnTo>
                  <a:lnTo>
                    <a:pt x="1978" y="718"/>
                  </a:lnTo>
                  <a:lnTo>
                    <a:pt x="1978" y="727"/>
                  </a:lnTo>
                  <a:lnTo>
                    <a:pt x="1978" y="730"/>
                  </a:lnTo>
                  <a:lnTo>
                    <a:pt x="1978" y="737"/>
                  </a:lnTo>
                  <a:lnTo>
                    <a:pt x="1977" y="744"/>
                  </a:lnTo>
                  <a:lnTo>
                    <a:pt x="1977" y="756"/>
                  </a:lnTo>
                  <a:lnTo>
                    <a:pt x="1994" y="761"/>
                  </a:lnTo>
                  <a:lnTo>
                    <a:pt x="1990" y="769"/>
                  </a:lnTo>
                  <a:lnTo>
                    <a:pt x="1988" y="781"/>
                  </a:lnTo>
                  <a:lnTo>
                    <a:pt x="1987" y="783"/>
                  </a:lnTo>
                  <a:lnTo>
                    <a:pt x="1992" y="793"/>
                  </a:lnTo>
                  <a:lnTo>
                    <a:pt x="2009" y="790"/>
                  </a:lnTo>
                  <a:lnTo>
                    <a:pt x="2017" y="786"/>
                  </a:lnTo>
                  <a:lnTo>
                    <a:pt x="2058" y="780"/>
                  </a:lnTo>
                  <a:lnTo>
                    <a:pt x="2068" y="778"/>
                  </a:lnTo>
                  <a:lnTo>
                    <a:pt x="2079" y="783"/>
                  </a:lnTo>
                  <a:lnTo>
                    <a:pt x="2068" y="798"/>
                  </a:lnTo>
                  <a:lnTo>
                    <a:pt x="2080" y="803"/>
                  </a:lnTo>
                  <a:lnTo>
                    <a:pt x="2077" y="812"/>
                  </a:lnTo>
                  <a:lnTo>
                    <a:pt x="2072" y="820"/>
                  </a:lnTo>
                  <a:lnTo>
                    <a:pt x="2068" y="820"/>
                  </a:lnTo>
                  <a:lnTo>
                    <a:pt x="2056" y="836"/>
                  </a:lnTo>
                  <a:lnTo>
                    <a:pt x="2055" y="837"/>
                  </a:lnTo>
                  <a:lnTo>
                    <a:pt x="2063" y="846"/>
                  </a:lnTo>
                  <a:lnTo>
                    <a:pt x="2067" y="841"/>
                  </a:lnTo>
                  <a:lnTo>
                    <a:pt x="2077" y="853"/>
                  </a:lnTo>
                  <a:lnTo>
                    <a:pt x="2082" y="856"/>
                  </a:lnTo>
                  <a:lnTo>
                    <a:pt x="2082" y="861"/>
                  </a:lnTo>
                  <a:lnTo>
                    <a:pt x="2075" y="870"/>
                  </a:lnTo>
                  <a:lnTo>
                    <a:pt x="2080" y="871"/>
                  </a:lnTo>
                  <a:lnTo>
                    <a:pt x="2082" y="873"/>
                  </a:lnTo>
                  <a:lnTo>
                    <a:pt x="2089" y="878"/>
                  </a:lnTo>
                  <a:lnTo>
                    <a:pt x="2094" y="883"/>
                  </a:lnTo>
                  <a:lnTo>
                    <a:pt x="2099" y="887"/>
                  </a:lnTo>
                  <a:lnTo>
                    <a:pt x="2106" y="880"/>
                  </a:lnTo>
                  <a:lnTo>
                    <a:pt x="2106" y="873"/>
                  </a:lnTo>
                  <a:lnTo>
                    <a:pt x="2113" y="870"/>
                  </a:lnTo>
                  <a:lnTo>
                    <a:pt x="2118" y="870"/>
                  </a:lnTo>
                  <a:lnTo>
                    <a:pt x="2123" y="861"/>
                  </a:lnTo>
                  <a:lnTo>
                    <a:pt x="2123" y="853"/>
                  </a:lnTo>
                  <a:lnTo>
                    <a:pt x="2121" y="849"/>
                  </a:lnTo>
                  <a:lnTo>
                    <a:pt x="2124" y="844"/>
                  </a:lnTo>
                  <a:lnTo>
                    <a:pt x="2119" y="836"/>
                  </a:lnTo>
                  <a:lnTo>
                    <a:pt x="2124" y="836"/>
                  </a:lnTo>
                  <a:lnTo>
                    <a:pt x="2130" y="831"/>
                  </a:lnTo>
                  <a:lnTo>
                    <a:pt x="2133" y="822"/>
                  </a:lnTo>
                  <a:lnTo>
                    <a:pt x="2143" y="822"/>
                  </a:lnTo>
                  <a:lnTo>
                    <a:pt x="2143" y="817"/>
                  </a:lnTo>
                  <a:lnTo>
                    <a:pt x="2135" y="808"/>
                  </a:lnTo>
                  <a:lnTo>
                    <a:pt x="2133" y="807"/>
                  </a:lnTo>
                  <a:lnTo>
                    <a:pt x="2136" y="803"/>
                  </a:lnTo>
                  <a:lnTo>
                    <a:pt x="2140" y="793"/>
                  </a:lnTo>
                  <a:lnTo>
                    <a:pt x="2143" y="791"/>
                  </a:lnTo>
                  <a:lnTo>
                    <a:pt x="2143" y="786"/>
                  </a:lnTo>
                  <a:lnTo>
                    <a:pt x="2138" y="778"/>
                  </a:lnTo>
                  <a:lnTo>
                    <a:pt x="2143" y="768"/>
                  </a:lnTo>
                  <a:lnTo>
                    <a:pt x="2147" y="768"/>
                  </a:lnTo>
                  <a:lnTo>
                    <a:pt x="2155" y="766"/>
                  </a:lnTo>
                  <a:lnTo>
                    <a:pt x="2160" y="764"/>
                  </a:lnTo>
                  <a:lnTo>
                    <a:pt x="2162" y="764"/>
                  </a:lnTo>
                  <a:lnTo>
                    <a:pt x="2160" y="757"/>
                  </a:lnTo>
                  <a:lnTo>
                    <a:pt x="2167" y="757"/>
                  </a:lnTo>
                  <a:lnTo>
                    <a:pt x="2167" y="764"/>
                  </a:lnTo>
                  <a:lnTo>
                    <a:pt x="2170" y="771"/>
                  </a:lnTo>
                  <a:lnTo>
                    <a:pt x="2169" y="778"/>
                  </a:lnTo>
                  <a:lnTo>
                    <a:pt x="2170" y="783"/>
                  </a:lnTo>
                  <a:lnTo>
                    <a:pt x="2181" y="781"/>
                  </a:lnTo>
                  <a:lnTo>
                    <a:pt x="2184" y="781"/>
                  </a:lnTo>
                  <a:lnTo>
                    <a:pt x="2192" y="781"/>
                  </a:lnTo>
                  <a:lnTo>
                    <a:pt x="2203" y="780"/>
                  </a:lnTo>
                  <a:lnTo>
                    <a:pt x="2208" y="778"/>
                  </a:lnTo>
                  <a:lnTo>
                    <a:pt x="2216" y="778"/>
                  </a:lnTo>
                  <a:lnTo>
                    <a:pt x="2223" y="778"/>
                  </a:lnTo>
                  <a:lnTo>
                    <a:pt x="2232" y="780"/>
                  </a:lnTo>
                  <a:lnTo>
                    <a:pt x="2235" y="781"/>
                  </a:lnTo>
                  <a:lnTo>
                    <a:pt x="2226" y="790"/>
                  </a:lnTo>
                  <a:lnTo>
                    <a:pt x="2221" y="795"/>
                  </a:lnTo>
                  <a:lnTo>
                    <a:pt x="2213" y="805"/>
                  </a:lnTo>
                  <a:lnTo>
                    <a:pt x="2206" y="812"/>
                  </a:lnTo>
                  <a:lnTo>
                    <a:pt x="2199" y="819"/>
                  </a:lnTo>
                  <a:lnTo>
                    <a:pt x="2192" y="825"/>
                  </a:lnTo>
                  <a:lnTo>
                    <a:pt x="2191" y="827"/>
                  </a:lnTo>
                  <a:lnTo>
                    <a:pt x="2187" y="831"/>
                  </a:lnTo>
                  <a:lnTo>
                    <a:pt x="2181" y="839"/>
                  </a:lnTo>
                  <a:lnTo>
                    <a:pt x="2184" y="837"/>
                  </a:lnTo>
                  <a:lnTo>
                    <a:pt x="2184" y="842"/>
                  </a:lnTo>
                  <a:lnTo>
                    <a:pt x="2175" y="844"/>
                  </a:lnTo>
                  <a:lnTo>
                    <a:pt x="2177" y="844"/>
                  </a:lnTo>
                  <a:lnTo>
                    <a:pt x="2181" y="851"/>
                  </a:lnTo>
                  <a:lnTo>
                    <a:pt x="2184" y="856"/>
                  </a:lnTo>
                  <a:lnTo>
                    <a:pt x="2199" y="880"/>
                  </a:lnTo>
                  <a:lnTo>
                    <a:pt x="2206" y="892"/>
                  </a:lnTo>
                  <a:lnTo>
                    <a:pt x="2213" y="883"/>
                  </a:lnTo>
                  <a:lnTo>
                    <a:pt x="2220" y="883"/>
                  </a:lnTo>
                  <a:lnTo>
                    <a:pt x="2226" y="882"/>
                  </a:lnTo>
                  <a:lnTo>
                    <a:pt x="2220" y="902"/>
                  </a:lnTo>
                  <a:lnTo>
                    <a:pt x="2216" y="907"/>
                  </a:lnTo>
                  <a:lnTo>
                    <a:pt x="2208" y="929"/>
                  </a:lnTo>
                  <a:lnTo>
                    <a:pt x="2199" y="928"/>
                  </a:lnTo>
                  <a:lnTo>
                    <a:pt x="2192" y="934"/>
                  </a:lnTo>
                  <a:lnTo>
                    <a:pt x="2184" y="934"/>
                  </a:lnTo>
                  <a:lnTo>
                    <a:pt x="2189" y="945"/>
                  </a:lnTo>
                  <a:lnTo>
                    <a:pt x="2201" y="948"/>
                  </a:lnTo>
                  <a:lnTo>
                    <a:pt x="2191" y="972"/>
                  </a:lnTo>
                  <a:lnTo>
                    <a:pt x="2191" y="977"/>
                  </a:lnTo>
                  <a:lnTo>
                    <a:pt x="2186" y="985"/>
                  </a:lnTo>
                  <a:lnTo>
                    <a:pt x="2182" y="989"/>
                  </a:lnTo>
                  <a:lnTo>
                    <a:pt x="2175" y="996"/>
                  </a:lnTo>
                  <a:lnTo>
                    <a:pt x="2181" y="999"/>
                  </a:lnTo>
                  <a:lnTo>
                    <a:pt x="2170" y="1030"/>
                  </a:lnTo>
                  <a:lnTo>
                    <a:pt x="2189" y="1035"/>
                  </a:lnTo>
                  <a:lnTo>
                    <a:pt x="2165" y="1075"/>
                  </a:lnTo>
                  <a:lnTo>
                    <a:pt x="2164" y="1077"/>
                  </a:lnTo>
                  <a:lnTo>
                    <a:pt x="2162" y="1082"/>
                  </a:lnTo>
                  <a:lnTo>
                    <a:pt x="2158" y="1089"/>
                  </a:lnTo>
                  <a:lnTo>
                    <a:pt x="2148" y="1106"/>
                  </a:lnTo>
                  <a:lnTo>
                    <a:pt x="2147" y="1106"/>
                  </a:lnTo>
                  <a:lnTo>
                    <a:pt x="2131" y="1135"/>
                  </a:lnTo>
                  <a:lnTo>
                    <a:pt x="2123" y="1149"/>
                  </a:lnTo>
                  <a:lnTo>
                    <a:pt x="2116" y="1161"/>
                  </a:lnTo>
                  <a:lnTo>
                    <a:pt x="2102" y="1184"/>
                  </a:lnTo>
                  <a:lnTo>
                    <a:pt x="2089" y="1212"/>
                  </a:lnTo>
                  <a:lnTo>
                    <a:pt x="2060" y="1263"/>
                  </a:lnTo>
                  <a:lnTo>
                    <a:pt x="2055" y="1271"/>
                  </a:lnTo>
                  <a:lnTo>
                    <a:pt x="2038" y="1300"/>
                  </a:lnTo>
                  <a:lnTo>
                    <a:pt x="2036" y="1302"/>
                  </a:lnTo>
                  <a:lnTo>
                    <a:pt x="2036" y="1303"/>
                  </a:lnTo>
                  <a:lnTo>
                    <a:pt x="2038" y="1303"/>
                  </a:lnTo>
                  <a:lnTo>
                    <a:pt x="2036" y="1315"/>
                  </a:lnTo>
                  <a:lnTo>
                    <a:pt x="2043" y="1322"/>
                  </a:lnTo>
                  <a:lnTo>
                    <a:pt x="2046" y="1329"/>
                  </a:lnTo>
                  <a:lnTo>
                    <a:pt x="2051" y="1337"/>
                  </a:lnTo>
                  <a:lnTo>
                    <a:pt x="2058" y="1344"/>
                  </a:lnTo>
                  <a:lnTo>
                    <a:pt x="2065" y="1344"/>
                  </a:lnTo>
                  <a:lnTo>
                    <a:pt x="2073" y="1346"/>
                  </a:lnTo>
                  <a:lnTo>
                    <a:pt x="2075" y="1351"/>
                  </a:lnTo>
                  <a:lnTo>
                    <a:pt x="2087" y="1353"/>
                  </a:lnTo>
                  <a:lnTo>
                    <a:pt x="2090" y="1361"/>
                  </a:lnTo>
                  <a:lnTo>
                    <a:pt x="2096" y="1366"/>
                  </a:lnTo>
                  <a:lnTo>
                    <a:pt x="2102" y="1371"/>
                  </a:lnTo>
                  <a:lnTo>
                    <a:pt x="2111" y="1371"/>
                  </a:lnTo>
                  <a:lnTo>
                    <a:pt x="2116" y="1368"/>
                  </a:lnTo>
                  <a:lnTo>
                    <a:pt x="2116" y="1378"/>
                  </a:lnTo>
                  <a:lnTo>
                    <a:pt x="2118" y="1388"/>
                  </a:lnTo>
                  <a:lnTo>
                    <a:pt x="2126" y="1390"/>
                  </a:lnTo>
                  <a:lnTo>
                    <a:pt x="2131" y="1392"/>
                  </a:lnTo>
                  <a:lnTo>
                    <a:pt x="2138" y="1392"/>
                  </a:lnTo>
                  <a:lnTo>
                    <a:pt x="2148" y="1394"/>
                  </a:lnTo>
                  <a:lnTo>
                    <a:pt x="2152" y="1400"/>
                  </a:lnTo>
                  <a:lnTo>
                    <a:pt x="2150" y="1409"/>
                  </a:lnTo>
                  <a:lnTo>
                    <a:pt x="2155" y="1416"/>
                  </a:lnTo>
                  <a:lnTo>
                    <a:pt x="2160" y="1419"/>
                  </a:lnTo>
                  <a:lnTo>
                    <a:pt x="2158" y="1426"/>
                  </a:lnTo>
                  <a:lnTo>
                    <a:pt x="2167" y="1431"/>
                  </a:lnTo>
                  <a:lnTo>
                    <a:pt x="2170" y="1441"/>
                  </a:lnTo>
                  <a:lnTo>
                    <a:pt x="2174" y="1450"/>
                  </a:lnTo>
                  <a:lnTo>
                    <a:pt x="2181" y="1448"/>
                  </a:lnTo>
                  <a:lnTo>
                    <a:pt x="2187" y="1455"/>
                  </a:lnTo>
                  <a:lnTo>
                    <a:pt x="2186" y="1462"/>
                  </a:lnTo>
                  <a:lnTo>
                    <a:pt x="2192" y="1467"/>
                  </a:lnTo>
                  <a:lnTo>
                    <a:pt x="2196" y="1472"/>
                  </a:lnTo>
                  <a:lnTo>
                    <a:pt x="2208" y="1470"/>
                  </a:lnTo>
                  <a:lnTo>
                    <a:pt x="2211" y="1479"/>
                  </a:lnTo>
                  <a:lnTo>
                    <a:pt x="2208" y="1485"/>
                  </a:lnTo>
                  <a:lnTo>
                    <a:pt x="2209" y="1491"/>
                  </a:lnTo>
                  <a:lnTo>
                    <a:pt x="2215" y="1489"/>
                  </a:lnTo>
                  <a:lnTo>
                    <a:pt x="2223" y="1494"/>
                  </a:lnTo>
                  <a:lnTo>
                    <a:pt x="2228" y="1502"/>
                  </a:lnTo>
                  <a:lnTo>
                    <a:pt x="2235" y="1508"/>
                  </a:lnTo>
                  <a:lnTo>
                    <a:pt x="2238" y="1513"/>
                  </a:lnTo>
                  <a:lnTo>
                    <a:pt x="2237" y="1516"/>
                  </a:lnTo>
                  <a:lnTo>
                    <a:pt x="2245" y="1523"/>
                  </a:lnTo>
                  <a:lnTo>
                    <a:pt x="2247" y="1526"/>
                  </a:lnTo>
                  <a:lnTo>
                    <a:pt x="2259" y="1528"/>
                  </a:lnTo>
                  <a:lnTo>
                    <a:pt x="2260" y="1531"/>
                  </a:lnTo>
                  <a:lnTo>
                    <a:pt x="2269" y="1540"/>
                  </a:lnTo>
                  <a:lnTo>
                    <a:pt x="2271" y="1543"/>
                  </a:lnTo>
                  <a:lnTo>
                    <a:pt x="2276" y="1548"/>
                  </a:lnTo>
                  <a:lnTo>
                    <a:pt x="2283" y="1543"/>
                  </a:lnTo>
                  <a:lnTo>
                    <a:pt x="2294" y="1543"/>
                  </a:lnTo>
                  <a:lnTo>
                    <a:pt x="2305" y="1548"/>
                  </a:lnTo>
                  <a:lnTo>
                    <a:pt x="2305" y="1550"/>
                  </a:lnTo>
                  <a:lnTo>
                    <a:pt x="2313" y="1557"/>
                  </a:lnTo>
                  <a:lnTo>
                    <a:pt x="2317" y="1560"/>
                  </a:lnTo>
                  <a:lnTo>
                    <a:pt x="2315" y="1564"/>
                  </a:lnTo>
                  <a:lnTo>
                    <a:pt x="2318" y="1574"/>
                  </a:lnTo>
                  <a:lnTo>
                    <a:pt x="2315" y="1576"/>
                  </a:lnTo>
                  <a:lnTo>
                    <a:pt x="2315" y="1586"/>
                  </a:lnTo>
                  <a:lnTo>
                    <a:pt x="2318" y="1588"/>
                  </a:lnTo>
                  <a:lnTo>
                    <a:pt x="2318" y="1593"/>
                  </a:lnTo>
                  <a:lnTo>
                    <a:pt x="2318" y="1601"/>
                  </a:lnTo>
                  <a:lnTo>
                    <a:pt x="2330" y="1606"/>
                  </a:lnTo>
                  <a:lnTo>
                    <a:pt x="2337" y="1605"/>
                  </a:lnTo>
                  <a:lnTo>
                    <a:pt x="2328" y="1616"/>
                  </a:lnTo>
                  <a:lnTo>
                    <a:pt x="2320" y="1620"/>
                  </a:lnTo>
                  <a:lnTo>
                    <a:pt x="2315" y="1627"/>
                  </a:lnTo>
                  <a:lnTo>
                    <a:pt x="2325" y="1633"/>
                  </a:lnTo>
                  <a:lnTo>
                    <a:pt x="2327" y="1635"/>
                  </a:lnTo>
                  <a:lnTo>
                    <a:pt x="2323" y="1642"/>
                  </a:lnTo>
                  <a:lnTo>
                    <a:pt x="2325" y="1649"/>
                  </a:lnTo>
                  <a:lnTo>
                    <a:pt x="2315" y="1656"/>
                  </a:lnTo>
                  <a:lnTo>
                    <a:pt x="2318" y="1662"/>
                  </a:lnTo>
                  <a:lnTo>
                    <a:pt x="2322" y="1662"/>
                  </a:lnTo>
                  <a:lnTo>
                    <a:pt x="2318" y="1671"/>
                  </a:lnTo>
                  <a:lnTo>
                    <a:pt x="2311" y="1674"/>
                  </a:lnTo>
                  <a:lnTo>
                    <a:pt x="2305" y="1678"/>
                  </a:lnTo>
                  <a:lnTo>
                    <a:pt x="2310" y="1681"/>
                  </a:lnTo>
                  <a:lnTo>
                    <a:pt x="2306" y="1688"/>
                  </a:lnTo>
                  <a:lnTo>
                    <a:pt x="2298" y="1696"/>
                  </a:lnTo>
                  <a:lnTo>
                    <a:pt x="2294" y="1695"/>
                  </a:lnTo>
                  <a:lnTo>
                    <a:pt x="2291" y="1701"/>
                  </a:lnTo>
                  <a:lnTo>
                    <a:pt x="2288" y="1713"/>
                  </a:lnTo>
                  <a:lnTo>
                    <a:pt x="2291" y="1719"/>
                  </a:lnTo>
                  <a:lnTo>
                    <a:pt x="2283" y="1724"/>
                  </a:lnTo>
                  <a:lnTo>
                    <a:pt x="2266" y="1717"/>
                  </a:lnTo>
                  <a:lnTo>
                    <a:pt x="2260" y="1719"/>
                  </a:lnTo>
                  <a:lnTo>
                    <a:pt x="2260" y="1717"/>
                  </a:lnTo>
                  <a:lnTo>
                    <a:pt x="2249" y="1712"/>
                  </a:lnTo>
                  <a:lnTo>
                    <a:pt x="2247" y="1712"/>
                  </a:lnTo>
                  <a:lnTo>
                    <a:pt x="2245" y="1712"/>
                  </a:lnTo>
                  <a:lnTo>
                    <a:pt x="2243" y="1719"/>
                  </a:lnTo>
                  <a:lnTo>
                    <a:pt x="2235" y="1724"/>
                  </a:lnTo>
                  <a:lnTo>
                    <a:pt x="2230" y="1722"/>
                  </a:lnTo>
                  <a:lnTo>
                    <a:pt x="2230" y="1725"/>
                  </a:lnTo>
                  <a:lnTo>
                    <a:pt x="2225" y="1724"/>
                  </a:lnTo>
                  <a:lnTo>
                    <a:pt x="2216" y="1730"/>
                  </a:lnTo>
                  <a:lnTo>
                    <a:pt x="2213" y="1730"/>
                  </a:lnTo>
                  <a:lnTo>
                    <a:pt x="2209" y="1729"/>
                  </a:lnTo>
                  <a:lnTo>
                    <a:pt x="2206" y="1732"/>
                  </a:lnTo>
                  <a:lnTo>
                    <a:pt x="2201" y="1732"/>
                  </a:lnTo>
                  <a:lnTo>
                    <a:pt x="2192" y="1730"/>
                  </a:lnTo>
                  <a:lnTo>
                    <a:pt x="2181" y="1737"/>
                  </a:lnTo>
                  <a:lnTo>
                    <a:pt x="2172" y="1746"/>
                  </a:lnTo>
                  <a:lnTo>
                    <a:pt x="2164" y="1744"/>
                  </a:lnTo>
                  <a:lnTo>
                    <a:pt x="2152" y="1747"/>
                  </a:lnTo>
                  <a:lnTo>
                    <a:pt x="2153" y="1756"/>
                  </a:lnTo>
                  <a:lnTo>
                    <a:pt x="2153" y="1759"/>
                  </a:lnTo>
                  <a:lnTo>
                    <a:pt x="2145" y="1756"/>
                  </a:lnTo>
                  <a:lnTo>
                    <a:pt x="2143" y="1756"/>
                  </a:lnTo>
                  <a:lnTo>
                    <a:pt x="2135" y="1764"/>
                  </a:lnTo>
                  <a:lnTo>
                    <a:pt x="2124" y="1766"/>
                  </a:lnTo>
                  <a:lnTo>
                    <a:pt x="2118" y="1766"/>
                  </a:lnTo>
                  <a:lnTo>
                    <a:pt x="2114" y="1770"/>
                  </a:lnTo>
                  <a:lnTo>
                    <a:pt x="2113" y="1768"/>
                  </a:lnTo>
                  <a:lnTo>
                    <a:pt x="2102" y="1763"/>
                  </a:lnTo>
                  <a:lnTo>
                    <a:pt x="2099" y="1764"/>
                  </a:lnTo>
                  <a:lnTo>
                    <a:pt x="2085" y="1766"/>
                  </a:lnTo>
                  <a:lnTo>
                    <a:pt x="2077" y="1771"/>
                  </a:lnTo>
                  <a:lnTo>
                    <a:pt x="2077" y="1775"/>
                  </a:lnTo>
                  <a:lnTo>
                    <a:pt x="2075" y="1788"/>
                  </a:lnTo>
                  <a:lnTo>
                    <a:pt x="2065" y="1793"/>
                  </a:lnTo>
                  <a:lnTo>
                    <a:pt x="2068" y="1797"/>
                  </a:lnTo>
                  <a:lnTo>
                    <a:pt x="2065" y="1805"/>
                  </a:lnTo>
                  <a:lnTo>
                    <a:pt x="2060" y="1812"/>
                  </a:lnTo>
                  <a:lnTo>
                    <a:pt x="2065" y="1821"/>
                  </a:lnTo>
                  <a:lnTo>
                    <a:pt x="2062" y="1832"/>
                  </a:lnTo>
                  <a:lnTo>
                    <a:pt x="2062" y="1839"/>
                  </a:lnTo>
                  <a:lnTo>
                    <a:pt x="2062" y="1848"/>
                  </a:lnTo>
                  <a:lnTo>
                    <a:pt x="2050" y="1848"/>
                  </a:lnTo>
                  <a:lnTo>
                    <a:pt x="2043" y="1849"/>
                  </a:lnTo>
                  <a:lnTo>
                    <a:pt x="2034" y="1844"/>
                  </a:lnTo>
                  <a:lnTo>
                    <a:pt x="2038" y="1849"/>
                  </a:lnTo>
                  <a:lnTo>
                    <a:pt x="2017" y="1851"/>
                  </a:lnTo>
                  <a:lnTo>
                    <a:pt x="2016" y="1851"/>
                  </a:lnTo>
                  <a:lnTo>
                    <a:pt x="2009" y="1860"/>
                  </a:lnTo>
                  <a:lnTo>
                    <a:pt x="2002" y="1865"/>
                  </a:lnTo>
                  <a:lnTo>
                    <a:pt x="1997" y="1861"/>
                  </a:lnTo>
                  <a:lnTo>
                    <a:pt x="1997" y="1865"/>
                  </a:lnTo>
                  <a:lnTo>
                    <a:pt x="1987" y="1860"/>
                  </a:lnTo>
                  <a:lnTo>
                    <a:pt x="1982" y="1860"/>
                  </a:lnTo>
                  <a:lnTo>
                    <a:pt x="1970" y="1858"/>
                  </a:lnTo>
                  <a:lnTo>
                    <a:pt x="1966" y="1865"/>
                  </a:lnTo>
                  <a:lnTo>
                    <a:pt x="1966" y="1870"/>
                  </a:lnTo>
                  <a:lnTo>
                    <a:pt x="1954" y="1872"/>
                  </a:lnTo>
                  <a:lnTo>
                    <a:pt x="1946" y="1875"/>
                  </a:lnTo>
                  <a:lnTo>
                    <a:pt x="1943" y="1866"/>
                  </a:lnTo>
                  <a:lnTo>
                    <a:pt x="1939" y="1865"/>
                  </a:lnTo>
                  <a:lnTo>
                    <a:pt x="1936" y="1855"/>
                  </a:lnTo>
                  <a:lnTo>
                    <a:pt x="1941" y="1849"/>
                  </a:lnTo>
                  <a:lnTo>
                    <a:pt x="1927" y="1848"/>
                  </a:lnTo>
                  <a:lnTo>
                    <a:pt x="1919" y="1849"/>
                  </a:lnTo>
                  <a:lnTo>
                    <a:pt x="1920" y="1851"/>
                  </a:lnTo>
                  <a:lnTo>
                    <a:pt x="1915" y="1860"/>
                  </a:lnTo>
                  <a:lnTo>
                    <a:pt x="1915" y="1866"/>
                  </a:lnTo>
                  <a:lnTo>
                    <a:pt x="1907" y="1872"/>
                  </a:lnTo>
                  <a:lnTo>
                    <a:pt x="1905" y="1880"/>
                  </a:lnTo>
                  <a:lnTo>
                    <a:pt x="1900" y="1884"/>
                  </a:lnTo>
                  <a:lnTo>
                    <a:pt x="1897" y="1882"/>
                  </a:lnTo>
                  <a:lnTo>
                    <a:pt x="1886" y="1868"/>
                  </a:lnTo>
                  <a:lnTo>
                    <a:pt x="1883" y="1868"/>
                  </a:lnTo>
                  <a:lnTo>
                    <a:pt x="1886" y="1865"/>
                  </a:lnTo>
                  <a:lnTo>
                    <a:pt x="1878" y="1863"/>
                  </a:lnTo>
                  <a:lnTo>
                    <a:pt x="1890" y="1855"/>
                  </a:lnTo>
                  <a:lnTo>
                    <a:pt x="1888" y="1851"/>
                  </a:lnTo>
                  <a:lnTo>
                    <a:pt x="1881" y="1851"/>
                  </a:lnTo>
                  <a:lnTo>
                    <a:pt x="1871" y="1846"/>
                  </a:lnTo>
                  <a:lnTo>
                    <a:pt x="1866" y="1846"/>
                  </a:lnTo>
                  <a:lnTo>
                    <a:pt x="1861" y="1834"/>
                  </a:lnTo>
                  <a:lnTo>
                    <a:pt x="1856" y="1832"/>
                  </a:lnTo>
                  <a:lnTo>
                    <a:pt x="1849" y="1834"/>
                  </a:lnTo>
                  <a:lnTo>
                    <a:pt x="1836" y="1836"/>
                  </a:lnTo>
                  <a:lnTo>
                    <a:pt x="1830" y="1834"/>
                  </a:lnTo>
                  <a:lnTo>
                    <a:pt x="1825" y="1838"/>
                  </a:lnTo>
                  <a:lnTo>
                    <a:pt x="1819" y="1844"/>
                  </a:lnTo>
                  <a:lnTo>
                    <a:pt x="1808" y="1844"/>
                  </a:lnTo>
                  <a:lnTo>
                    <a:pt x="1807" y="1848"/>
                  </a:lnTo>
                  <a:lnTo>
                    <a:pt x="1798" y="1848"/>
                  </a:lnTo>
                  <a:lnTo>
                    <a:pt x="1788" y="1844"/>
                  </a:lnTo>
                  <a:lnTo>
                    <a:pt x="1779" y="1843"/>
                  </a:lnTo>
                  <a:lnTo>
                    <a:pt x="1779" y="1839"/>
                  </a:lnTo>
                  <a:lnTo>
                    <a:pt x="1776" y="1851"/>
                  </a:lnTo>
                  <a:lnTo>
                    <a:pt x="1771" y="1851"/>
                  </a:lnTo>
                  <a:lnTo>
                    <a:pt x="1761" y="1849"/>
                  </a:lnTo>
                  <a:lnTo>
                    <a:pt x="1749" y="1855"/>
                  </a:lnTo>
                  <a:lnTo>
                    <a:pt x="1739" y="1866"/>
                  </a:lnTo>
                  <a:lnTo>
                    <a:pt x="1739" y="1868"/>
                  </a:lnTo>
                  <a:lnTo>
                    <a:pt x="1737" y="1878"/>
                  </a:lnTo>
                  <a:lnTo>
                    <a:pt x="1728" y="1887"/>
                  </a:lnTo>
                  <a:lnTo>
                    <a:pt x="1728" y="1889"/>
                  </a:lnTo>
                  <a:lnTo>
                    <a:pt x="1728" y="1894"/>
                  </a:lnTo>
                  <a:lnTo>
                    <a:pt x="1718" y="1901"/>
                  </a:lnTo>
                  <a:lnTo>
                    <a:pt x="1713" y="1906"/>
                  </a:lnTo>
                  <a:lnTo>
                    <a:pt x="1705" y="1914"/>
                  </a:lnTo>
                  <a:lnTo>
                    <a:pt x="1696" y="1916"/>
                  </a:lnTo>
                  <a:lnTo>
                    <a:pt x="1694" y="1921"/>
                  </a:lnTo>
                  <a:lnTo>
                    <a:pt x="1684" y="1914"/>
                  </a:lnTo>
                  <a:lnTo>
                    <a:pt x="1683" y="1902"/>
                  </a:lnTo>
                  <a:lnTo>
                    <a:pt x="1688" y="1897"/>
                  </a:lnTo>
                  <a:lnTo>
                    <a:pt x="1679" y="1894"/>
                  </a:lnTo>
                  <a:lnTo>
                    <a:pt x="1671" y="1892"/>
                  </a:lnTo>
                  <a:lnTo>
                    <a:pt x="1664" y="1890"/>
                  </a:lnTo>
                  <a:lnTo>
                    <a:pt x="1657" y="1890"/>
                  </a:lnTo>
                  <a:lnTo>
                    <a:pt x="1645" y="1894"/>
                  </a:lnTo>
                  <a:lnTo>
                    <a:pt x="1637" y="1890"/>
                  </a:lnTo>
                  <a:lnTo>
                    <a:pt x="1633" y="1878"/>
                  </a:lnTo>
                  <a:lnTo>
                    <a:pt x="1625" y="1884"/>
                  </a:lnTo>
                  <a:lnTo>
                    <a:pt x="1613" y="1889"/>
                  </a:lnTo>
                  <a:lnTo>
                    <a:pt x="1608" y="1880"/>
                  </a:lnTo>
                  <a:lnTo>
                    <a:pt x="1603" y="1873"/>
                  </a:lnTo>
                  <a:lnTo>
                    <a:pt x="1587" y="1878"/>
                  </a:lnTo>
                  <a:lnTo>
                    <a:pt x="1581" y="1878"/>
                  </a:lnTo>
                  <a:lnTo>
                    <a:pt x="1570" y="1880"/>
                  </a:lnTo>
                  <a:lnTo>
                    <a:pt x="1562" y="1875"/>
                  </a:lnTo>
                  <a:lnTo>
                    <a:pt x="1567" y="1865"/>
                  </a:lnTo>
                  <a:lnTo>
                    <a:pt x="1570" y="1858"/>
                  </a:lnTo>
                  <a:lnTo>
                    <a:pt x="1572" y="1853"/>
                  </a:lnTo>
                  <a:lnTo>
                    <a:pt x="1560" y="1851"/>
                  </a:lnTo>
                  <a:lnTo>
                    <a:pt x="1558" y="1841"/>
                  </a:lnTo>
                  <a:lnTo>
                    <a:pt x="1553" y="1841"/>
                  </a:lnTo>
                  <a:lnTo>
                    <a:pt x="1543" y="1839"/>
                  </a:lnTo>
                  <a:lnTo>
                    <a:pt x="1541" y="1839"/>
                  </a:lnTo>
                  <a:lnTo>
                    <a:pt x="1526" y="1831"/>
                  </a:lnTo>
                  <a:lnTo>
                    <a:pt x="1506" y="1822"/>
                  </a:lnTo>
                  <a:lnTo>
                    <a:pt x="1496" y="1815"/>
                  </a:lnTo>
                  <a:lnTo>
                    <a:pt x="1485" y="1819"/>
                  </a:lnTo>
                  <a:lnTo>
                    <a:pt x="1480" y="1838"/>
                  </a:lnTo>
                  <a:lnTo>
                    <a:pt x="1479" y="1838"/>
                  </a:lnTo>
                  <a:lnTo>
                    <a:pt x="1475" y="1848"/>
                  </a:lnTo>
                  <a:lnTo>
                    <a:pt x="1470" y="1856"/>
                  </a:lnTo>
                  <a:lnTo>
                    <a:pt x="1465" y="1863"/>
                  </a:lnTo>
                  <a:lnTo>
                    <a:pt x="1467" y="1872"/>
                  </a:lnTo>
                  <a:lnTo>
                    <a:pt x="1455" y="1877"/>
                  </a:lnTo>
                  <a:lnTo>
                    <a:pt x="1458" y="1878"/>
                  </a:lnTo>
                  <a:lnTo>
                    <a:pt x="1455" y="1899"/>
                  </a:lnTo>
                  <a:lnTo>
                    <a:pt x="1446" y="1895"/>
                  </a:lnTo>
                  <a:lnTo>
                    <a:pt x="1443" y="1890"/>
                  </a:lnTo>
                  <a:lnTo>
                    <a:pt x="1433" y="1889"/>
                  </a:lnTo>
                  <a:lnTo>
                    <a:pt x="1434" y="1894"/>
                  </a:lnTo>
                  <a:lnTo>
                    <a:pt x="1438" y="1901"/>
                  </a:lnTo>
                  <a:lnTo>
                    <a:pt x="1438" y="1907"/>
                  </a:lnTo>
                  <a:lnTo>
                    <a:pt x="1429" y="1911"/>
                  </a:lnTo>
                  <a:lnTo>
                    <a:pt x="1434" y="1919"/>
                  </a:lnTo>
                  <a:lnTo>
                    <a:pt x="1436" y="1928"/>
                  </a:lnTo>
                  <a:lnTo>
                    <a:pt x="1431" y="1931"/>
                  </a:lnTo>
                  <a:lnTo>
                    <a:pt x="1434" y="1940"/>
                  </a:lnTo>
                  <a:lnTo>
                    <a:pt x="1445" y="1943"/>
                  </a:lnTo>
                  <a:lnTo>
                    <a:pt x="1441" y="1946"/>
                  </a:lnTo>
                  <a:lnTo>
                    <a:pt x="1433" y="1965"/>
                  </a:lnTo>
                  <a:lnTo>
                    <a:pt x="1429" y="1948"/>
                  </a:lnTo>
                  <a:lnTo>
                    <a:pt x="1414" y="1957"/>
                  </a:lnTo>
                  <a:lnTo>
                    <a:pt x="1411" y="1974"/>
                  </a:lnTo>
                  <a:lnTo>
                    <a:pt x="1409" y="1982"/>
                  </a:lnTo>
                  <a:lnTo>
                    <a:pt x="1409" y="1980"/>
                  </a:lnTo>
                  <a:lnTo>
                    <a:pt x="1402" y="1984"/>
                  </a:lnTo>
                  <a:lnTo>
                    <a:pt x="1394" y="1986"/>
                  </a:lnTo>
                  <a:lnTo>
                    <a:pt x="1390" y="1996"/>
                  </a:lnTo>
                  <a:lnTo>
                    <a:pt x="1385" y="1994"/>
                  </a:lnTo>
                  <a:lnTo>
                    <a:pt x="1383" y="1999"/>
                  </a:lnTo>
                  <a:lnTo>
                    <a:pt x="1377" y="2001"/>
                  </a:lnTo>
                  <a:lnTo>
                    <a:pt x="1371" y="2001"/>
                  </a:lnTo>
                  <a:lnTo>
                    <a:pt x="1356" y="1994"/>
                  </a:lnTo>
                  <a:lnTo>
                    <a:pt x="1353" y="1994"/>
                  </a:lnTo>
                  <a:lnTo>
                    <a:pt x="1351" y="1987"/>
                  </a:lnTo>
                  <a:lnTo>
                    <a:pt x="1344" y="1987"/>
                  </a:lnTo>
                  <a:lnTo>
                    <a:pt x="1341" y="1980"/>
                  </a:lnTo>
                  <a:lnTo>
                    <a:pt x="1336" y="1987"/>
                  </a:lnTo>
                  <a:lnTo>
                    <a:pt x="1331" y="1992"/>
                  </a:lnTo>
                  <a:lnTo>
                    <a:pt x="1326" y="1991"/>
                  </a:lnTo>
                  <a:lnTo>
                    <a:pt x="1319" y="1982"/>
                  </a:lnTo>
                  <a:lnTo>
                    <a:pt x="1309" y="1982"/>
                  </a:lnTo>
                  <a:lnTo>
                    <a:pt x="1302" y="1986"/>
                  </a:lnTo>
                  <a:lnTo>
                    <a:pt x="1290" y="1987"/>
                  </a:lnTo>
                  <a:lnTo>
                    <a:pt x="1292" y="1994"/>
                  </a:lnTo>
                  <a:lnTo>
                    <a:pt x="1293" y="2004"/>
                  </a:lnTo>
                  <a:lnTo>
                    <a:pt x="1297" y="2011"/>
                  </a:lnTo>
                  <a:lnTo>
                    <a:pt x="1293" y="2014"/>
                  </a:lnTo>
                  <a:lnTo>
                    <a:pt x="1285" y="2016"/>
                  </a:lnTo>
                  <a:lnTo>
                    <a:pt x="1273" y="2014"/>
                  </a:lnTo>
                  <a:lnTo>
                    <a:pt x="1266" y="2021"/>
                  </a:lnTo>
                  <a:lnTo>
                    <a:pt x="1261" y="2026"/>
                  </a:lnTo>
                  <a:lnTo>
                    <a:pt x="1256" y="2025"/>
                  </a:lnTo>
                  <a:lnTo>
                    <a:pt x="1242" y="2032"/>
                  </a:lnTo>
                  <a:lnTo>
                    <a:pt x="1229" y="2026"/>
                  </a:lnTo>
                  <a:lnTo>
                    <a:pt x="1229" y="2033"/>
                  </a:lnTo>
                  <a:lnTo>
                    <a:pt x="1224" y="2043"/>
                  </a:lnTo>
                  <a:lnTo>
                    <a:pt x="1220" y="2047"/>
                  </a:lnTo>
                  <a:lnTo>
                    <a:pt x="1210" y="2050"/>
                  </a:lnTo>
                  <a:lnTo>
                    <a:pt x="1201" y="2060"/>
                  </a:lnTo>
                  <a:lnTo>
                    <a:pt x="1196" y="2062"/>
                  </a:lnTo>
                  <a:lnTo>
                    <a:pt x="1186" y="2084"/>
                  </a:lnTo>
                  <a:lnTo>
                    <a:pt x="1190" y="2094"/>
                  </a:lnTo>
                  <a:lnTo>
                    <a:pt x="1178" y="2098"/>
                  </a:lnTo>
                  <a:lnTo>
                    <a:pt x="1173" y="2101"/>
                  </a:lnTo>
                  <a:lnTo>
                    <a:pt x="1164" y="2101"/>
                  </a:lnTo>
                  <a:lnTo>
                    <a:pt x="1159" y="2100"/>
                  </a:lnTo>
                  <a:lnTo>
                    <a:pt x="1140" y="2096"/>
                  </a:lnTo>
                  <a:lnTo>
                    <a:pt x="1108" y="2103"/>
                  </a:lnTo>
                  <a:lnTo>
                    <a:pt x="1103" y="2111"/>
                  </a:lnTo>
                  <a:lnTo>
                    <a:pt x="1094" y="2117"/>
                  </a:lnTo>
                  <a:lnTo>
                    <a:pt x="1094" y="2122"/>
                  </a:lnTo>
                  <a:lnTo>
                    <a:pt x="1098" y="2127"/>
                  </a:lnTo>
                  <a:lnTo>
                    <a:pt x="1105" y="2135"/>
                  </a:lnTo>
                  <a:lnTo>
                    <a:pt x="1105" y="2144"/>
                  </a:lnTo>
                  <a:lnTo>
                    <a:pt x="1099" y="2156"/>
                  </a:lnTo>
                  <a:lnTo>
                    <a:pt x="1096" y="2164"/>
                  </a:lnTo>
                  <a:lnTo>
                    <a:pt x="1081" y="2169"/>
                  </a:lnTo>
                  <a:lnTo>
                    <a:pt x="1077" y="2178"/>
                  </a:lnTo>
                  <a:lnTo>
                    <a:pt x="1074" y="2178"/>
                  </a:lnTo>
                  <a:lnTo>
                    <a:pt x="1059" y="2174"/>
                  </a:lnTo>
                  <a:lnTo>
                    <a:pt x="1057" y="2174"/>
                  </a:lnTo>
                  <a:lnTo>
                    <a:pt x="1050" y="2178"/>
                  </a:lnTo>
                  <a:lnTo>
                    <a:pt x="1042" y="2178"/>
                  </a:lnTo>
                  <a:lnTo>
                    <a:pt x="1042" y="2173"/>
                  </a:lnTo>
                  <a:lnTo>
                    <a:pt x="1035" y="2161"/>
                  </a:lnTo>
                  <a:lnTo>
                    <a:pt x="1033" y="2162"/>
                  </a:lnTo>
                  <a:lnTo>
                    <a:pt x="1018" y="2178"/>
                  </a:lnTo>
                  <a:lnTo>
                    <a:pt x="1003" y="2178"/>
                  </a:lnTo>
                  <a:lnTo>
                    <a:pt x="987" y="2168"/>
                  </a:lnTo>
                  <a:lnTo>
                    <a:pt x="984" y="2169"/>
                  </a:lnTo>
                  <a:lnTo>
                    <a:pt x="984" y="2162"/>
                  </a:lnTo>
                  <a:lnTo>
                    <a:pt x="982" y="2157"/>
                  </a:lnTo>
                  <a:lnTo>
                    <a:pt x="979" y="2156"/>
                  </a:lnTo>
                  <a:lnTo>
                    <a:pt x="975" y="2152"/>
                  </a:lnTo>
                  <a:lnTo>
                    <a:pt x="969" y="2140"/>
                  </a:lnTo>
                  <a:lnTo>
                    <a:pt x="957" y="2140"/>
                  </a:lnTo>
                  <a:lnTo>
                    <a:pt x="946" y="2135"/>
                  </a:lnTo>
                  <a:lnTo>
                    <a:pt x="940" y="2127"/>
                  </a:lnTo>
                  <a:lnTo>
                    <a:pt x="941" y="2110"/>
                  </a:lnTo>
                  <a:lnTo>
                    <a:pt x="938" y="2105"/>
                  </a:lnTo>
                  <a:lnTo>
                    <a:pt x="928" y="2098"/>
                  </a:lnTo>
                  <a:lnTo>
                    <a:pt x="928" y="2089"/>
                  </a:lnTo>
                  <a:lnTo>
                    <a:pt x="923" y="2079"/>
                  </a:lnTo>
                  <a:lnTo>
                    <a:pt x="924" y="2076"/>
                  </a:lnTo>
                  <a:lnTo>
                    <a:pt x="918" y="2060"/>
                  </a:lnTo>
                  <a:lnTo>
                    <a:pt x="918" y="2054"/>
                  </a:lnTo>
                  <a:lnTo>
                    <a:pt x="918" y="2049"/>
                  </a:lnTo>
                  <a:lnTo>
                    <a:pt x="914" y="2033"/>
                  </a:lnTo>
                  <a:lnTo>
                    <a:pt x="928" y="2038"/>
                  </a:lnTo>
                  <a:lnTo>
                    <a:pt x="936" y="2030"/>
                  </a:lnTo>
                  <a:lnTo>
                    <a:pt x="938" y="2028"/>
                  </a:lnTo>
                  <a:lnTo>
                    <a:pt x="936" y="2020"/>
                  </a:lnTo>
                  <a:lnTo>
                    <a:pt x="950" y="2008"/>
                  </a:lnTo>
                  <a:lnTo>
                    <a:pt x="960" y="2009"/>
                  </a:lnTo>
                  <a:lnTo>
                    <a:pt x="958" y="2001"/>
                  </a:lnTo>
                  <a:lnTo>
                    <a:pt x="958" y="1994"/>
                  </a:lnTo>
                  <a:lnTo>
                    <a:pt x="957" y="1986"/>
                  </a:lnTo>
                  <a:lnTo>
                    <a:pt x="938" y="1987"/>
                  </a:lnTo>
                  <a:lnTo>
                    <a:pt x="941" y="1975"/>
                  </a:lnTo>
                  <a:lnTo>
                    <a:pt x="929" y="1977"/>
                  </a:lnTo>
                  <a:lnTo>
                    <a:pt x="924" y="1982"/>
                  </a:lnTo>
                  <a:lnTo>
                    <a:pt x="919" y="1994"/>
                  </a:lnTo>
                  <a:lnTo>
                    <a:pt x="909" y="1994"/>
                  </a:lnTo>
                  <a:lnTo>
                    <a:pt x="906" y="2004"/>
                  </a:lnTo>
                  <a:lnTo>
                    <a:pt x="904" y="2006"/>
                  </a:lnTo>
                  <a:lnTo>
                    <a:pt x="895" y="2014"/>
                  </a:lnTo>
                  <a:lnTo>
                    <a:pt x="885" y="2020"/>
                  </a:lnTo>
                  <a:lnTo>
                    <a:pt x="878" y="2026"/>
                  </a:lnTo>
                  <a:lnTo>
                    <a:pt x="863" y="2028"/>
                  </a:lnTo>
                  <a:lnTo>
                    <a:pt x="861" y="2028"/>
                  </a:lnTo>
                  <a:lnTo>
                    <a:pt x="855" y="2025"/>
                  </a:lnTo>
                  <a:lnTo>
                    <a:pt x="848" y="2023"/>
                  </a:lnTo>
                  <a:lnTo>
                    <a:pt x="843" y="2032"/>
                  </a:lnTo>
                  <a:lnTo>
                    <a:pt x="833" y="2037"/>
                  </a:lnTo>
                  <a:lnTo>
                    <a:pt x="826" y="2030"/>
                  </a:lnTo>
                  <a:lnTo>
                    <a:pt x="824" y="2037"/>
                  </a:lnTo>
                  <a:lnTo>
                    <a:pt x="819" y="2038"/>
                  </a:lnTo>
                  <a:lnTo>
                    <a:pt x="824" y="2045"/>
                  </a:lnTo>
                  <a:lnTo>
                    <a:pt x="816" y="2047"/>
                  </a:lnTo>
                  <a:lnTo>
                    <a:pt x="810" y="2050"/>
                  </a:lnTo>
                  <a:lnTo>
                    <a:pt x="805" y="2043"/>
                  </a:lnTo>
                  <a:lnTo>
                    <a:pt x="795" y="2052"/>
                  </a:lnTo>
                  <a:lnTo>
                    <a:pt x="797" y="2060"/>
                  </a:lnTo>
                  <a:lnTo>
                    <a:pt x="793" y="2067"/>
                  </a:lnTo>
                  <a:lnTo>
                    <a:pt x="792" y="2072"/>
                  </a:lnTo>
                  <a:lnTo>
                    <a:pt x="793" y="2077"/>
                  </a:lnTo>
                  <a:lnTo>
                    <a:pt x="792" y="2088"/>
                  </a:lnTo>
                  <a:lnTo>
                    <a:pt x="790" y="2094"/>
                  </a:lnTo>
                  <a:lnTo>
                    <a:pt x="787" y="2100"/>
                  </a:lnTo>
                  <a:lnTo>
                    <a:pt x="771" y="2106"/>
                  </a:lnTo>
                  <a:lnTo>
                    <a:pt x="768" y="2098"/>
                  </a:lnTo>
                  <a:lnTo>
                    <a:pt x="763" y="2089"/>
                  </a:lnTo>
                  <a:lnTo>
                    <a:pt x="761" y="2077"/>
                  </a:lnTo>
                  <a:lnTo>
                    <a:pt x="763" y="2059"/>
                  </a:lnTo>
                  <a:lnTo>
                    <a:pt x="768" y="2055"/>
                  </a:lnTo>
                  <a:lnTo>
                    <a:pt x="763" y="2054"/>
                  </a:lnTo>
                  <a:lnTo>
                    <a:pt x="758" y="2043"/>
                  </a:lnTo>
                  <a:lnTo>
                    <a:pt x="756" y="2037"/>
                  </a:lnTo>
                  <a:lnTo>
                    <a:pt x="751" y="2030"/>
                  </a:lnTo>
                  <a:lnTo>
                    <a:pt x="749" y="2025"/>
                  </a:lnTo>
                  <a:lnTo>
                    <a:pt x="748" y="2025"/>
                  </a:lnTo>
                  <a:lnTo>
                    <a:pt x="746" y="2018"/>
                  </a:lnTo>
                  <a:lnTo>
                    <a:pt x="742" y="2004"/>
                  </a:lnTo>
                  <a:lnTo>
                    <a:pt x="765" y="1994"/>
                  </a:lnTo>
                  <a:lnTo>
                    <a:pt x="763" y="1989"/>
                  </a:lnTo>
                  <a:lnTo>
                    <a:pt x="766" y="1982"/>
                  </a:lnTo>
                  <a:lnTo>
                    <a:pt x="766" y="1975"/>
                  </a:lnTo>
                  <a:lnTo>
                    <a:pt x="761" y="1965"/>
                  </a:lnTo>
                  <a:lnTo>
                    <a:pt x="770" y="1960"/>
                  </a:lnTo>
                  <a:lnTo>
                    <a:pt x="771" y="1957"/>
                  </a:lnTo>
                  <a:lnTo>
                    <a:pt x="770" y="1950"/>
                  </a:lnTo>
                  <a:lnTo>
                    <a:pt x="765" y="1958"/>
                  </a:lnTo>
                  <a:lnTo>
                    <a:pt x="765" y="1946"/>
                  </a:lnTo>
                  <a:lnTo>
                    <a:pt x="759" y="1946"/>
                  </a:lnTo>
                  <a:lnTo>
                    <a:pt x="753" y="1940"/>
                  </a:lnTo>
                  <a:lnTo>
                    <a:pt x="749" y="1935"/>
                  </a:lnTo>
                  <a:lnTo>
                    <a:pt x="741" y="1931"/>
                  </a:lnTo>
                  <a:lnTo>
                    <a:pt x="732" y="1938"/>
                  </a:lnTo>
                  <a:lnTo>
                    <a:pt x="724" y="1929"/>
                  </a:lnTo>
                  <a:lnTo>
                    <a:pt x="722" y="1923"/>
                  </a:lnTo>
                  <a:lnTo>
                    <a:pt x="714" y="1918"/>
                  </a:lnTo>
                  <a:lnTo>
                    <a:pt x="710" y="1921"/>
                  </a:lnTo>
                  <a:lnTo>
                    <a:pt x="707" y="1918"/>
                  </a:lnTo>
                  <a:lnTo>
                    <a:pt x="712" y="1906"/>
                  </a:lnTo>
                  <a:lnTo>
                    <a:pt x="715" y="1890"/>
                  </a:lnTo>
                  <a:lnTo>
                    <a:pt x="705" y="1901"/>
                  </a:lnTo>
                  <a:lnTo>
                    <a:pt x="703" y="1904"/>
                  </a:lnTo>
                  <a:lnTo>
                    <a:pt x="693" y="1912"/>
                  </a:lnTo>
                  <a:lnTo>
                    <a:pt x="691" y="1902"/>
                  </a:lnTo>
                  <a:lnTo>
                    <a:pt x="680" y="1901"/>
                  </a:lnTo>
                  <a:lnTo>
                    <a:pt x="676" y="1904"/>
                  </a:lnTo>
                  <a:lnTo>
                    <a:pt x="671" y="1902"/>
                  </a:lnTo>
                  <a:lnTo>
                    <a:pt x="668" y="1899"/>
                  </a:lnTo>
                  <a:lnTo>
                    <a:pt x="663" y="1899"/>
                  </a:lnTo>
                  <a:lnTo>
                    <a:pt x="656" y="1895"/>
                  </a:lnTo>
                  <a:lnTo>
                    <a:pt x="647" y="1894"/>
                  </a:lnTo>
                  <a:lnTo>
                    <a:pt x="647" y="1882"/>
                  </a:lnTo>
                  <a:lnTo>
                    <a:pt x="652" y="1882"/>
                  </a:lnTo>
                  <a:lnTo>
                    <a:pt x="656" y="1877"/>
                  </a:lnTo>
                  <a:lnTo>
                    <a:pt x="663" y="1872"/>
                  </a:lnTo>
                  <a:lnTo>
                    <a:pt x="657" y="1865"/>
                  </a:lnTo>
                  <a:lnTo>
                    <a:pt x="666" y="1860"/>
                  </a:lnTo>
                  <a:lnTo>
                    <a:pt x="661" y="1851"/>
                  </a:lnTo>
                  <a:lnTo>
                    <a:pt x="657" y="1848"/>
                  </a:lnTo>
                  <a:lnTo>
                    <a:pt x="656" y="1839"/>
                  </a:lnTo>
                  <a:lnTo>
                    <a:pt x="661" y="1838"/>
                  </a:lnTo>
                  <a:lnTo>
                    <a:pt x="659" y="1827"/>
                  </a:lnTo>
                  <a:lnTo>
                    <a:pt x="666" y="1819"/>
                  </a:lnTo>
                  <a:lnTo>
                    <a:pt x="664" y="1812"/>
                  </a:lnTo>
                  <a:lnTo>
                    <a:pt x="656" y="1814"/>
                  </a:lnTo>
                  <a:lnTo>
                    <a:pt x="659" y="1807"/>
                  </a:lnTo>
                  <a:lnTo>
                    <a:pt x="664" y="1800"/>
                  </a:lnTo>
                  <a:lnTo>
                    <a:pt x="652" y="1798"/>
                  </a:lnTo>
                  <a:lnTo>
                    <a:pt x="649" y="1795"/>
                  </a:lnTo>
                  <a:lnTo>
                    <a:pt x="644" y="1797"/>
                  </a:lnTo>
                  <a:lnTo>
                    <a:pt x="647" y="1793"/>
                  </a:lnTo>
                  <a:lnTo>
                    <a:pt x="652" y="1785"/>
                  </a:lnTo>
                  <a:lnTo>
                    <a:pt x="654" y="1773"/>
                  </a:lnTo>
                  <a:lnTo>
                    <a:pt x="651" y="1764"/>
                  </a:lnTo>
                  <a:lnTo>
                    <a:pt x="647" y="1759"/>
                  </a:lnTo>
                  <a:lnTo>
                    <a:pt x="639" y="1756"/>
                  </a:lnTo>
                  <a:lnTo>
                    <a:pt x="639" y="1754"/>
                  </a:lnTo>
                  <a:lnTo>
                    <a:pt x="644" y="1747"/>
                  </a:lnTo>
                  <a:lnTo>
                    <a:pt x="647" y="1742"/>
                  </a:lnTo>
                  <a:lnTo>
                    <a:pt x="635" y="1736"/>
                  </a:lnTo>
                  <a:lnTo>
                    <a:pt x="630" y="1724"/>
                  </a:lnTo>
                  <a:lnTo>
                    <a:pt x="632" y="1713"/>
                  </a:lnTo>
                  <a:lnTo>
                    <a:pt x="632" y="1691"/>
                  </a:lnTo>
                  <a:lnTo>
                    <a:pt x="630" y="1688"/>
                  </a:lnTo>
                  <a:lnTo>
                    <a:pt x="622" y="1676"/>
                  </a:lnTo>
                  <a:lnTo>
                    <a:pt x="620" y="1671"/>
                  </a:lnTo>
                  <a:lnTo>
                    <a:pt x="623" y="1656"/>
                  </a:lnTo>
                  <a:lnTo>
                    <a:pt x="642" y="1645"/>
                  </a:lnTo>
                  <a:lnTo>
                    <a:pt x="627" y="1639"/>
                  </a:lnTo>
                  <a:lnTo>
                    <a:pt x="617" y="1632"/>
                  </a:lnTo>
                  <a:lnTo>
                    <a:pt x="615" y="1630"/>
                  </a:lnTo>
                  <a:lnTo>
                    <a:pt x="635" y="1625"/>
                  </a:lnTo>
                  <a:lnTo>
                    <a:pt x="635" y="1611"/>
                  </a:lnTo>
                  <a:lnTo>
                    <a:pt x="635" y="1603"/>
                  </a:lnTo>
                  <a:lnTo>
                    <a:pt x="635" y="1599"/>
                  </a:lnTo>
                  <a:lnTo>
                    <a:pt x="635" y="1593"/>
                  </a:lnTo>
                  <a:lnTo>
                    <a:pt x="627" y="1591"/>
                  </a:lnTo>
                  <a:lnTo>
                    <a:pt x="620" y="1588"/>
                  </a:lnTo>
                  <a:lnTo>
                    <a:pt x="612" y="1586"/>
                  </a:lnTo>
                  <a:lnTo>
                    <a:pt x="603" y="1579"/>
                  </a:lnTo>
                  <a:lnTo>
                    <a:pt x="596" y="1574"/>
                  </a:lnTo>
                  <a:lnTo>
                    <a:pt x="595" y="1572"/>
                  </a:lnTo>
                  <a:lnTo>
                    <a:pt x="595" y="1560"/>
                  </a:lnTo>
                  <a:lnTo>
                    <a:pt x="591" y="1555"/>
                  </a:lnTo>
                  <a:lnTo>
                    <a:pt x="588" y="1548"/>
                  </a:lnTo>
                  <a:lnTo>
                    <a:pt x="586" y="1545"/>
                  </a:lnTo>
                  <a:lnTo>
                    <a:pt x="559" y="1543"/>
                  </a:lnTo>
                  <a:lnTo>
                    <a:pt x="554" y="1533"/>
                  </a:lnTo>
                  <a:lnTo>
                    <a:pt x="549" y="1525"/>
                  </a:lnTo>
                  <a:lnTo>
                    <a:pt x="544" y="1518"/>
                  </a:lnTo>
                  <a:lnTo>
                    <a:pt x="538" y="1509"/>
                  </a:lnTo>
                  <a:lnTo>
                    <a:pt x="520" y="1513"/>
                  </a:lnTo>
                  <a:lnTo>
                    <a:pt x="518" y="1523"/>
                  </a:lnTo>
                  <a:lnTo>
                    <a:pt x="516" y="1531"/>
                  </a:lnTo>
                  <a:lnTo>
                    <a:pt x="515" y="1533"/>
                  </a:lnTo>
                  <a:lnTo>
                    <a:pt x="518" y="1538"/>
                  </a:lnTo>
                  <a:lnTo>
                    <a:pt x="521" y="1547"/>
                  </a:lnTo>
                  <a:lnTo>
                    <a:pt x="525" y="1555"/>
                  </a:lnTo>
                  <a:lnTo>
                    <a:pt x="520" y="1548"/>
                  </a:lnTo>
                  <a:lnTo>
                    <a:pt x="504" y="1530"/>
                  </a:lnTo>
                  <a:lnTo>
                    <a:pt x="489" y="1516"/>
                  </a:lnTo>
                  <a:lnTo>
                    <a:pt x="489" y="1518"/>
                  </a:lnTo>
                  <a:lnTo>
                    <a:pt x="494" y="1530"/>
                  </a:lnTo>
                  <a:lnTo>
                    <a:pt x="498" y="1535"/>
                  </a:lnTo>
                  <a:lnTo>
                    <a:pt x="494" y="1538"/>
                  </a:lnTo>
                  <a:lnTo>
                    <a:pt x="494" y="1540"/>
                  </a:lnTo>
                  <a:lnTo>
                    <a:pt x="486" y="1552"/>
                  </a:lnTo>
                  <a:lnTo>
                    <a:pt x="486" y="1571"/>
                  </a:lnTo>
                  <a:lnTo>
                    <a:pt x="481" y="1576"/>
                  </a:lnTo>
                  <a:lnTo>
                    <a:pt x="470" y="1593"/>
                  </a:lnTo>
                  <a:lnTo>
                    <a:pt x="460" y="1606"/>
                  </a:lnTo>
                  <a:lnTo>
                    <a:pt x="457" y="1611"/>
                  </a:lnTo>
                  <a:lnTo>
                    <a:pt x="453" y="1615"/>
                  </a:lnTo>
                  <a:lnTo>
                    <a:pt x="443" y="1610"/>
                  </a:lnTo>
                  <a:lnTo>
                    <a:pt x="440" y="1611"/>
                  </a:lnTo>
                  <a:lnTo>
                    <a:pt x="442" y="1616"/>
                  </a:lnTo>
                  <a:lnTo>
                    <a:pt x="431" y="1620"/>
                  </a:lnTo>
                  <a:lnTo>
                    <a:pt x="425" y="1615"/>
                  </a:lnTo>
                  <a:lnTo>
                    <a:pt x="419" y="1610"/>
                  </a:lnTo>
                  <a:lnTo>
                    <a:pt x="413" y="1605"/>
                  </a:lnTo>
                  <a:lnTo>
                    <a:pt x="409" y="1603"/>
                  </a:lnTo>
                  <a:lnTo>
                    <a:pt x="404" y="1601"/>
                  </a:lnTo>
                  <a:lnTo>
                    <a:pt x="391" y="1605"/>
                  </a:lnTo>
                  <a:lnTo>
                    <a:pt x="387" y="1613"/>
                  </a:lnTo>
                  <a:lnTo>
                    <a:pt x="387" y="1615"/>
                  </a:lnTo>
                  <a:lnTo>
                    <a:pt x="387" y="1635"/>
                  </a:lnTo>
                  <a:lnTo>
                    <a:pt x="387" y="1639"/>
                  </a:lnTo>
                  <a:lnTo>
                    <a:pt x="380" y="1637"/>
                  </a:lnTo>
                  <a:lnTo>
                    <a:pt x="372" y="1639"/>
                  </a:lnTo>
                  <a:lnTo>
                    <a:pt x="367" y="1640"/>
                  </a:lnTo>
                  <a:lnTo>
                    <a:pt x="357" y="1640"/>
                  </a:lnTo>
                  <a:lnTo>
                    <a:pt x="357" y="1647"/>
                  </a:lnTo>
                  <a:lnTo>
                    <a:pt x="365" y="1657"/>
                  </a:lnTo>
                  <a:lnTo>
                    <a:pt x="368" y="1664"/>
                  </a:lnTo>
                  <a:lnTo>
                    <a:pt x="358" y="1671"/>
                  </a:lnTo>
                  <a:lnTo>
                    <a:pt x="357" y="1671"/>
                  </a:lnTo>
                  <a:lnTo>
                    <a:pt x="351" y="1674"/>
                  </a:lnTo>
                  <a:lnTo>
                    <a:pt x="345" y="1679"/>
                  </a:lnTo>
                  <a:lnTo>
                    <a:pt x="338" y="1684"/>
                  </a:lnTo>
                  <a:lnTo>
                    <a:pt x="345" y="1708"/>
                  </a:lnTo>
                  <a:lnTo>
                    <a:pt x="331" y="1703"/>
                  </a:lnTo>
                  <a:lnTo>
                    <a:pt x="329" y="1701"/>
                  </a:lnTo>
                  <a:lnTo>
                    <a:pt x="324" y="1701"/>
                  </a:lnTo>
                  <a:lnTo>
                    <a:pt x="319" y="1693"/>
                  </a:lnTo>
                  <a:lnTo>
                    <a:pt x="316" y="1683"/>
                  </a:lnTo>
                  <a:lnTo>
                    <a:pt x="311" y="1678"/>
                  </a:lnTo>
                  <a:lnTo>
                    <a:pt x="312" y="1676"/>
                  </a:lnTo>
                  <a:lnTo>
                    <a:pt x="307" y="1667"/>
                  </a:lnTo>
                  <a:lnTo>
                    <a:pt x="306" y="1661"/>
                  </a:lnTo>
                  <a:lnTo>
                    <a:pt x="300" y="1656"/>
                  </a:lnTo>
                  <a:lnTo>
                    <a:pt x="299" y="1652"/>
                  </a:lnTo>
                  <a:lnTo>
                    <a:pt x="292" y="1644"/>
                  </a:lnTo>
                  <a:lnTo>
                    <a:pt x="285" y="1639"/>
                  </a:lnTo>
                  <a:lnTo>
                    <a:pt x="283" y="1632"/>
                  </a:lnTo>
                  <a:lnTo>
                    <a:pt x="278" y="1623"/>
                  </a:lnTo>
                  <a:lnTo>
                    <a:pt x="280" y="1620"/>
                  </a:lnTo>
                  <a:lnTo>
                    <a:pt x="273" y="1611"/>
                  </a:lnTo>
                  <a:lnTo>
                    <a:pt x="268" y="1601"/>
                  </a:lnTo>
                  <a:lnTo>
                    <a:pt x="266" y="1591"/>
                  </a:lnTo>
                  <a:lnTo>
                    <a:pt x="260" y="1582"/>
                  </a:lnTo>
                  <a:lnTo>
                    <a:pt x="256" y="1579"/>
                  </a:lnTo>
                  <a:lnTo>
                    <a:pt x="255" y="1577"/>
                  </a:lnTo>
                  <a:lnTo>
                    <a:pt x="253" y="1576"/>
                  </a:lnTo>
                  <a:lnTo>
                    <a:pt x="251" y="1567"/>
                  </a:lnTo>
                  <a:lnTo>
                    <a:pt x="243" y="1560"/>
                  </a:lnTo>
                  <a:lnTo>
                    <a:pt x="246" y="1554"/>
                  </a:lnTo>
                  <a:lnTo>
                    <a:pt x="238" y="1543"/>
                  </a:lnTo>
                  <a:lnTo>
                    <a:pt x="238" y="1536"/>
                  </a:lnTo>
                  <a:lnTo>
                    <a:pt x="229" y="1528"/>
                  </a:lnTo>
                  <a:lnTo>
                    <a:pt x="227" y="1528"/>
                  </a:lnTo>
                  <a:lnTo>
                    <a:pt x="222" y="1518"/>
                  </a:lnTo>
                  <a:lnTo>
                    <a:pt x="224" y="1516"/>
                  </a:lnTo>
                  <a:lnTo>
                    <a:pt x="222" y="1514"/>
                  </a:lnTo>
                  <a:lnTo>
                    <a:pt x="221" y="1511"/>
                  </a:lnTo>
                  <a:lnTo>
                    <a:pt x="215" y="1502"/>
                  </a:lnTo>
                  <a:lnTo>
                    <a:pt x="212" y="1499"/>
                  </a:lnTo>
                  <a:lnTo>
                    <a:pt x="212" y="1494"/>
                  </a:lnTo>
                  <a:lnTo>
                    <a:pt x="207" y="1491"/>
                  </a:lnTo>
                  <a:lnTo>
                    <a:pt x="204" y="1484"/>
                  </a:lnTo>
                  <a:lnTo>
                    <a:pt x="204" y="1479"/>
                  </a:lnTo>
                  <a:lnTo>
                    <a:pt x="204" y="1470"/>
                  </a:lnTo>
                  <a:lnTo>
                    <a:pt x="200" y="1463"/>
                  </a:lnTo>
                  <a:lnTo>
                    <a:pt x="195" y="1455"/>
                  </a:lnTo>
                  <a:lnTo>
                    <a:pt x="192" y="1445"/>
                  </a:lnTo>
                  <a:lnTo>
                    <a:pt x="192" y="1438"/>
                  </a:lnTo>
                  <a:lnTo>
                    <a:pt x="185" y="1431"/>
                  </a:lnTo>
                  <a:lnTo>
                    <a:pt x="181" y="1419"/>
                  </a:lnTo>
                  <a:lnTo>
                    <a:pt x="183" y="1417"/>
                  </a:lnTo>
                  <a:lnTo>
                    <a:pt x="180" y="1407"/>
                  </a:lnTo>
                  <a:lnTo>
                    <a:pt x="176" y="1397"/>
                  </a:lnTo>
                  <a:lnTo>
                    <a:pt x="176" y="1390"/>
                  </a:lnTo>
                  <a:lnTo>
                    <a:pt x="170" y="1380"/>
                  </a:lnTo>
                  <a:lnTo>
                    <a:pt x="166" y="1377"/>
                  </a:lnTo>
                  <a:lnTo>
                    <a:pt x="164" y="1368"/>
                  </a:lnTo>
                  <a:lnTo>
                    <a:pt x="161" y="1363"/>
                  </a:lnTo>
                  <a:lnTo>
                    <a:pt x="163" y="1360"/>
                  </a:lnTo>
                  <a:lnTo>
                    <a:pt x="159" y="1354"/>
                  </a:lnTo>
                  <a:lnTo>
                    <a:pt x="156" y="1344"/>
                  </a:lnTo>
                  <a:lnTo>
                    <a:pt x="156" y="1343"/>
                  </a:lnTo>
                  <a:lnTo>
                    <a:pt x="156" y="1341"/>
                  </a:lnTo>
                  <a:lnTo>
                    <a:pt x="156" y="1339"/>
                  </a:lnTo>
                  <a:lnTo>
                    <a:pt x="151" y="1329"/>
                  </a:lnTo>
                  <a:lnTo>
                    <a:pt x="151" y="1319"/>
                  </a:lnTo>
                  <a:lnTo>
                    <a:pt x="151" y="1317"/>
                  </a:lnTo>
                  <a:lnTo>
                    <a:pt x="151" y="1312"/>
                  </a:lnTo>
                  <a:lnTo>
                    <a:pt x="146" y="1302"/>
                  </a:lnTo>
                  <a:lnTo>
                    <a:pt x="146" y="1292"/>
                  </a:lnTo>
                  <a:lnTo>
                    <a:pt x="142" y="1288"/>
                  </a:lnTo>
                  <a:lnTo>
                    <a:pt x="137" y="1280"/>
                  </a:lnTo>
                  <a:lnTo>
                    <a:pt x="137" y="1275"/>
                  </a:lnTo>
                  <a:lnTo>
                    <a:pt x="136" y="1264"/>
                  </a:lnTo>
                  <a:lnTo>
                    <a:pt x="134" y="1263"/>
                  </a:lnTo>
                  <a:lnTo>
                    <a:pt x="132" y="1252"/>
                  </a:lnTo>
                  <a:lnTo>
                    <a:pt x="130" y="1247"/>
                  </a:lnTo>
                  <a:lnTo>
                    <a:pt x="130" y="1244"/>
                  </a:lnTo>
                  <a:lnTo>
                    <a:pt x="124" y="1237"/>
                  </a:lnTo>
                  <a:lnTo>
                    <a:pt x="124" y="1227"/>
                  </a:lnTo>
                  <a:lnTo>
                    <a:pt x="122" y="1223"/>
                  </a:lnTo>
                  <a:lnTo>
                    <a:pt x="115" y="1218"/>
                  </a:lnTo>
                  <a:lnTo>
                    <a:pt x="112" y="1212"/>
                  </a:lnTo>
                  <a:lnTo>
                    <a:pt x="107" y="1206"/>
                  </a:lnTo>
                  <a:lnTo>
                    <a:pt x="107" y="1203"/>
                  </a:lnTo>
                  <a:lnTo>
                    <a:pt x="105" y="1195"/>
                  </a:lnTo>
                  <a:lnTo>
                    <a:pt x="96" y="1184"/>
                  </a:lnTo>
                  <a:lnTo>
                    <a:pt x="98" y="1178"/>
                  </a:lnTo>
                  <a:lnTo>
                    <a:pt x="96" y="1172"/>
                  </a:lnTo>
                  <a:lnTo>
                    <a:pt x="93" y="1162"/>
                  </a:lnTo>
                  <a:lnTo>
                    <a:pt x="91" y="1157"/>
                  </a:lnTo>
                  <a:lnTo>
                    <a:pt x="91" y="1154"/>
                  </a:lnTo>
                  <a:lnTo>
                    <a:pt x="88" y="1149"/>
                  </a:lnTo>
                  <a:lnTo>
                    <a:pt x="83" y="1144"/>
                  </a:lnTo>
                  <a:lnTo>
                    <a:pt x="74" y="1140"/>
                  </a:lnTo>
                  <a:lnTo>
                    <a:pt x="69" y="1130"/>
                  </a:lnTo>
                  <a:lnTo>
                    <a:pt x="68" y="1128"/>
                  </a:lnTo>
                  <a:lnTo>
                    <a:pt x="68" y="1123"/>
                  </a:lnTo>
                  <a:lnTo>
                    <a:pt x="62" y="1120"/>
                  </a:lnTo>
                  <a:lnTo>
                    <a:pt x="59" y="1108"/>
                  </a:lnTo>
                  <a:lnTo>
                    <a:pt x="52" y="1103"/>
                  </a:lnTo>
                  <a:lnTo>
                    <a:pt x="40" y="1096"/>
                  </a:lnTo>
                  <a:lnTo>
                    <a:pt x="37" y="1094"/>
                  </a:lnTo>
                  <a:lnTo>
                    <a:pt x="37" y="1086"/>
                  </a:lnTo>
                  <a:lnTo>
                    <a:pt x="32" y="1081"/>
                  </a:lnTo>
                  <a:lnTo>
                    <a:pt x="32" y="1075"/>
                  </a:lnTo>
                  <a:lnTo>
                    <a:pt x="30" y="1067"/>
                  </a:lnTo>
                  <a:lnTo>
                    <a:pt x="27" y="1065"/>
                  </a:lnTo>
                  <a:lnTo>
                    <a:pt x="30" y="1055"/>
                  </a:lnTo>
                  <a:lnTo>
                    <a:pt x="20" y="1050"/>
                  </a:lnTo>
                  <a:lnTo>
                    <a:pt x="15" y="1040"/>
                  </a:lnTo>
                  <a:lnTo>
                    <a:pt x="13" y="1040"/>
                  </a:lnTo>
                  <a:lnTo>
                    <a:pt x="11" y="1038"/>
                  </a:lnTo>
                  <a:lnTo>
                    <a:pt x="6" y="1035"/>
                  </a:lnTo>
                  <a:lnTo>
                    <a:pt x="0" y="1030"/>
                  </a:lnTo>
                  <a:lnTo>
                    <a:pt x="1" y="1019"/>
                  </a:lnTo>
                  <a:lnTo>
                    <a:pt x="8" y="1013"/>
                  </a:lnTo>
                  <a:lnTo>
                    <a:pt x="20" y="1009"/>
                  </a:lnTo>
                  <a:lnTo>
                    <a:pt x="25" y="1007"/>
                  </a:lnTo>
                  <a:lnTo>
                    <a:pt x="37" y="1004"/>
                  </a:lnTo>
                  <a:lnTo>
                    <a:pt x="39" y="1004"/>
                  </a:lnTo>
                  <a:lnTo>
                    <a:pt x="44" y="996"/>
                  </a:lnTo>
                  <a:lnTo>
                    <a:pt x="51" y="990"/>
                  </a:lnTo>
                  <a:lnTo>
                    <a:pt x="57" y="987"/>
                  </a:lnTo>
                  <a:lnTo>
                    <a:pt x="62" y="989"/>
                  </a:lnTo>
                  <a:lnTo>
                    <a:pt x="64" y="994"/>
                  </a:lnTo>
                  <a:lnTo>
                    <a:pt x="73" y="994"/>
                  </a:lnTo>
                  <a:lnTo>
                    <a:pt x="78" y="985"/>
                  </a:lnTo>
                  <a:lnTo>
                    <a:pt x="85" y="980"/>
                  </a:lnTo>
                  <a:lnTo>
                    <a:pt x="83" y="970"/>
                  </a:lnTo>
                  <a:lnTo>
                    <a:pt x="83" y="967"/>
                  </a:lnTo>
                  <a:lnTo>
                    <a:pt x="91" y="960"/>
                  </a:lnTo>
                  <a:lnTo>
                    <a:pt x="93" y="958"/>
                  </a:lnTo>
                  <a:lnTo>
                    <a:pt x="88" y="955"/>
                  </a:lnTo>
                  <a:lnTo>
                    <a:pt x="86" y="948"/>
                  </a:lnTo>
                  <a:lnTo>
                    <a:pt x="79" y="943"/>
                  </a:lnTo>
                  <a:lnTo>
                    <a:pt x="79" y="934"/>
                  </a:lnTo>
                  <a:lnTo>
                    <a:pt x="85" y="931"/>
                  </a:lnTo>
                  <a:lnTo>
                    <a:pt x="91" y="936"/>
                  </a:lnTo>
                  <a:lnTo>
                    <a:pt x="98" y="934"/>
                  </a:lnTo>
                  <a:lnTo>
                    <a:pt x="98" y="928"/>
                  </a:lnTo>
                  <a:lnTo>
                    <a:pt x="93" y="921"/>
                  </a:lnTo>
                  <a:lnTo>
                    <a:pt x="95" y="919"/>
                  </a:lnTo>
                  <a:lnTo>
                    <a:pt x="107" y="919"/>
                  </a:lnTo>
                  <a:lnTo>
                    <a:pt x="100" y="910"/>
                  </a:lnTo>
                  <a:lnTo>
                    <a:pt x="100" y="907"/>
                  </a:lnTo>
                  <a:lnTo>
                    <a:pt x="110" y="910"/>
                  </a:lnTo>
                  <a:lnTo>
                    <a:pt x="115" y="909"/>
                  </a:lnTo>
                  <a:lnTo>
                    <a:pt x="115" y="897"/>
                  </a:lnTo>
                  <a:lnTo>
                    <a:pt x="113" y="887"/>
                  </a:lnTo>
                  <a:lnTo>
                    <a:pt x="119" y="882"/>
                  </a:lnTo>
                  <a:lnTo>
                    <a:pt x="132" y="882"/>
                  </a:lnTo>
                  <a:lnTo>
                    <a:pt x="137" y="878"/>
                  </a:lnTo>
                  <a:lnTo>
                    <a:pt x="144" y="882"/>
                  </a:lnTo>
                  <a:lnTo>
                    <a:pt x="149" y="876"/>
                  </a:lnTo>
                  <a:lnTo>
                    <a:pt x="158" y="875"/>
                  </a:lnTo>
                  <a:lnTo>
                    <a:pt x="164" y="871"/>
                  </a:lnTo>
                  <a:lnTo>
                    <a:pt x="170" y="873"/>
                  </a:lnTo>
                  <a:lnTo>
                    <a:pt x="176" y="880"/>
                  </a:lnTo>
                  <a:lnTo>
                    <a:pt x="180" y="887"/>
                  </a:lnTo>
                  <a:lnTo>
                    <a:pt x="190" y="888"/>
                  </a:lnTo>
                  <a:lnTo>
                    <a:pt x="193" y="890"/>
                  </a:lnTo>
                  <a:lnTo>
                    <a:pt x="195" y="897"/>
                  </a:lnTo>
                  <a:lnTo>
                    <a:pt x="193" y="902"/>
                  </a:lnTo>
                  <a:lnTo>
                    <a:pt x="192" y="910"/>
                  </a:lnTo>
                  <a:lnTo>
                    <a:pt x="190" y="916"/>
                  </a:lnTo>
                  <a:lnTo>
                    <a:pt x="193" y="922"/>
                  </a:lnTo>
                  <a:lnTo>
                    <a:pt x="198" y="928"/>
                  </a:lnTo>
                  <a:lnTo>
                    <a:pt x="210" y="926"/>
                  </a:lnTo>
                  <a:lnTo>
                    <a:pt x="215" y="928"/>
                  </a:lnTo>
                  <a:lnTo>
                    <a:pt x="224" y="922"/>
                  </a:lnTo>
                  <a:lnTo>
                    <a:pt x="229" y="922"/>
                  </a:lnTo>
                  <a:lnTo>
                    <a:pt x="236" y="929"/>
                  </a:lnTo>
                  <a:lnTo>
                    <a:pt x="238" y="934"/>
                  </a:lnTo>
                  <a:lnTo>
                    <a:pt x="243" y="941"/>
                  </a:lnTo>
                  <a:lnTo>
                    <a:pt x="241" y="948"/>
                  </a:lnTo>
                  <a:lnTo>
                    <a:pt x="248" y="956"/>
                  </a:lnTo>
                  <a:lnTo>
                    <a:pt x="249" y="962"/>
                  </a:lnTo>
                  <a:lnTo>
                    <a:pt x="249" y="968"/>
                  </a:lnTo>
                  <a:lnTo>
                    <a:pt x="243" y="979"/>
                  </a:lnTo>
                  <a:lnTo>
                    <a:pt x="232" y="979"/>
                  </a:lnTo>
                  <a:lnTo>
                    <a:pt x="229" y="989"/>
                  </a:lnTo>
                  <a:lnTo>
                    <a:pt x="231" y="994"/>
                  </a:lnTo>
                  <a:lnTo>
                    <a:pt x="238" y="997"/>
                  </a:lnTo>
                  <a:lnTo>
                    <a:pt x="239" y="1004"/>
                  </a:lnTo>
                  <a:lnTo>
                    <a:pt x="241" y="1014"/>
                  </a:lnTo>
                  <a:lnTo>
                    <a:pt x="249" y="1011"/>
                  </a:lnTo>
                  <a:lnTo>
                    <a:pt x="253" y="1014"/>
                  </a:lnTo>
                  <a:lnTo>
                    <a:pt x="251" y="1021"/>
                  </a:lnTo>
                  <a:lnTo>
                    <a:pt x="253" y="1026"/>
                  </a:lnTo>
                  <a:lnTo>
                    <a:pt x="253" y="1035"/>
                  </a:lnTo>
                  <a:lnTo>
                    <a:pt x="248" y="1041"/>
                  </a:lnTo>
                  <a:lnTo>
                    <a:pt x="248" y="1052"/>
                  </a:lnTo>
                  <a:lnTo>
                    <a:pt x="249" y="1053"/>
                  </a:lnTo>
                  <a:lnTo>
                    <a:pt x="261" y="1048"/>
                  </a:lnTo>
                  <a:lnTo>
                    <a:pt x="263" y="1050"/>
                  </a:lnTo>
                  <a:lnTo>
                    <a:pt x="268" y="1047"/>
                  </a:lnTo>
                  <a:lnTo>
                    <a:pt x="277" y="1048"/>
                  </a:lnTo>
                  <a:lnTo>
                    <a:pt x="282" y="1048"/>
                  </a:lnTo>
                  <a:lnTo>
                    <a:pt x="289" y="1045"/>
                  </a:lnTo>
                  <a:lnTo>
                    <a:pt x="297" y="1047"/>
                  </a:lnTo>
                  <a:lnTo>
                    <a:pt x="299" y="1052"/>
                  </a:lnTo>
                  <a:lnTo>
                    <a:pt x="299" y="1060"/>
                  </a:lnTo>
                  <a:lnTo>
                    <a:pt x="300" y="1064"/>
                  </a:lnTo>
                  <a:lnTo>
                    <a:pt x="309" y="1069"/>
                  </a:lnTo>
                  <a:lnTo>
                    <a:pt x="317" y="1065"/>
                  </a:lnTo>
                  <a:lnTo>
                    <a:pt x="323" y="1060"/>
                  </a:lnTo>
                  <a:lnTo>
                    <a:pt x="331" y="1064"/>
                  </a:lnTo>
                  <a:lnTo>
                    <a:pt x="334" y="1058"/>
                  </a:lnTo>
                  <a:lnTo>
                    <a:pt x="343" y="1064"/>
                  </a:lnTo>
                  <a:lnTo>
                    <a:pt x="353" y="1064"/>
                  </a:lnTo>
                  <a:lnTo>
                    <a:pt x="355" y="1065"/>
                  </a:lnTo>
                  <a:lnTo>
                    <a:pt x="362" y="1065"/>
                  </a:lnTo>
                  <a:lnTo>
                    <a:pt x="368" y="1065"/>
                  </a:lnTo>
                  <a:lnTo>
                    <a:pt x="375" y="1067"/>
                  </a:lnTo>
                  <a:lnTo>
                    <a:pt x="379" y="1065"/>
                  </a:lnTo>
                  <a:lnTo>
                    <a:pt x="384" y="1072"/>
                  </a:lnTo>
                  <a:lnTo>
                    <a:pt x="391" y="1070"/>
                  </a:lnTo>
                  <a:lnTo>
                    <a:pt x="397" y="1077"/>
                  </a:lnTo>
                  <a:lnTo>
                    <a:pt x="402" y="1082"/>
                  </a:lnTo>
                  <a:lnTo>
                    <a:pt x="402" y="1086"/>
                  </a:lnTo>
                  <a:lnTo>
                    <a:pt x="406" y="1087"/>
                  </a:lnTo>
                  <a:lnTo>
                    <a:pt x="411" y="1094"/>
                  </a:lnTo>
                  <a:lnTo>
                    <a:pt x="421" y="1094"/>
                  </a:lnTo>
                  <a:lnTo>
                    <a:pt x="425" y="1096"/>
                  </a:lnTo>
                  <a:lnTo>
                    <a:pt x="433" y="1101"/>
                  </a:lnTo>
                  <a:lnTo>
                    <a:pt x="442" y="1101"/>
                  </a:lnTo>
                  <a:lnTo>
                    <a:pt x="448" y="1106"/>
                  </a:lnTo>
                  <a:lnTo>
                    <a:pt x="455" y="1099"/>
                  </a:lnTo>
                  <a:lnTo>
                    <a:pt x="465" y="1101"/>
                  </a:lnTo>
                  <a:lnTo>
                    <a:pt x="467" y="1096"/>
                  </a:lnTo>
                  <a:lnTo>
                    <a:pt x="477" y="1098"/>
                  </a:lnTo>
                  <a:lnTo>
                    <a:pt x="491" y="1096"/>
                  </a:lnTo>
                  <a:lnTo>
                    <a:pt x="494" y="1099"/>
                  </a:lnTo>
                  <a:lnTo>
                    <a:pt x="504" y="1101"/>
                  </a:lnTo>
                  <a:lnTo>
                    <a:pt x="510" y="1101"/>
                  </a:lnTo>
                  <a:lnTo>
                    <a:pt x="515" y="1099"/>
                  </a:lnTo>
                  <a:lnTo>
                    <a:pt x="521" y="1098"/>
                  </a:lnTo>
                  <a:lnTo>
                    <a:pt x="532" y="1099"/>
                  </a:lnTo>
                  <a:lnTo>
                    <a:pt x="538" y="1093"/>
                  </a:lnTo>
                  <a:lnTo>
                    <a:pt x="547" y="1091"/>
                  </a:lnTo>
                  <a:lnTo>
                    <a:pt x="555" y="1089"/>
                  </a:lnTo>
                  <a:lnTo>
                    <a:pt x="562" y="1086"/>
                  </a:lnTo>
                  <a:lnTo>
                    <a:pt x="571" y="1087"/>
                  </a:lnTo>
                  <a:lnTo>
                    <a:pt x="578" y="1086"/>
                  </a:lnTo>
                  <a:lnTo>
                    <a:pt x="589" y="1084"/>
                  </a:lnTo>
                  <a:lnTo>
                    <a:pt x="595" y="1084"/>
                  </a:lnTo>
                  <a:lnTo>
                    <a:pt x="601" y="1087"/>
                  </a:lnTo>
                  <a:lnTo>
                    <a:pt x="613" y="1086"/>
                  </a:lnTo>
                  <a:lnTo>
                    <a:pt x="618" y="1087"/>
                  </a:lnTo>
                  <a:lnTo>
                    <a:pt x="622" y="1087"/>
                  </a:lnTo>
                  <a:lnTo>
                    <a:pt x="634" y="1089"/>
                  </a:lnTo>
                  <a:lnTo>
                    <a:pt x="642" y="1091"/>
                  </a:lnTo>
                  <a:lnTo>
                    <a:pt x="651" y="1094"/>
                  </a:lnTo>
                  <a:lnTo>
                    <a:pt x="656" y="1098"/>
                  </a:lnTo>
                  <a:lnTo>
                    <a:pt x="661" y="1110"/>
                  </a:lnTo>
                  <a:lnTo>
                    <a:pt x="669" y="1110"/>
                  </a:lnTo>
                  <a:lnTo>
                    <a:pt x="676" y="1116"/>
                  </a:lnTo>
                  <a:lnTo>
                    <a:pt x="683" y="1120"/>
                  </a:lnTo>
                  <a:lnTo>
                    <a:pt x="688" y="1120"/>
                  </a:lnTo>
                  <a:lnTo>
                    <a:pt x="698" y="1118"/>
                  </a:lnTo>
                  <a:lnTo>
                    <a:pt x="708" y="1115"/>
                  </a:lnTo>
                  <a:lnTo>
                    <a:pt x="715" y="1108"/>
                  </a:lnTo>
                  <a:lnTo>
                    <a:pt x="719" y="1104"/>
                  </a:lnTo>
                  <a:lnTo>
                    <a:pt x="722" y="1103"/>
                  </a:lnTo>
                  <a:lnTo>
                    <a:pt x="731" y="1104"/>
                  </a:lnTo>
                  <a:lnTo>
                    <a:pt x="736" y="1099"/>
                  </a:lnTo>
                  <a:lnTo>
                    <a:pt x="734" y="1096"/>
                  </a:lnTo>
                  <a:lnTo>
                    <a:pt x="725" y="1091"/>
                  </a:lnTo>
                  <a:lnTo>
                    <a:pt x="722" y="1082"/>
                  </a:lnTo>
                  <a:lnTo>
                    <a:pt x="720" y="1079"/>
                  </a:lnTo>
                  <a:lnTo>
                    <a:pt x="720" y="1077"/>
                  </a:lnTo>
                  <a:lnTo>
                    <a:pt x="725" y="1069"/>
                  </a:lnTo>
                  <a:lnTo>
                    <a:pt x="725" y="1064"/>
                  </a:lnTo>
                  <a:lnTo>
                    <a:pt x="729" y="1060"/>
                  </a:lnTo>
                  <a:lnTo>
                    <a:pt x="737" y="1057"/>
                  </a:lnTo>
                  <a:lnTo>
                    <a:pt x="749" y="1060"/>
                  </a:lnTo>
                  <a:lnTo>
                    <a:pt x="759" y="1057"/>
                  </a:lnTo>
                  <a:lnTo>
                    <a:pt x="763" y="1058"/>
                  </a:lnTo>
                  <a:lnTo>
                    <a:pt x="771" y="1053"/>
                  </a:lnTo>
                  <a:lnTo>
                    <a:pt x="780" y="1050"/>
                  </a:lnTo>
                  <a:lnTo>
                    <a:pt x="787" y="1043"/>
                  </a:lnTo>
                  <a:lnTo>
                    <a:pt x="788" y="1031"/>
                  </a:lnTo>
                  <a:lnTo>
                    <a:pt x="790" y="1030"/>
                  </a:lnTo>
                  <a:lnTo>
                    <a:pt x="790" y="1023"/>
                  </a:lnTo>
                  <a:lnTo>
                    <a:pt x="799" y="1018"/>
                  </a:lnTo>
                  <a:lnTo>
                    <a:pt x="802" y="1006"/>
                  </a:lnTo>
                  <a:lnTo>
                    <a:pt x="807" y="1002"/>
                  </a:lnTo>
                  <a:lnTo>
                    <a:pt x="812" y="1002"/>
                  </a:lnTo>
                  <a:lnTo>
                    <a:pt x="822" y="997"/>
                  </a:lnTo>
                  <a:lnTo>
                    <a:pt x="834" y="1004"/>
                  </a:lnTo>
                  <a:lnTo>
                    <a:pt x="834" y="1001"/>
                  </a:lnTo>
                  <a:lnTo>
                    <a:pt x="841" y="999"/>
                  </a:lnTo>
                  <a:lnTo>
                    <a:pt x="846" y="994"/>
                  </a:lnTo>
                  <a:lnTo>
                    <a:pt x="851" y="990"/>
                  </a:lnTo>
                  <a:lnTo>
                    <a:pt x="858" y="992"/>
                  </a:lnTo>
                  <a:lnTo>
                    <a:pt x="863" y="996"/>
                  </a:lnTo>
                  <a:lnTo>
                    <a:pt x="872" y="997"/>
                  </a:lnTo>
                  <a:lnTo>
                    <a:pt x="878" y="990"/>
                  </a:lnTo>
                  <a:lnTo>
                    <a:pt x="880" y="984"/>
                  </a:lnTo>
                  <a:lnTo>
                    <a:pt x="889" y="980"/>
                  </a:lnTo>
                  <a:lnTo>
                    <a:pt x="897" y="980"/>
                  </a:lnTo>
                  <a:lnTo>
                    <a:pt x="906" y="979"/>
                  </a:lnTo>
                  <a:lnTo>
                    <a:pt x="912" y="975"/>
                  </a:lnTo>
                  <a:lnTo>
                    <a:pt x="919" y="975"/>
                  </a:lnTo>
                  <a:lnTo>
                    <a:pt x="921" y="929"/>
                  </a:lnTo>
                  <a:lnTo>
                    <a:pt x="923" y="887"/>
                  </a:lnTo>
                  <a:lnTo>
                    <a:pt x="923" y="858"/>
                  </a:lnTo>
                  <a:lnTo>
                    <a:pt x="924" y="802"/>
                  </a:lnTo>
                  <a:lnTo>
                    <a:pt x="926" y="727"/>
                  </a:lnTo>
                  <a:lnTo>
                    <a:pt x="926" y="688"/>
                  </a:lnTo>
                  <a:lnTo>
                    <a:pt x="929" y="586"/>
                  </a:lnTo>
                  <a:lnTo>
                    <a:pt x="929" y="548"/>
                  </a:lnTo>
                  <a:lnTo>
                    <a:pt x="929" y="531"/>
                  </a:lnTo>
                  <a:lnTo>
                    <a:pt x="931" y="494"/>
                  </a:lnTo>
                  <a:lnTo>
                    <a:pt x="931" y="451"/>
                  </a:lnTo>
                  <a:lnTo>
                    <a:pt x="931" y="448"/>
                  </a:lnTo>
                  <a:lnTo>
                    <a:pt x="933" y="422"/>
                  </a:lnTo>
                  <a:lnTo>
                    <a:pt x="933" y="404"/>
                  </a:lnTo>
                  <a:lnTo>
                    <a:pt x="933" y="368"/>
                  </a:lnTo>
                  <a:lnTo>
                    <a:pt x="933" y="361"/>
                  </a:lnTo>
                  <a:lnTo>
                    <a:pt x="933" y="354"/>
                  </a:lnTo>
                  <a:lnTo>
                    <a:pt x="935" y="329"/>
                  </a:lnTo>
                  <a:lnTo>
                    <a:pt x="935" y="308"/>
                  </a:lnTo>
                  <a:lnTo>
                    <a:pt x="935" y="271"/>
                  </a:lnTo>
                  <a:lnTo>
                    <a:pt x="936" y="267"/>
                  </a:lnTo>
                  <a:lnTo>
                    <a:pt x="936" y="230"/>
                  </a:lnTo>
                  <a:lnTo>
                    <a:pt x="936" y="225"/>
                  </a:lnTo>
                  <a:lnTo>
                    <a:pt x="936" y="205"/>
                  </a:lnTo>
                  <a:lnTo>
                    <a:pt x="938" y="176"/>
                  </a:lnTo>
                  <a:lnTo>
                    <a:pt x="938" y="137"/>
                  </a:lnTo>
                  <a:lnTo>
                    <a:pt x="940" y="91"/>
                  </a:lnTo>
                  <a:lnTo>
                    <a:pt x="940" y="62"/>
                  </a:lnTo>
                  <a:lnTo>
                    <a:pt x="940" y="46"/>
                  </a:lnTo>
                  <a:lnTo>
                    <a:pt x="940" y="19"/>
                  </a:lnTo>
                  <a:lnTo>
                    <a:pt x="941" y="0"/>
                  </a:lnTo>
                  <a:lnTo>
                    <a:pt x="948" y="7"/>
                  </a:lnTo>
                  <a:lnTo>
                    <a:pt x="952" y="12"/>
                  </a:lnTo>
                  <a:lnTo>
                    <a:pt x="958" y="14"/>
                  </a:lnTo>
                  <a:lnTo>
                    <a:pt x="958" y="17"/>
                  </a:lnTo>
                  <a:lnTo>
                    <a:pt x="963" y="19"/>
                  </a:lnTo>
                  <a:lnTo>
                    <a:pt x="963" y="24"/>
                  </a:lnTo>
                  <a:lnTo>
                    <a:pt x="972" y="33"/>
                  </a:lnTo>
                  <a:lnTo>
                    <a:pt x="979" y="31"/>
                  </a:lnTo>
                  <a:lnTo>
                    <a:pt x="987" y="40"/>
                  </a:lnTo>
                  <a:lnTo>
                    <a:pt x="994" y="36"/>
                  </a:lnTo>
                  <a:lnTo>
                    <a:pt x="997" y="41"/>
                  </a:lnTo>
                  <a:lnTo>
                    <a:pt x="1008" y="43"/>
                  </a:lnTo>
                  <a:lnTo>
                    <a:pt x="1014" y="51"/>
                  </a:lnTo>
                  <a:lnTo>
                    <a:pt x="1018" y="58"/>
                  </a:lnTo>
                  <a:lnTo>
                    <a:pt x="1025" y="65"/>
                  </a:lnTo>
                  <a:lnTo>
                    <a:pt x="1031" y="65"/>
                  </a:lnTo>
                  <a:lnTo>
                    <a:pt x="1033" y="70"/>
                  </a:lnTo>
                  <a:lnTo>
                    <a:pt x="1040" y="72"/>
                  </a:lnTo>
                  <a:lnTo>
                    <a:pt x="1038" y="80"/>
                  </a:lnTo>
                  <a:lnTo>
                    <a:pt x="1047" y="85"/>
                  </a:lnTo>
                  <a:lnTo>
                    <a:pt x="1047" y="91"/>
                  </a:lnTo>
                  <a:lnTo>
                    <a:pt x="1052" y="94"/>
                  </a:lnTo>
                  <a:lnTo>
                    <a:pt x="1052" y="104"/>
                  </a:lnTo>
                  <a:lnTo>
                    <a:pt x="1060" y="106"/>
                  </a:lnTo>
                  <a:lnTo>
                    <a:pt x="1060" y="111"/>
                  </a:lnTo>
                  <a:lnTo>
                    <a:pt x="1055" y="116"/>
                  </a:lnTo>
                  <a:lnTo>
                    <a:pt x="1062" y="125"/>
                  </a:lnTo>
                  <a:lnTo>
                    <a:pt x="1069" y="125"/>
                  </a:lnTo>
                  <a:lnTo>
                    <a:pt x="1065" y="131"/>
                  </a:lnTo>
                  <a:lnTo>
                    <a:pt x="1069" y="137"/>
                  </a:lnTo>
                  <a:lnTo>
                    <a:pt x="1081" y="140"/>
                  </a:lnTo>
                  <a:lnTo>
                    <a:pt x="1072" y="148"/>
                  </a:lnTo>
                  <a:lnTo>
                    <a:pt x="1081" y="148"/>
                  </a:lnTo>
                  <a:lnTo>
                    <a:pt x="1079" y="155"/>
                  </a:lnTo>
                  <a:lnTo>
                    <a:pt x="1081" y="162"/>
                  </a:lnTo>
                  <a:lnTo>
                    <a:pt x="1084" y="167"/>
                  </a:lnTo>
                  <a:lnTo>
                    <a:pt x="1094" y="169"/>
                  </a:lnTo>
                  <a:lnTo>
                    <a:pt x="1094" y="177"/>
                  </a:lnTo>
                  <a:lnTo>
                    <a:pt x="1101" y="177"/>
                  </a:lnTo>
                  <a:lnTo>
                    <a:pt x="1098" y="182"/>
                  </a:lnTo>
                  <a:lnTo>
                    <a:pt x="1099" y="186"/>
                  </a:lnTo>
                  <a:lnTo>
                    <a:pt x="1110" y="182"/>
                  </a:lnTo>
                  <a:lnTo>
                    <a:pt x="1113" y="184"/>
                  </a:lnTo>
                  <a:lnTo>
                    <a:pt x="1111" y="188"/>
                  </a:lnTo>
                  <a:lnTo>
                    <a:pt x="1103" y="189"/>
                  </a:lnTo>
                  <a:lnTo>
                    <a:pt x="1105" y="196"/>
                  </a:lnTo>
                  <a:lnTo>
                    <a:pt x="1101" y="203"/>
                  </a:lnTo>
                  <a:lnTo>
                    <a:pt x="1111" y="210"/>
                  </a:lnTo>
                  <a:lnTo>
                    <a:pt x="1113" y="215"/>
                  </a:lnTo>
                  <a:lnTo>
                    <a:pt x="1118" y="220"/>
                  </a:lnTo>
                  <a:lnTo>
                    <a:pt x="1118" y="222"/>
                  </a:lnTo>
                  <a:lnTo>
                    <a:pt x="1110" y="225"/>
                  </a:lnTo>
                  <a:lnTo>
                    <a:pt x="1106" y="233"/>
                  </a:lnTo>
                  <a:lnTo>
                    <a:pt x="1115" y="232"/>
                  </a:lnTo>
                  <a:lnTo>
                    <a:pt x="1111" y="242"/>
                  </a:lnTo>
                  <a:lnTo>
                    <a:pt x="1113" y="247"/>
                  </a:lnTo>
                  <a:lnTo>
                    <a:pt x="1120" y="252"/>
                  </a:lnTo>
                  <a:lnTo>
                    <a:pt x="1123" y="254"/>
                  </a:lnTo>
                  <a:lnTo>
                    <a:pt x="1127" y="262"/>
                  </a:lnTo>
                  <a:lnTo>
                    <a:pt x="1127" y="269"/>
                  </a:lnTo>
                  <a:lnTo>
                    <a:pt x="1135" y="271"/>
                  </a:lnTo>
                  <a:lnTo>
                    <a:pt x="1135" y="273"/>
                  </a:lnTo>
                  <a:lnTo>
                    <a:pt x="1128" y="283"/>
                  </a:lnTo>
                  <a:lnTo>
                    <a:pt x="1132" y="283"/>
                  </a:lnTo>
                  <a:lnTo>
                    <a:pt x="1140" y="278"/>
                  </a:lnTo>
                  <a:lnTo>
                    <a:pt x="1140" y="286"/>
                  </a:lnTo>
                  <a:lnTo>
                    <a:pt x="1139" y="291"/>
                  </a:lnTo>
                  <a:lnTo>
                    <a:pt x="1147" y="295"/>
                  </a:lnTo>
                  <a:lnTo>
                    <a:pt x="1142" y="303"/>
                  </a:lnTo>
                  <a:lnTo>
                    <a:pt x="1144" y="308"/>
                  </a:lnTo>
                  <a:lnTo>
                    <a:pt x="1152" y="317"/>
                  </a:lnTo>
                  <a:lnTo>
                    <a:pt x="1154" y="319"/>
                  </a:lnTo>
                  <a:lnTo>
                    <a:pt x="1150" y="327"/>
                  </a:lnTo>
                  <a:lnTo>
                    <a:pt x="1147" y="330"/>
                  </a:lnTo>
                  <a:lnTo>
                    <a:pt x="1152" y="339"/>
                  </a:lnTo>
                  <a:lnTo>
                    <a:pt x="1147" y="346"/>
                  </a:lnTo>
                  <a:lnTo>
                    <a:pt x="1152" y="351"/>
                  </a:lnTo>
                  <a:lnTo>
                    <a:pt x="1147" y="358"/>
                  </a:lnTo>
                  <a:lnTo>
                    <a:pt x="1152" y="363"/>
                  </a:lnTo>
                  <a:lnTo>
                    <a:pt x="1159" y="364"/>
                  </a:lnTo>
                  <a:lnTo>
                    <a:pt x="1154" y="373"/>
                  </a:lnTo>
                  <a:lnTo>
                    <a:pt x="1147" y="378"/>
                  </a:lnTo>
                  <a:lnTo>
                    <a:pt x="1145" y="387"/>
                  </a:lnTo>
                  <a:lnTo>
                    <a:pt x="1142" y="395"/>
                  </a:lnTo>
                  <a:lnTo>
                    <a:pt x="1139" y="398"/>
                  </a:lnTo>
                  <a:lnTo>
                    <a:pt x="1139" y="402"/>
                  </a:lnTo>
                  <a:lnTo>
                    <a:pt x="1130" y="405"/>
                  </a:lnTo>
                  <a:lnTo>
                    <a:pt x="1127" y="414"/>
                  </a:lnTo>
                  <a:lnTo>
                    <a:pt x="1120" y="419"/>
                  </a:lnTo>
                  <a:lnTo>
                    <a:pt x="1113" y="427"/>
                  </a:lnTo>
                  <a:lnTo>
                    <a:pt x="1113" y="436"/>
                  </a:lnTo>
                  <a:lnTo>
                    <a:pt x="1108" y="436"/>
                  </a:lnTo>
                  <a:lnTo>
                    <a:pt x="1101" y="444"/>
                  </a:lnTo>
                  <a:lnTo>
                    <a:pt x="1093" y="448"/>
                  </a:lnTo>
                  <a:lnTo>
                    <a:pt x="1093" y="455"/>
                  </a:lnTo>
                  <a:lnTo>
                    <a:pt x="1091" y="463"/>
                  </a:lnTo>
                  <a:lnTo>
                    <a:pt x="1089" y="467"/>
                  </a:lnTo>
                  <a:lnTo>
                    <a:pt x="1089" y="472"/>
                  </a:lnTo>
                  <a:lnTo>
                    <a:pt x="1089" y="478"/>
                  </a:lnTo>
                  <a:lnTo>
                    <a:pt x="1096" y="487"/>
                  </a:lnTo>
                  <a:lnTo>
                    <a:pt x="1096" y="494"/>
                  </a:lnTo>
                  <a:lnTo>
                    <a:pt x="1094" y="501"/>
                  </a:lnTo>
                  <a:lnTo>
                    <a:pt x="1096" y="507"/>
                  </a:lnTo>
                  <a:lnTo>
                    <a:pt x="1091" y="512"/>
                  </a:lnTo>
                  <a:lnTo>
                    <a:pt x="1094" y="523"/>
                  </a:lnTo>
                  <a:lnTo>
                    <a:pt x="1093" y="529"/>
                  </a:lnTo>
                  <a:lnTo>
                    <a:pt x="1096" y="535"/>
                  </a:lnTo>
                  <a:lnTo>
                    <a:pt x="1091" y="540"/>
                  </a:lnTo>
                  <a:lnTo>
                    <a:pt x="1099" y="545"/>
                  </a:lnTo>
                  <a:lnTo>
                    <a:pt x="1098" y="550"/>
                  </a:lnTo>
                  <a:lnTo>
                    <a:pt x="1106" y="553"/>
                  </a:lnTo>
                  <a:lnTo>
                    <a:pt x="1105" y="558"/>
                  </a:lnTo>
                  <a:lnTo>
                    <a:pt x="1108" y="570"/>
                  </a:lnTo>
                  <a:lnTo>
                    <a:pt x="1110" y="569"/>
                  </a:lnTo>
                  <a:lnTo>
                    <a:pt x="1115" y="562"/>
                  </a:lnTo>
                  <a:lnTo>
                    <a:pt x="1128" y="560"/>
                  </a:lnTo>
                  <a:lnTo>
                    <a:pt x="1133" y="553"/>
                  </a:lnTo>
                  <a:lnTo>
                    <a:pt x="1142" y="553"/>
                  </a:lnTo>
                  <a:lnTo>
                    <a:pt x="1144" y="548"/>
                  </a:lnTo>
                  <a:lnTo>
                    <a:pt x="1149" y="548"/>
                  </a:lnTo>
                  <a:lnTo>
                    <a:pt x="1161" y="541"/>
                  </a:lnTo>
                  <a:lnTo>
                    <a:pt x="1164" y="541"/>
                  </a:lnTo>
                  <a:lnTo>
                    <a:pt x="1166" y="541"/>
                  </a:lnTo>
                  <a:lnTo>
                    <a:pt x="1176" y="546"/>
                  </a:lnTo>
                  <a:lnTo>
                    <a:pt x="1183" y="545"/>
                  </a:lnTo>
                  <a:lnTo>
                    <a:pt x="1186" y="550"/>
                  </a:lnTo>
                  <a:lnTo>
                    <a:pt x="1193" y="555"/>
                  </a:lnTo>
                  <a:lnTo>
                    <a:pt x="1205" y="557"/>
                  </a:lnTo>
                  <a:lnTo>
                    <a:pt x="1210" y="555"/>
                  </a:lnTo>
                  <a:lnTo>
                    <a:pt x="1220" y="558"/>
                  </a:lnTo>
                  <a:lnTo>
                    <a:pt x="1224" y="562"/>
                  </a:lnTo>
                  <a:lnTo>
                    <a:pt x="1235" y="560"/>
                  </a:lnTo>
                  <a:lnTo>
                    <a:pt x="1239" y="557"/>
                  </a:lnTo>
                  <a:lnTo>
                    <a:pt x="1247" y="555"/>
                  </a:lnTo>
                  <a:lnTo>
                    <a:pt x="1259" y="553"/>
                  </a:lnTo>
                  <a:lnTo>
                    <a:pt x="1268" y="555"/>
                  </a:lnTo>
                  <a:lnTo>
                    <a:pt x="1276" y="550"/>
                  </a:lnTo>
                  <a:lnTo>
                    <a:pt x="1288" y="550"/>
                  </a:lnTo>
                  <a:lnTo>
                    <a:pt x="1295" y="548"/>
                  </a:lnTo>
                  <a:lnTo>
                    <a:pt x="1305" y="550"/>
                  </a:lnTo>
                  <a:lnTo>
                    <a:pt x="1310" y="553"/>
                  </a:lnTo>
                  <a:lnTo>
                    <a:pt x="1315" y="553"/>
                  </a:lnTo>
                  <a:lnTo>
                    <a:pt x="1326" y="558"/>
                  </a:lnTo>
                  <a:lnTo>
                    <a:pt x="1331" y="553"/>
                  </a:lnTo>
                  <a:lnTo>
                    <a:pt x="1339" y="553"/>
                  </a:lnTo>
                  <a:lnTo>
                    <a:pt x="1346" y="555"/>
                  </a:lnTo>
                  <a:lnTo>
                    <a:pt x="1353" y="560"/>
                  </a:lnTo>
                  <a:lnTo>
                    <a:pt x="1361" y="560"/>
                  </a:lnTo>
                  <a:lnTo>
                    <a:pt x="1366" y="557"/>
                  </a:lnTo>
                  <a:lnTo>
                    <a:pt x="1371" y="558"/>
                  </a:lnTo>
                  <a:lnTo>
                    <a:pt x="1382" y="550"/>
                  </a:lnTo>
                  <a:lnTo>
                    <a:pt x="1388" y="546"/>
                  </a:lnTo>
                  <a:lnTo>
                    <a:pt x="1390" y="543"/>
                  </a:lnTo>
                  <a:lnTo>
                    <a:pt x="1394" y="543"/>
                  </a:lnTo>
                  <a:lnTo>
                    <a:pt x="1397" y="535"/>
                  </a:lnTo>
                  <a:lnTo>
                    <a:pt x="1394" y="529"/>
                  </a:lnTo>
                  <a:lnTo>
                    <a:pt x="1395" y="523"/>
                  </a:lnTo>
                  <a:lnTo>
                    <a:pt x="1390" y="514"/>
                  </a:lnTo>
                  <a:lnTo>
                    <a:pt x="1395" y="509"/>
                  </a:lnTo>
                  <a:lnTo>
                    <a:pt x="1405" y="506"/>
                  </a:lnTo>
                  <a:lnTo>
                    <a:pt x="1409" y="507"/>
                  </a:lnTo>
                  <a:lnTo>
                    <a:pt x="1421" y="507"/>
                  </a:lnTo>
                  <a:lnTo>
                    <a:pt x="1431" y="507"/>
                  </a:lnTo>
                  <a:lnTo>
                    <a:pt x="1438" y="507"/>
                  </a:lnTo>
                  <a:lnTo>
                    <a:pt x="1446" y="502"/>
                  </a:lnTo>
                  <a:lnTo>
                    <a:pt x="1451" y="502"/>
                  </a:lnTo>
                  <a:lnTo>
                    <a:pt x="1455" y="499"/>
                  </a:lnTo>
                  <a:lnTo>
                    <a:pt x="1465" y="499"/>
                  </a:lnTo>
                  <a:lnTo>
                    <a:pt x="1468" y="492"/>
                  </a:lnTo>
                  <a:lnTo>
                    <a:pt x="1472" y="484"/>
                  </a:lnTo>
                  <a:lnTo>
                    <a:pt x="1480" y="475"/>
                  </a:lnTo>
                  <a:lnTo>
                    <a:pt x="1485" y="475"/>
                  </a:lnTo>
                  <a:lnTo>
                    <a:pt x="1487" y="468"/>
                  </a:lnTo>
                  <a:lnTo>
                    <a:pt x="1494" y="465"/>
                  </a:lnTo>
                  <a:lnTo>
                    <a:pt x="1494" y="458"/>
                  </a:lnTo>
                  <a:lnTo>
                    <a:pt x="1499" y="455"/>
                  </a:lnTo>
                  <a:lnTo>
                    <a:pt x="1499" y="446"/>
                  </a:lnTo>
                  <a:lnTo>
                    <a:pt x="1504" y="443"/>
                  </a:lnTo>
                  <a:lnTo>
                    <a:pt x="1502" y="436"/>
                  </a:lnTo>
                  <a:lnTo>
                    <a:pt x="1502" y="434"/>
                  </a:lnTo>
                  <a:lnTo>
                    <a:pt x="1507" y="432"/>
                  </a:lnTo>
                  <a:lnTo>
                    <a:pt x="1514" y="427"/>
                  </a:lnTo>
                  <a:lnTo>
                    <a:pt x="1516" y="422"/>
                  </a:lnTo>
                  <a:lnTo>
                    <a:pt x="1528" y="421"/>
                  </a:lnTo>
                  <a:lnTo>
                    <a:pt x="1533" y="421"/>
                  </a:lnTo>
                  <a:lnTo>
                    <a:pt x="1538" y="415"/>
                  </a:lnTo>
                  <a:lnTo>
                    <a:pt x="1547" y="415"/>
                  </a:lnTo>
                  <a:lnTo>
                    <a:pt x="1548" y="405"/>
                  </a:lnTo>
                  <a:lnTo>
                    <a:pt x="1558" y="402"/>
                  </a:lnTo>
                  <a:lnTo>
                    <a:pt x="1557" y="395"/>
                  </a:lnTo>
                  <a:lnTo>
                    <a:pt x="1564" y="390"/>
                  </a:lnTo>
                  <a:lnTo>
                    <a:pt x="1572" y="390"/>
                  </a:lnTo>
                  <a:lnTo>
                    <a:pt x="1577" y="383"/>
                  </a:lnTo>
                  <a:lnTo>
                    <a:pt x="1587" y="387"/>
                  </a:lnTo>
                  <a:lnTo>
                    <a:pt x="1591" y="390"/>
                  </a:lnTo>
                  <a:lnTo>
                    <a:pt x="1598" y="390"/>
                  </a:lnTo>
                  <a:lnTo>
                    <a:pt x="1604" y="380"/>
                  </a:lnTo>
                  <a:lnTo>
                    <a:pt x="1604" y="370"/>
                  </a:lnTo>
                  <a:lnTo>
                    <a:pt x="1604" y="368"/>
                  </a:lnTo>
                  <a:lnTo>
                    <a:pt x="1609" y="370"/>
                  </a:lnTo>
                  <a:lnTo>
                    <a:pt x="1613" y="364"/>
                  </a:lnTo>
                  <a:lnTo>
                    <a:pt x="1618"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27" name="Freeform 16">
              <a:extLst>
                <a:ext uri="{FF2B5EF4-FFF2-40B4-BE49-F238E27FC236}">
                  <a16:creationId xmlns:a16="http://schemas.microsoft.com/office/drawing/2014/main" id="{0BF76C25-A7BF-442F-BAB5-98F901D9AB99}"/>
                </a:ext>
              </a:extLst>
            </p:cNvPr>
            <p:cNvSpPr>
              <a:spLocks noEditPoints="1"/>
            </p:cNvSpPr>
            <p:nvPr/>
          </p:nvSpPr>
          <p:spPr bwMode="gray">
            <a:xfrm>
              <a:off x="2882900" y="4125913"/>
              <a:ext cx="2633662" cy="1860550"/>
            </a:xfrm>
            <a:custGeom>
              <a:avLst/>
              <a:gdLst>
                <a:gd name="T0" fmla="*/ 1630 w 1659"/>
                <a:gd name="T1" fmla="*/ 393 h 1172"/>
                <a:gd name="T2" fmla="*/ 1636 w 1659"/>
                <a:gd name="T3" fmla="*/ 451 h 1172"/>
                <a:gd name="T4" fmla="*/ 1540 w 1659"/>
                <a:gd name="T5" fmla="*/ 465 h 1172"/>
                <a:gd name="T6" fmla="*/ 1447 w 1659"/>
                <a:gd name="T7" fmla="*/ 521 h 1172"/>
                <a:gd name="T8" fmla="*/ 1410 w 1659"/>
                <a:gd name="T9" fmla="*/ 597 h 1172"/>
                <a:gd name="T10" fmla="*/ 1338 w 1659"/>
                <a:gd name="T11" fmla="*/ 650 h 1172"/>
                <a:gd name="T12" fmla="*/ 1275 w 1659"/>
                <a:gd name="T13" fmla="*/ 771 h 1172"/>
                <a:gd name="T14" fmla="*/ 1425 w 1659"/>
                <a:gd name="T15" fmla="*/ 807 h 1172"/>
                <a:gd name="T16" fmla="*/ 1501 w 1659"/>
                <a:gd name="T17" fmla="*/ 858 h 1172"/>
                <a:gd name="T18" fmla="*/ 1454 w 1659"/>
                <a:gd name="T19" fmla="*/ 895 h 1172"/>
                <a:gd name="T20" fmla="*/ 1462 w 1659"/>
                <a:gd name="T21" fmla="*/ 949 h 1172"/>
                <a:gd name="T22" fmla="*/ 1369 w 1659"/>
                <a:gd name="T23" fmla="*/ 972 h 1172"/>
                <a:gd name="T24" fmla="*/ 1241 w 1659"/>
                <a:gd name="T25" fmla="*/ 953 h 1172"/>
                <a:gd name="T26" fmla="*/ 1121 w 1659"/>
                <a:gd name="T27" fmla="*/ 968 h 1172"/>
                <a:gd name="T28" fmla="*/ 1046 w 1659"/>
                <a:gd name="T29" fmla="*/ 1023 h 1172"/>
                <a:gd name="T30" fmla="*/ 959 w 1659"/>
                <a:gd name="T31" fmla="*/ 1046 h 1172"/>
                <a:gd name="T32" fmla="*/ 857 w 1659"/>
                <a:gd name="T33" fmla="*/ 1055 h 1172"/>
                <a:gd name="T34" fmla="*/ 765 w 1659"/>
                <a:gd name="T35" fmla="*/ 1075 h 1172"/>
                <a:gd name="T36" fmla="*/ 643 w 1659"/>
                <a:gd name="T37" fmla="*/ 1108 h 1172"/>
                <a:gd name="T38" fmla="*/ 543 w 1659"/>
                <a:gd name="T39" fmla="*/ 1171 h 1172"/>
                <a:gd name="T40" fmla="*/ 444 w 1659"/>
                <a:gd name="T41" fmla="*/ 1143 h 1172"/>
                <a:gd name="T42" fmla="*/ 395 w 1659"/>
                <a:gd name="T43" fmla="*/ 1094 h 1172"/>
                <a:gd name="T44" fmla="*/ 291 w 1659"/>
                <a:gd name="T45" fmla="*/ 1046 h 1172"/>
                <a:gd name="T46" fmla="*/ 254 w 1659"/>
                <a:gd name="T47" fmla="*/ 1001 h 1172"/>
                <a:gd name="T48" fmla="*/ 157 w 1659"/>
                <a:gd name="T49" fmla="*/ 985 h 1172"/>
                <a:gd name="T50" fmla="*/ 141 w 1659"/>
                <a:gd name="T51" fmla="*/ 1018 h 1172"/>
                <a:gd name="T52" fmla="*/ 143 w 1659"/>
                <a:gd name="T53" fmla="*/ 929 h 1172"/>
                <a:gd name="T54" fmla="*/ 158 w 1659"/>
                <a:gd name="T55" fmla="*/ 864 h 1172"/>
                <a:gd name="T56" fmla="*/ 87 w 1659"/>
                <a:gd name="T57" fmla="*/ 778 h 1172"/>
                <a:gd name="T58" fmla="*/ 46 w 1659"/>
                <a:gd name="T59" fmla="*/ 710 h 1172"/>
                <a:gd name="T60" fmla="*/ 63 w 1659"/>
                <a:gd name="T61" fmla="*/ 698 h 1172"/>
                <a:gd name="T62" fmla="*/ 22 w 1659"/>
                <a:gd name="T63" fmla="*/ 665 h 1172"/>
                <a:gd name="T64" fmla="*/ 56 w 1659"/>
                <a:gd name="T65" fmla="*/ 618 h 1172"/>
                <a:gd name="T66" fmla="*/ 138 w 1659"/>
                <a:gd name="T67" fmla="*/ 560 h 1172"/>
                <a:gd name="T68" fmla="*/ 135 w 1659"/>
                <a:gd name="T69" fmla="*/ 448 h 1172"/>
                <a:gd name="T70" fmla="*/ 116 w 1659"/>
                <a:gd name="T71" fmla="*/ 354 h 1172"/>
                <a:gd name="T72" fmla="*/ 63 w 1659"/>
                <a:gd name="T73" fmla="*/ 278 h 1172"/>
                <a:gd name="T74" fmla="*/ 5 w 1659"/>
                <a:gd name="T75" fmla="*/ 192 h 1172"/>
                <a:gd name="T76" fmla="*/ 63 w 1659"/>
                <a:gd name="T77" fmla="*/ 126 h 1172"/>
                <a:gd name="T78" fmla="*/ 146 w 1659"/>
                <a:gd name="T79" fmla="*/ 84 h 1172"/>
                <a:gd name="T80" fmla="*/ 192 w 1659"/>
                <a:gd name="T81" fmla="*/ 22 h 1172"/>
                <a:gd name="T82" fmla="*/ 296 w 1659"/>
                <a:gd name="T83" fmla="*/ 79 h 1172"/>
                <a:gd name="T84" fmla="*/ 308 w 1659"/>
                <a:gd name="T85" fmla="*/ 204 h 1172"/>
                <a:gd name="T86" fmla="*/ 335 w 1659"/>
                <a:gd name="T87" fmla="*/ 298 h 1172"/>
                <a:gd name="T88" fmla="*/ 332 w 1659"/>
                <a:gd name="T89" fmla="*/ 386 h 1172"/>
                <a:gd name="T90" fmla="*/ 400 w 1659"/>
                <a:gd name="T91" fmla="*/ 420 h 1172"/>
                <a:gd name="T92" fmla="*/ 418 w 1659"/>
                <a:gd name="T93" fmla="*/ 495 h 1172"/>
                <a:gd name="T94" fmla="*/ 468 w 1659"/>
                <a:gd name="T95" fmla="*/ 579 h 1172"/>
                <a:gd name="T96" fmla="*/ 531 w 1659"/>
                <a:gd name="T97" fmla="*/ 516 h 1172"/>
                <a:gd name="T98" fmla="*/ 634 w 1659"/>
                <a:gd name="T99" fmla="*/ 492 h 1172"/>
                <a:gd name="T100" fmla="*/ 617 w 1659"/>
                <a:gd name="T101" fmla="*/ 601 h 1172"/>
                <a:gd name="T102" fmla="*/ 718 w 1659"/>
                <a:gd name="T103" fmla="*/ 669 h 1172"/>
                <a:gd name="T104" fmla="*/ 816 w 1659"/>
                <a:gd name="T105" fmla="*/ 587 h 1172"/>
                <a:gd name="T106" fmla="*/ 937 w 1659"/>
                <a:gd name="T107" fmla="*/ 517 h 1172"/>
                <a:gd name="T108" fmla="*/ 1020 w 1659"/>
                <a:gd name="T109" fmla="*/ 478 h 1172"/>
                <a:gd name="T110" fmla="*/ 1109 w 1659"/>
                <a:gd name="T111" fmla="*/ 456 h 1172"/>
                <a:gd name="T112" fmla="*/ 1131 w 1659"/>
                <a:gd name="T113" fmla="*/ 368 h 1172"/>
                <a:gd name="T114" fmla="*/ 1248 w 1659"/>
                <a:gd name="T115" fmla="*/ 344 h 1172"/>
                <a:gd name="T116" fmla="*/ 1347 w 1659"/>
                <a:gd name="T117" fmla="*/ 383 h 1172"/>
                <a:gd name="T118" fmla="*/ 1425 w 1659"/>
                <a:gd name="T119" fmla="*/ 346 h 1172"/>
                <a:gd name="T120" fmla="*/ 1537 w 1659"/>
                <a:gd name="T121" fmla="*/ 325 h 1172"/>
                <a:gd name="T122" fmla="*/ 1596 w 1659"/>
                <a:gd name="T123" fmla="*/ 342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9" h="1172">
                  <a:moveTo>
                    <a:pt x="143" y="895"/>
                  </a:moveTo>
                  <a:lnTo>
                    <a:pt x="145" y="900"/>
                  </a:lnTo>
                  <a:lnTo>
                    <a:pt x="141" y="902"/>
                  </a:lnTo>
                  <a:lnTo>
                    <a:pt x="138" y="897"/>
                  </a:lnTo>
                  <a:lnTo>
                    <a:pt x="143" y="895"/>
                  </a:lnTo>
                  <a:close/>
                  <a:moveTo>
                    <a:pt x="70" y="795"/>
                  </a:moveTo>
                  <a:lnTo>
                    <a:pt x="75" y="798"/>
                  </a:lnTo>
                  <a:lnTo>
                    <a:pt x="70" y="800"/>
                  </a:lnTo>
                  <a:lnTo>
                    <a:pt x="70" y="795"/>
                  </a:lnTo>
                  <a:close/>
                  <a:moveTo>
                    <a:pt x="1642" y="361"/>
                  </a:moveTo>
                  <a:lnTo>
                    <a:pt x="1651" y="368"/>
                  </a:lnTo>
                  <a:lnTo>
                    <a:pt x="1644" y="371"/>
                  </a:lnTo>
                  <a:lnTo>
                    <a:pt x="1642" y="380"/>
                  </a:lnTo>
                  <a:lnTo>
                    <a:pt x="1636" y="376"/>
                  </a:lnTo>
                  <a:lnTo>
                    <a:pt x="1630" y="388"/>
                  </a:lnTo>
                  <a:lnTo>
                    <a:pt x="1630" y="393"/>
                  </a:lnTo>
                  <a:lnTo>
                    <a:pt x="1641" y="390"/>
                  </a:lnTo>
                  <a:lnTo>
                    <a:pt x="1646" y="392"/>
                  </a:lnTo>
                  <a:lnTo>
                    <a:pt x="1653" y="397"/>
                  </a:lnTo>
                  <a:lnTo>
                    <a:pt x="1651" y="400"/>
                  </a:lnTo>
                  <a:lnTo>
                    <a:pt x="1659" y="405"/>
                  </a:lnTo>
                  <a:lnTo>
                    <a:pt x="1654" y="412"/>
                  </a:lnTo>
                  <a:lnTo>
                    <a:pt x="1649" y="417"/>
                  </a:lnTo>
                  <a:lnTo>
                    <a:pt x="1651" y="420"/>
                  </a:lnTo>
                  <a:lnTo>
                    <a:pt x="1637" y="420"/>
                  </a:lnTo>
                  <a:lnTo>
                    <a:pt x="1634" y="429"/>
                  </a:lnTo>
                  <a:lnTo>
                    <a:pt x="1637" y="431"/>
                  </a:lnTo>
                  <a:lnTo>
                    <a:pt x="1627" y="436"/>
                  </a:lnTo>
                  <a:lnTo>
                    <a:pt x="1625" y="448"/>
                  </a:lnTo>
                  <a:lnTo>
                    <a:pt x="1629" y="441"/>
                  </a:lnTo>
                  <a:lnTo>
                    <a:pt x="1636" y="444"/>
                  </a:lnTo>
                  <a:lnTo>
                    <a:pt x="1636" y="451"/>
                  </a:lnTo>
                  <a:lnTo>
                    <a:pt x="1627" y="458"/>
                  </a:lnTo>
                  <a:lnTo>
                    <a:pt x="1629" y="458"/>
                  </a:lnTo>
                  <a:lnTo>
                    <a:pt x="1625" y="461"/>
                  </a:lnTo>
                  <a:lnTo>
                    <a:pt x="1619" y="460"/>
                  </a:lnTo>
                  <a:lnTo>
                    <a:pt x="1610" y="460"/>
                  </a:lnTo>
                  <a:lnTo>
                    <a:pt x="1612" y="466"/>
                  </a:lnTo>
                  <a:lnTo>
                    <a:pt x="1608" y="470"/>
                  </a:lnTo>
                  <a:lnTo>
                    <a:pt x="1596" y="470"/>
                  </a:lnTo>
                  <a:lnTo>
                    <a:pt x="1590" y="473"/>
                  </a:lnTo>
                  <a:lnTo>
                    <a:pt x="1583" y="480"/>
                  </a:lnTo>
                  <a:lnTo>
                    <a:pt x="1571" y="485"/>
                  </a:lnTo>
                  <a:lnTo>
                    <a:pt x="1561" y="482"/>
                  </a:lnTo>
                  <a:lnTo>
                    <a:pt x="1557" y="480"/>
                  </a:lnTo>
                  <a:lnTo>
                    <a:pt x="1552" y="473"/>
                  </a:lnTo>
                  <a:lnTo>
                    <a:pt x="1547" y="470"/>
                  </a:lnTo>
                  <a:lnTo>
                    <a:pt x="1540" y="465"/>
                  </a:lnTo>
                  <a:lnTo>
                    <a:pt x="1535" y="471"/>
                  </a:lnTo>
                  <a:lnTo>
                    <a:pt x="1525" y="477"/>
                  </a:lnTo>
                  <a:lnTo>
                    <a:pt x="1520" y="480"/>
                  </a:lnTo>
                  <a:lnTo>
                    <a:pt x="1515" y="482"/>
                  </a:lnTo>
                  <a:lnTo>
                    <a:pt x="1512" y="488"/>
                  </a:lnTo>
                  <a:lnTo>
                    <a:pt x="1508" y="497"/>
                  </a:lnTo>
                  <a:lnTo>
                    <a:pt x="1517" y="505"/>
                  </a:lnTo>
                  <a:lnTo>
                    <a:pt x="1513" y="509"/>
                  </a:lnTo>
                  <a:lnTo>
                    <a:pt x="1512" y="509"/>
                  </a:lnTo>
                  <a:lnTo>
                    <a:pt x="1495" y="509"/>
                  </a:lnTo>
                  <a:lnTo>
                    <a:pt x="1484" y="507"/>
                  </a:lnTo>
                  <a:lnTo>
                    <a:pt x="1476" y="505"/>
                  </a:lnTo>
                  <a:lnTo>
                    <a:pt x="1471" y="505"/>
                  </a:lnTo>
                  <a:lnTo>
                    <a:pt x="1457" y="504"/>
                  </a:lnTo>
                  <a:lnTo>
                    <a:pt x="1450" y="512"/>
                  </a:lnTo>
                  <a:lnTo>
                    <a:pt x="1447" y="521"/>
                  </a:lnTo>
                  <a:lnTo>
                    <a:pt x="1442" y="519"/>
                  </a:lnTo>
                  <a:lnTo>
                    <a:pt x="1432" y="514"/>
                  </a:lnTo>
                  <a:lnTo>
                    <a:pt x="1427" y="511"/>
                  </a:lnTo>
                  <a:lnTo>
                    <a:pt x="1423" y="519"/>
                  </a:lnTo>
                  <a:lnTo>
                    <a:pt x="1420" y="523"/>
                  </a:lnTo>
                  <a:lnTo>
                    <a:pt x="1411" y="524"/>
                  </a:lnTo>
                  <a:lnTo>
                    <a:pt x="1398" y="531"/>
                  </a:lnTo>
                  <a:lnTo>
                    <a:pt x="1404" y="541"/>
                  </a:lnTo>
                  <a:lnTo>
                    <a:pt x="1404" y="545"/>
                  </a:lnTo>
                  <a:lnTo>
                    <a:pt x="1403" y="555"/>
                  </a:lnTo>
                  <a:lnTo>
                    <a:pt x="1413" y="565"/>
                  </a:lnTo>
                  <a:lnTo>
                    <a:pt x="1416" y="572"/>
                  </a:lnTo>
                  <a:lnTo>
                    <a:pt x="1418" y="580"/>
                  </a:lnTo>
                  <a:lnTo>
                    <a:pt x="1416" y="591"/>
                  </a:lnTo>
                  <a:lnTo>
                    <a:pt x="1408" y="596"/>
                  </a:lnTo>
                  <a:lnTo>
                    <a:pt x="1410" y="597"/>
                  </a:lnTo>
                  <a:lnTo>
                    <a:pt x="1423" y="606"/>
                  </a:lnTo>
                  <a:lnTo>
                    <a:pt x="1428" y="613"/>
                  </a:lnTo>
                  <a:lnTo>
                    <a:pt x="1428" y="621"/>
                  </a:lnTo>
                  <a:lnTo>
                    <a:pt x="1440" y="621"/>
                  </a:lnTo>
                  <a:lnTo>
                    <a:pt x="1435" y="638"/>
                  </a:lnTo>
                  <a:lnTo>
                    <a:pt x="1416" y="633"/>
                  </a:lnTo>
                  <a:lnTo>
                    <a:pt x="1403" y="628"/>
                  </a:lnTo>
                  <a:lnTo>
                    <a:pt x="1389" y="626"/>
                  </a:lnTo>
                  <a:lnTo>
                    <a:pt x="1386" y="621"/>
                  </a:lnTo>
                  <a:lnTo>
                    <a:pt x="1376" y="621"/>
                  </a:lnTo>
                  <a:lnTo>
                    <a:pt x="1360" y="630"/>
                  </a:lnTo>
                  <a:lnTo>
                    <a:pt x="1360" y="631"/>
                  </a:lnTo>
                  <a:lnTo>
                    <a:pt x="1367" y="645"/>
                  </a:lnTo>
                  <a:lnTo>
                    <a:pt x="1367" y="647"/>
                  </a:lnTo>
                  <a:lnTo>
                    <a:pt x="1362" y="650"/>
                  </a:lnTo>
                  <a:lnTo>
                    <a:pt x="1338" y="650"/>
                  </a:lnTo>
                  <a:lnTo>
                    <a:pt x="1338" y="657"/>
                  </a:lnTo>
                  <a:lnTo>
                    <a:pt x="1323" y="670"/>
                  </a:lnTo>
                  <a:lnTo>
                    <a:pt x="1328" y="682"/>
                  </a:lnTo>
                  <a:lnTo>
                    <a:pt x="1318" y="689"/>
                  </a:lnTo>
                  <a:lnTo>
                    <a:pt x="1325" y="696"/>
                  </a:lnTo>
                  <a:lnTo>
                    <a:pt x="1323" y="703"/>
                  </a:lnTo>
                  <a:lnTo>
                    <a:pt x="1314" y="713"/>
                  </a:lnTo>
                  <a:lnTo>
                    <a:pt x="1308" y="722"/>
                  </a:lnTo>
                  <a:lnTo>
                    <a:pt x="1302" y="733"/>
                  </a:lnTo>
                  <a:lnTo>
                    <a:pt x="1296" y="740"/>
                  </a:lnTo>
                  <a:lnTo>
                    <a:pt x="1292" y="742"/>
                  </a:lnTo>
                  <a:lnTo>
                    <a:pt x="1289" y="749"/>
                  </a:lnTo>
                  <a:lnTo>
                    <a:pt x="1285" y="754"/>
                  </a:lnTo>
                  <a:lnTo>
                    <a:pt x="1279" y="766"/>
                  </a:lnTo>
                  <a:lnTo>
                    <a:pt x="1275" y="766"/>
                  </a:lnTo>
                  <a:lnTo>
                    <a:pt x="1275" y="771"/>
                  </a:lnTo>
                  <a:lnTo>
                    <a:pt x="1265" y="771"/>
                  </a:lnTo>
                  <a:lnTo>
                    <a:pt x="1265" y="784"/>
                  </a:lnTo>
                  <a:lnTo>
                    <a:pt x="1265" y="790"/>
                  </a:lnTo>
                  <a:lnTo>
                    <a:pt x="1274" y="796"/>
                  </a:lnTo>
                  <a:lnTo>
                    <a:pt x="1289" y="795"/>
                  </a:lnTo>
                  <a:lnTo>
                    <a:pt x="1314" y="798"/>
                  </a:lnTo>
                  <a:lnTo>
                    <a:pt x="1325" y="796"/>
                  </a:lnTo>
                  <a:lnTo>
                    <a:pt x="1336" y="793"/>
                  </a:lnTo>
                  <a:lnTo>
                    <a:pt x="1348" y="791"/>
                  </a:lnTo>
                  <a:lnTo>
                    <a:pt x="1360" y="791"/>
                  </a:lnTo>
                  <a:lnTo>
                    <a:pt x="1367" y="788"/>
                  </a:lnTo>
                  <a:lnTo>
                    <a:pt x="1382" y="786"/>
                  </a:lnTo>
                  <a:lnTo>
                    <a:pt x="1408" y="788"/>
                  </a:lnTo>
                  <a:lnTo>
                    <a:pt x="1413" y="791"/>
                  </a:lnTo>
                  <a:lnTo>
                    <a:pt x="1415" y="793"/>
                  </a:lnTo>
                  <a:lnTo>
                    <a:pt x="1425" y="807"/>
                  </a:lnTo>
                  <a:lnTo>
                    <a:pt x="1423" y="801"/>
                  </a:lnTo>
                  <a:lnTo>
                    <a:pt x="1433" y="803"/>
                  </a:lnTo>
                  <a:lnTo>
                    <a:pt x="1440" y="801"/>
                  </a:lnTo>
                  <a:lnTo>
                    <a:pt x="1452" y="803"/>
                  </a:lnTo>
                  <a:lnTo>
                    <a:pt x="1459" y="801"/>
                  </a:lnTo>
                  <a:lnTo>
                    <a:pt x="1464" y="807"/>
                  </a:lnTo>
                  <a:lnTo>
                    <a:pt x="1471" y="810"/>
                  </a:lnTo>
                  <a:lnTo>
                    <a:pt x="1479" y="813"/>
                  </a:lnTo>
                  <a:lnTo>
                    <a:pt x="1486" y="817"/>
                  </a:lnTo>
                  <a:lnTo>
                    <a:pt x="1486" y="818"/>
                  </a:lnTo>
                  <a:lnTo>
                    <a:pt x="1484" y="824"/>
                  </a:lnTo>
                  <a:lnTo>
                    <a:pt x="1483" y="836"/>
                  </a:lnTo>
                  <a:lnTo>
                    <a:pt x="1489" y="836"/>
                  </a:lnTo>
                  <a:lnTo>
                    <a:pt x="1489" y="841"/>
                  </a:lnTo>
                  <a:lnTo>
                    <a:pt x="1503" y="851"/>
                  </a:lnTo>
                  <a:lnTo>
                    <a:pt x="1501" y="858"/>
                  </a:lnTo>
                  <a:lnTo>
                    <a:pt x="1501" y="863"/>
                  </a:lnTo>
                  <a:lnTo>
                    <a:pt x="1491" y="863"/>
                  </a:lnTo>
                  <a:lnTo>
                    <a:pt x="1479" y="863"/>
                  </a:lnTo>
                  <a:lnTo>
                    <a:pt x="1472" y="858"/>
                  </a:lnTo>
                  <a:lnTo>
                    <a:pt x="1472" y="863"/>
                  </a:lnTo>
                  <a:lnTo>
                    <a:pt x="1467" y="870"/>
                  </a:lnTo>
                  <a:lnTo>
                    <a:pt x="1464" y="871"/>
                  </a:lnTo>
                  <a:lnTo>
                    <a:pt x="1450" y="875"/>
                  </a:lnTo>
                  <a:lnTo>
                    <a:pt x="1442" y="875"/>
                  </a:lnTo>
                  <a:lnTo>
                    <a:pt x="1440" y="885"/>
                  </a:lnTo>
                  <a:lnTo>
                    <a:pt x="1438" y="887"/>
                  </a:lnTo>
                  <a:lnTo>
                    <a:pt x="1430" y="895"/>
                  </a:lnTo>
                  <a:lnTo>
                    <a:pt x="1435" y="895"/>
                  </a:lnTo>
                  <a:lnTo>
                    <a:pt x="1449" y="898"/>
                  </a:lnTo>
                  <a:lnTo>
                    <a:pt x="1454" y="898"/>
                  </a:lnTo>
                  <a:lnTo>
                    <a:pt x="1454" y="895"/>
                  </a:lnTo>
                  <a:lnTo>
                    <a:pt x="1462" y="892"/>
                  </a:lnTo>
                  <a:lnTo>
                    <a:pt x="1471" y="895"/>
                  </a:lnTo>
                  <a:lnTo>
                    <a:pt x="1472" y="905"/>
                  </a:lnTo>
                  <a:lnTo>
                    <a:pt x="1484" y="905"/>
                  </a:lnTo>
                  <a:lnTo>
                    <a:pt x="1486" y="909"/>
                  </a:lnTo>
                  <a:lnTo>
                    <a:pt x="1508" y="914"/>
                  </a:lnTo>
                  <a:lnTo>
                    <a:pt x="1503" y="919"/>
                  </a:lnTo>
                  <a:lnTo>
                    <a:pt x="1493" y="922"/>
                  </a:lnTo>
                  <a:lnTo>
                    <a:pt x="1496" y="926"/>
                  </a:lnTo>
                  <a:lnTo>
                    <a:pt x="1491" y="927"/>
                  </a:lnTo>
                  <a:lnTo>
                    <a:pt x="1489" y="938"/>
                  </a:lnTo>
                  <a:lnTo>
                    <a:pt x="1493" y="944"/>
                  </a:lnTo>
                  <a:lnTo>
                    <a:pt x="1481" y="944"/>
                  </a:lnTo>
                  <a:lnTo>
                    <a:pt x="1474" y="946"/>
                  </a:lnTo>
                  <a:lnTo>
                    <a:pt x="1469" y="946"/>
                  </a:lnTo>
                  <a:lnTo>
                    <a:pt x="1462" y="949"/>
                  </a:lnTo>
                  <a:lnTo>
                    <a:pt x="1452" y="951"/>
                  </a:lnTo>
                  <a:lnTo>
                    <a:pt x="1442" y="951"/>
                  </a:lnTo>
                  <a:lnTo>
                    <a:pt x="1432" y="955"/>
                  </a:lnTo>
                  <a:lnTo>
                    <a:pt x="1423" y="963"/>
                  </a:lnTo>
                  <a:lnTo>
                    <a:pt x="1421" y="972"/>
                  </a:lnTo>
                  <a:lnTo>
                    <a:pt x="1421" y="977"/>
                  </a:lnTo>
                  <a:lnTo>
                    <a:pt x="1430" y="980"/>
                  </a:lnTo>
                  <a:lnTo>
                    <a:pt x="1420" y="977"/>
                  </a:lnTo>
                  <a:lnTo>
                    <a:pt x="1418" y="978"/>
                  </a:lnTo>
                  <a:lnTo>
                    <a:pt x="1415" y="977"/>
                  </a:lnTo>
                  <a:lnTo>
                    <a:pt x="1404" y="978"/>
                  </a:lnTo>
                  <a:lnTo>
                    <a:pt x="1394" y="977"/>
                  </a:lnTo>
                  <a:lnTo>
                    <a:pt x="1391" y="975"/>
                  </a:lnTo>
                  <a:lnTo>
                    <a:pt x="1381" y="975"/>
                  </a:lnTo>
                  <a:lnTo>
                    <a:pt x="1377" y="973"/>
                  </a:lnTo>
                  <a:lnTo>
                    <a:pt x="1369" y="972"/>
                  </a:lnTo>
                  <a:lnTo>
                    <a:pt x="1360" y="973"/>
                  </a:lnTo>
                  <a:lnTo>
                    <a:pt x="1352" y="972"/>
                  </a:lnTo>
                  <a:lnTo>
                    <a:pt x="1348" y="973"/>
                  </a:lnTo>
                  <a:lnTo>
                    <a:pt x="1336" y="973"/>
                  </a:lnTo>
                  <a:lnTo>
                    <a:pt x="1328" y="970"/>
                  </a:lnTo>
                  <a:lnTo>
                    <a:pt x="1321" y="972"/>
                  </a:lnTo>
                  <a:lnTo>
                    <a:pt x="1321" y="975"/>
                  </a:lnTo>
                  <a:lnTo>
                    <a:pt x="1316" y="973"/>
                  </a:lnTo>
                  <a:lnTo>
                    <a:pt x="1309" y="968"/>
                  </a:lnTo>
                  <a:lnTo>
                    <a:pt x="1296" y="965"/>
                  </a:lnTo>
                  <a:lnTo>
                    <a:pt x="1285" y="963"/>
                  </a:lnTo>
                  <a:lnTo>
                    <a:pt x="1274" y="958"/>
                  </a:lnTo>
                  <a:lnTo>
                    <a:pt x="1267" y="960"/>
                  </a:lnTo>
                  <a:lnTo>
                    <a:pt x="1255" y="956"/>
                  </a:lnTo>
                  <a:lnTo>
                    <a:pt x="1248" y="955"/>
                  </a:lnTo>
                  <a:lnTo>
                    <a:pt x="1241" y="953"/>
                  </a:lnTo>
                  <a:lnTo>
                    <a:pt x="1234" y="951"/>
                  </a:lnTo>
                  <a:lnTo>
                    <a:pt x="1231" y="951"/>
                  </a:lnTo>
                  <a:lnTo>
                    <a:pt x="1219" y="949"/>
                  </a:lnTo>
                  <a:lnTo>
                    <a:pt x="1212" y="949"/>
                  </a:lnTo>
                  <a:lnTo>
                    <a:pt x="1209" y="955"/>
                  </a:lnTo>
                  <a:lnTo>
                    <a:pt x="1202" y="958"/>
                  </a:lnTo>
                  <a:lnTo>
                    <a:pt x="1194" y="963"/>
                  </a:lnTo>
                  <a:lnTo>
                    <a:pt x="1190" y="963"/>
                  </a:lnTo>
                  <a:lnTo>
                    <a:pt x="1178" y="966"/>
                  </a:lnTo>
                  <a:lnTo>
                    <a:pt x="1170" y="965"/>
                  </a:lnTo>
                  <a:lnTo>
                    <a:pt x="1166" y="966"/>
                  </a:lnTo>
                  <a:lnTo>
                    <a:pt x="1161" y="965"/>
                  </a:lnTo>
                  <a:lnTo>
                    <a:pt x="1148" y="963"/>
                  </a:lnTo>
                  <a:lnTo>
                    <a:pt x="1139" y="965"/>
                  </a:lnTo>
                  <a:lnTo>
                    <a:pt x="1131" y="965"/>
                  </a:lnTo>
                  <a:lnTo>
                    <a:pt x="1121" y="968"/>
                  </a:lnTo>
                  <a:lnTo>
                    <a:pt x="1110" y="973"/>
                  </a:lnTo>
                  <a:lnTo>
                    <a:pt x="1102" y="980"/>
                  </a:lnTo>
                  <a:lnTo>
                    <a:pt x="1098" y="987"/>
                  </a:lnTo>
                  <a:lnTo>
                    <a:pt x="1097" y="994"/>
                  </a:lnTo>
                  <a:lnTo>
                    <a:pt x="1107" y="997"/>
                  </a:lnTo>
                  <a:lnTo>
                    <a:pt x="1110" y="1001"/>
                  </a:lnTo>
                  <a:lnTo>
                    <a:pt x="1097" y="1004"/>
                  </a:lnTo>
                  <a:lnTo>
                    <a:pt x="1093" y="1004"/>
                  </a:lnTo>
                  <a:lnTo>
                    <a:pt x="1092" y="1006"/>
                  </a:lnTo>
                  <a:lnTo>
                    <a:pt x="1085" y="1004"/>
                  </a:lnTo>
                  <a:lnTo>
                    <a:pt x="1080" y="1006"/>
                  </a:lnTo>
                  <a:lnTo>
                    <a:pt x="1071" y="1006"/>
                  </a:lnTo>
                  <a:lnTo>
                    <a:pt x="1064" y="1007"/>
                  </a:lnTo>
                  <a:lnTo>
                    <a:pt x="1058" y="1011"/>
                  </a:lnTo>
                  <a:lnTo>
                    <a:pt x="1049" y="1018"/>
                  </a:lnTo>
                  <a:lnTo>
                    <a:pt x="1046" y="1023"/>
                  </a:lnTo>
                  <a:lnTo>
                    <a:pt x="1046" y="1028"/>
                  </a:lnTo>
                  <a:lnTo>
                    <a:pt x="1054" y="1031"/>
                  </a:lnTo>
                  <a:lnTo>
                    <a:pt x="1044" y="1035"/>
                  </a:lnTo>
                  <a:lnTo>
                    <a:pt x="1046" y="1040"/>
                  </a:lnTo>
                  <a:lnTo>
                    <a:pt x="1037" y="1041"/>
                  </a:lnTo>
                  <a:lnTo>
                    <a:pt x="1034" y="1046"/>
                  </a:lnTo>
                  <a:lnTo>
                    <a:pt x="1025" y="1050"/>
                  </a:lnTo>
                  <a:lnTo>
                    <a:pt x="1015" y="1052"/>
                  </a:lnTo>
                  <a:lnTo>
                    <a:pt x="1002" y="1053"/>
                  </a:lnTo>
                  <a:lnTo>
                    <a:pt x="998" y="1055"/>
                  </a:lnTo>
                  <a:lnTo>
                    <a:pt x="990" y="1055"/>
                  </a:lnTo>
                  <a:lnTo>
                    <a:pt x="988" y="1055"/>
                  </a:lnTo>
                  <a:lnTo>
                    <a:pt x="986" y="1055"/>
                  </a:lnTo>
                  <a:lnTo>
                    <a:pt x="973" y="1052"/>
                  </a:lnTo>
                  <a:lnTo>
                    <a:pt x="961" y="1048"/>
                  </a:lnTo>
                  <a:lnTo>
                    <a:pt x="959" y="1046"/>
                  </a:lnTo>
                  <a:lnTo>
                    <a:pt x="949" y="1045"/>
                  </a:lnTo>
                  <a:lnTo>
                    <a:pt x="945" y="1045"/>
                  </a:lnTo>
                  <a:lnTo>
                    <a:pt x="937" y="1048"/>
                  </a:lnTo>
                  <a:lnTo>
                    <a:pt x="927" y="1048"/>
                  </a:lnTo>
                  <a:lnTo>
                    <a:pt x="922" y="1050"/>
                  </a:lnTo>
                  <a:lnTo>
                    <a:pt x="920" y="1055"/>
                  </a:lnTo>
                  <a:lnTo>
                    <a:pt x="918" y="1055"/>
                  </a:lnTo>
                  <a:lnTo>
                    <a:pt x="917" y="1057"/>
                  </a:lnTo>
                  <a:lnTo>
                    <a:pt x="906" y="1063"/>
                  </a:lnTo>
                  <a:lnTo>
                    <a:pt x="901" y="1062"/>
                  </a:lnTo>
                  <a:lnTo>
                    <a:pt x="896" y="1065"/>
                  </a:lnTo>
                  <a:lnTo>
                    <a:pt x="888" y="1067"/>
                  </a:lnTo>
                  <a:lnTo>
                    <a:pt x="884" y="1067"/>
                  </a:lnTo>
                  <a:lnTo>
                    <a:pt x="874" y="1062"/>
                  </a:lnTo>
                  <a:lnTo>
                    <a:pt x="867" y="1060"/>
                  </a:lnTo>
                  <a:lnTo>
                    <a:pt x="857" y="1055"/>
                  </a:lnTo>
                  <a:lnTo>
                    <a:pt x="845" y="1052"/>
                  </a:lnTo>
                  <a:lnTo>
                    <a:pt x="837" y="1050"/>
                  </a:lnTo>
                  <a:lnTo>
                    <a:pt x="828" y="1050"/>
                  </a:lnTo>
                  <a:lnTo>
                    <a:pt x="823" y="1048"/>
                  </a:lnTo>
                  <a:lnTo>
                    <a:pt x="821" y="1048"/>
                  </a:lnTo>
                  <a:lnTo>
                    <a:pt x="811" y="1046"/>
                  </a:lnTo>
                  <a:lnTo>
                    <a:pt x="806" y="1048"/>
                  </a:lnTo>
                  <a:lnTo>
                    <a:pt x="794" y="1048"/>
                  </a:lnTo>
                  <a:lnTo>
                    <a:pt x="784" y="1050"/>
                  </a:lnTo>
                  <a:lnTo>
                    <a:pt x="774" y="1057"/>
                  </a:lnTo>
                  <a:lnTo>
                    <a:pt x="772" y="1058"/>
                  </a:lnTo>
                  <a:lnTo>
                    <a:pt x="777" y="1065"/>
                  </a:lnTo>
                  <a:lnTo>
                    <a:pt x="777" y="1070"/>
                  </a:lnTo>
                  <a:lnTo>
                    <a:pt x="772" y="1077"/>
                  </a:lnTo>
                  <a:lnTo>
                    <a:pt x="769" y="1075"/>
                  </a:lnTo>
                  <a:lnTo>
                    <a:pt x="765" y="1075"/>
                  </a:lnTo>
                  <a:lnTo>
                    <a:pt x="755" y="1074"/>
                  </a:lnTo>
                  <a:lnTo>
                    <a:pt x="741" y="1070"/>
                  </a:lnTo>
                  <a:lnTo>
                    <a:pt x="740" y="1072"/>
                  </a:lnTo>
                  <a:lnTo>
                    <a:pt x="733" y="1070"/>
                  </a:lnTo>
                  <a:lnTo>
                    <a:pt x="724" y="1070"/>
                  </a:lnTo>
                  <a:lnTo>
                    <a:pt x="713" y="1070"/>
                  </a:lnTo>
                  <a:lnTo>
                    <a:pt x="702" y="1072"/>
                  </a:lnTo>
                  <a:lnTo>
                    <a:pt x="697" y="1074"/>
                  </a:lnTo>
                  <a:lnTo>
                    <a:pt x="690" y="1075"/>
                  </a:lnTo>
                  <a:lnTo>
                    <a:pt x="689" y="1077"/>
                  </a:lnTo>
                  <a:lnTo>
                    <a:pt x="677" y="1080"/>
                  </a:lnTo>
                  <a:lnTo>
                    <a:pt x="668" y="1086"/>
                  </a:lnTo>
                  <a:lnTo>
                    <a:pt x="663" y="1092"/>
                  </a:lnTo>
                  <a:lnTo>
                    <a:pt x="656" y="1103"/>
                  </a:lnTo>
                  <a:lnTo>
                    <a:pt x="653" y="1103"/>
                  </a:lnTo>
                  <a:lnTo>
                    <a:pt x="643" y="1108"/>
                  </a:lnTo>
                  <a:lnTo>
                    <a:pt x="638" y="1113"/>
                  </a:lnTo>
                  <a:lnTo>
                    <a:pt x="629" y="1116"/>
                  </a:lnTo>
                  <a:lnTo>
                    <a:pt x="622" y="1120"/>
                  </a:lnTo>
                  <a:lnTo>
                    <a:pt x="616" y="1121"/>
                  </a:lnTo>
                  <a:lnTo>
                    <a:pt x="612" y="1126"/>
                  </a:lnTo>
                  <a:lnTo>
                    <a:pt x="612" y="1135"/>
                  </a:lnTo>
                  <a:lnTo>
                    <a:pt x="609" y="1133"/>
                  </a:lnTo>
                  <a:lnTo>
                    <a:pt x="595" y="1135"/>
                  </a:lnTo>
                  <a:lnTo>
                    <a:pt x="583" y="1140"/>
                  </a:lnTo>
                  <a:lnTo>
                    <a:pt x="573" y="1147"/>
                  </a:lnTo>
                  <a:lnTo>
                    <a:pt x="566" y="1152"/>
                  </a:lnTo>
                  <a:lnTo>
                    <a:pt x="565" y="1157"/>
                  </a:lnTo>
                  <a:lnTo>
                    <a:pt x="568" y="1164"/>
                  </a:lnTo>
                  <a:lnTo>
                    <a:pt x="560" y="1167"/>
                  </a:lnTo>
                  <a:lnTo>
                    <a:pt x="553" y="1172"/>
                  </a:lnTo>
                  <a:lnTo>
                    <a:pt x="543" y="1171"/>
                  </a:lnTo>
                  <a:lnTo>
                    <a:pt x="541" y="1167"/>
                  </a:lnTo>
                  <a:lnTo>
                    <a:pt x="537" y="1167"/>
                  </a:lnTo>
                  <a:lnTo>
                    <a:pt x="532" y="1162"/>
                  </a:lnTo>
                  <a:lnTo>
                    <a:pt x="524" y="1159"/>
                  </a:lnTo>
                  <a:lnTo>
                    <a:pt x="519" y="1154"/>
                  </a:lnTo>
                  <a:lnTo>
                    <a:pt x="507" y="1154"/>
                  </a:lnTo>
                  <a:lnTo>
                    <a:pt x="500" y="1155"/>
                  </a:lnTo>
                  <a:lnTo>
                    <a:pt x="493" y="1154"/>
                  </a:lnTo>
                  <a:lnTo>
                    <a:pt x="488" y="1155"/>
                  </a:lnTo>
                  <a:lnTo>
                    <a:pt x="475" y="1154"/>
                  </a:lnTo>
                  <a:lnTo>
                    <a:pt x="469" y="1159"/>
                  </a:lnTo>
                  <a:lnTo>
                    <a:pt x="459" y="1159"/>
                  </a:lnTo>
                  <a:lnTo>
                    <a:pt x="458" y="1150"/>
                  </a:lnTo>
                  <a:lnTo>
                    <a:pt x="451" y="1150"/>
                  </a:lnTo>
                  <a:lnTo>
                    <a:pt x="449" y="1143"/>
                  </a:lnTo>
                  <a:lnTo>
                    <a:pt x="444" y="1143"/>
                  </a:lnTo>
                  <a:lnTo>
                    <a:pt x="444" y="1142"/>
                  </a:lnTo>
                  <a:lnTo>
                    <a:pt x="439" y="1138"/>
                  </a:lnTo>
                  <a:lnTo>
                    <a:pt x="432" y="1130"/>
                  </a:lnTo>
                  <a:lnTo>
                    <a:pt x="429" y="1128"/>
                  </a:lnTo>
                  <a:lnTo>
                    <a:pt x="427" y="1130"/>
                  </a:lnTo>
                  <a:lnTo>
                    <a:pt x="422" y="1126"/>
                  </a:lnTo>
                  <a:lnTo>
                    <a:pt x="412" y="1125"/>
                  </a:lnTo>
                  <a:lnTo>
                    <a:pt x="407" y="1114"/>
                  </a:lnTo>
                  <a:lnTo>
                    <a:pt x="401" y="1111"/>
                  </a:lnTo>
                  <a:lnTo>
                    <a:pt x="388" y="1114"/>
                  </a:lnTo>
                  <a:lnTo>
                    <a:pt x="386" y="1116"/>
                  </a:lnTo>
                  <a:lnTo>
                    <a:pt x="374" y="1118"/>
                  </a:lnTo>
                  <a:lnTo>
                    <a:pt x="381" y="1113"/>
                  </a:lnTo>
                  <a:lnTo>
                    <a:pt x="386" y="1106"/>
                  </a:lnTo>
                  <a:lnTo>
                    <a:pt x="388" y="1099"/>
                  </a:lnTo>
                  <a:lnTo>
                    <a:pt x="395" y="1094"/>
                  </a:lnTo>
                  <a:lnTo>
                    <a:pt x="391" y="1084"/>
                  </a:lnTo>
                  <a:lnTo>
                    <a:pt x="390" y="1079"/>
                  </a:lnTo>
                  <a:lnTo>
                    <a:pt x="386" y="1074"/>
                  </a:lnTo>
                  <a:lnTo>
                    <a:pt x="379" y="1065"/>
                  </a:lnTo>
                  <a:lnTo>
                    <a:pt x="371" y="1060"/>
                  </a:lnTo>
                  <a:lnTo>
                    <a:pt x="364" y="1060"/>
                  </a:lnTo>
                  <a:lnTo>
                    <a:pt x="354" y="1067"/>
                  </a:lnTo>
                  <a:lnTo>
                    <a:pt x="342" y="1062"/>
                  </a:lnTo>
                  <a:lnTo>
                    <a:pt x="335" y="1063"/>
                  </a:lnTo>
                  <a:lnTo>
                    <a:pt x="330" y="1060"/>
                  </a:lnTo>
                  <a:lnTo>
                    <a:pt x="330" y="1055"/>
                  </a:lnTo>
                  <a:lnTo>
                    <a:pt x="325" y="1050"/>
                  </a:lnTo>
                  <a:lnTo>
                    <a:pt x="316" y="1043"/>
                  </a:lnTo>
                  <a:lnTo>
                    <a:pt x="310" y="1041"/>
                  </a:lnTo>
                  <a:lnTo>
                    <a:pt x="299" y="1041"/>
                  </a:lnTo>
                  <a:lnTo>
                    <a:pt x="291" y="1046"/>
                  </a:lnTo>
                  <a:lnTo>
                    <a:pt x="282" y="1045"/>
                  </a:lnTo>
                  <a:lnTo>
                    <a:pt x="277" y="1045"/>
                  </a:lnTo>
                  <a:lnTo>
                    <a:pt x="272" y="1050"/>
                  </a:lnTo>
                  <a:lnTo>
                    <a:pt x="264" y="1050"/>
                  </a:lnTo>
                  <a:lnTo>
                    <a:pt x="264" y="1053"/>
                  </a:lnTo>
                  <a:lnTo>
                    <a:pt x="259" y="1052"/>
                  </a:lnTo>
                  <a:lnTo>
                    <a:pt x="255" y="1053"/>
                  </a:lnTo>
                  <a:lnTo>
                    <a:pt x="250" y="1043"/>
                  </a:lnTo>
                  <a:lnTo>
                    <a:pt x="255" y="1040"/>
                  </a:lnTo>
                  <a:lnTo>
                    <a:pt x="252" y="1029"/>
                  </a:lnTo>
                  <a:lnTo>
                    <a:pt x="254" y="1029"/>
                  </a:lnTo>
                  <a:lnTo>
                    <a:pt x="257" y="1024"/>
                  </a:lnTo>
                  <a:lnTo>
                    <a:pt x="264" y="1018"/>
                  </a:lnTo>
                  <a:lnTo>
                    <a:pt x="262" y="1014"/>
                  </a:lnTo>
                  <a:lnTo>
                    <a:pt x="257" y="1007"/>
                  </a:lnTo>
                  <a:lnTo>
                    <a:pt x="254" y="1001"/>
                  </a:lnTo>
                  <a:lnTo>
                    <a:pt x="257" y="997"/>
                  </a:lnTo>
                  <a:lnTo>
                    <a:pt x="267" y="992"/>
                  </a:lnTo>
                  <a:lnTo>
                    <a:pt x="264" y="990"/>
                  </a:lnTo>
                  <a:lnTo>
                    <a:pt x="255" y="980"/>
                  </a:lnTo>
                  <a:lnTo>
                    <a:pt x="252" y="977"/>
                  </a:lnTo>
                  <a:lnTo>
                    <a:pt x="245" y="973"/>
                  </a:lnTo>
                  <a:lnTo>
                    <a:pt x="233" y="970"/>
                  </a:lnTo>
                  <a:lnTo>
                    <a:pt x="223" y="970"/>
                  </a:lnTo>
                  <a:lnTo>
                    <a:pt x="221" y="970"/>
                  </a:lnTo>
                  <a:lnTo>
                    <a:pt x="211" y="970"/>
                  </a:lnTo>
                  <a:lnTo>
                    <a:pt x="203" y="970"/>
                  </a:lnTo>
                  <a:lnTo>
                    <a:pt x="196" y="972"/>
                  </a:lnTo>
                  <a:lnTo>
                    <a:pt x="187" y="973"/>
                  </a:lnTo>
                  <a:lnTo>
                    <a:pt x="174" y="977"/>
                  </a:lnTo>
                  <a:lnTo>
                    <a:pt x="167" y="978"/>
                  </a:lnTo>
                  <a:lnTo>
                    <a:pt x="157" y="985"/>
                  </a:lnTo>
                  <a:lnTo>
                    <a:pt x="157" y="990"/>
                  </a:lnTo>
                  <a:lnTo>
                    <a:pt x="153" y="1001"/>
                  </a:lnTo>
                  <a:lnTo>
                    <a:pt x="160" y="1002"/>
                  </a:lnTo>
                  <a:lnTo>
                    <a:pt x="167" y="1012"/>
                  </a:lnTo>
                  <a:lnTo>
                    <a:pt x="163" y="1021"/>
                  </a:lnTo>
                  <a:lnTo>
                    <a:pt x="165" y="1024"/>
                  </a:lnTo>
                  <a:lnTo>
                    <a:pt x="162" y="1035"/>
                  </a:lnTo>
                  <a:lnTo>
                    <a:pt x="163" y="1041"/>
                  </a:lnTo>
                  <a:lnTo>
                    <a:pt x="170" y="1045"/>
                  </a:lnTo>
                  <a:lnTo>
                    <a:pt x="163" y="1045"/>
                  </a:lnTo>
                  <a:lnTo>
                    <a:pt x="160" y="1040"/>
                  </a:lnTo>
                  <a:lnTo>
                    <a:pt x="153" y="1038"/>
                  </a:lnTo>
                  <a:lnTo>
                    <a:pt x="146" y="1033"/>
                  </a:lnTo>
                  <a:lnTo>
                    <a:pt x="141" y="1023"/>
                  </a:lnTo>
                  <a:lnTo>
                    <a:pt x="143" y="1021"/>
                  </a:lnTo>
                  <a:lnTo>
                    <a:pt x="141" y="1018"/>
                  </a:lnTo>
                  <a:lnTo>
                    <a:pt x="141" y="1011"/>
                  </a:lnTo>
                  <a:lnTo>
                    <a:pt x="138" y="1004"/>
                  </a:lnTo>
                  <a:lnTo>
                    <a:pt x="140" y="1002"/>
                  </a:lnTo>
                  <a:lnTo>
                    <a:pt x="131" y="997"/>
                  </a:lnTo>
                  <a:lnTo>
                    <a:pt x="126" y="990"/>
                  </a:lnTo>
                  <a:lnTo>
                    <a:pt x="135" y="982"/>
                  </a:lnTo>
                  <a:lnTo>
                    <a:pt x="135" y="975"/>
                  </a:lnTo>
                  <a:lnTo>
                    <a:pt x="140" y="966"/>
                  </a:lnTo>
                  <a:lnTo>
                    <a:pt x="138" y="963"/>
                  </a:lnTo>
                  <a:lnTo>
                    <a:pt x="133" y="966"/>
                  </a:lnTo>
                  <a:lnTo>
                    <a:pt x="124" y="961"/>
                  </a:lnTo>
                  <a:lnTo>
                    <a:pt x="129" y="956"/>
                  </a:lnTo>
                  <a:lnTo>
                    <a:pt x="135" y="948"/>
                  </a:lnTo>
                  <a:lnTo>
                    <a:pt x="141" y="943"/>
                  </a:lnTo>
                  <a:lnTo>
                    <a:pt x="143" y="939"/>
                  </a:lnTo>
                  <a:lnTo>
                    <a:pt x="143" y="929"/>
                  </a:lnTo>
                  <a:lnTo>
                    <a:pt x="148" y="924"/>
                  </a:lnTo>
                  <a:lnTo>
                    <a:pt x="158" y="922"/>
                  </a:lnTo>
                  <a:lnTo>
                    <a:pt x="153" y="926"/>
                  </a:lnTo>
                  <a:lnTo>
                    <a:pt x="162" y="929"/>
                  </a:lnTo>
                  <a:lnTo>
                    <a:pt x="158" y="924"/>
                  </a:lnTo>
                  <a:lnTo>
                    <a:pt x="165" y="927"/>
                  </a:lnTo>
                  <a:lnTo>
                    <a:pt x="170" y="919"/>
                  </a:lnTo>
                  <a:lnTo>
                    <a:pt x="172" y="910"/>
                  </a:lnTo>
                  <a:lnTo>
                    <a:pt x="170" y="907"/>
                  </a:lnTo>
                  <a:lnTo>
                    <a:pt x="163" y="897"/>
                  </a:lnTo>
                  <a:lnTo>
                    <a:pt x="165" y="897"/>
                  </a:lnTo>
                  <a:lnTo>
                    <a:pt x="162" y="890"/>
                  </a:lnTo>
                  <a:lnTo>
                    <a:pt x="158" y="880"/>
                  </a:lnTo>
                  <a:lnTo>
                    <a:pt x="160" y="868"/>
                  </a:lnTo>
                  <a:lnTo>
                    <a:pt x="155" y="864"/>
                  </a:lnTo>
                  <a:lnTo>
                    <a:pt x="158" y="864"/>
                  </a:lnTo>
                  <a:lnTo>
                    <a:pt x="157" y="864"/>
                  </a:lnTo>
                  <a:lnTo>
                    <a:pt x="157" y="861"/>
                  </a:lnTo>
                  <a:lnTo>
                    <a:pt x="152" y="853"/>
                  </a:lnTo>
                  <a:lnTo>
                    <a:pt x="143" y="844"/>
                  </a:lnTo>
                  <a:lnTo>
                    <a:pt x="140" y="844"/>
                  </a:lnTo>
                  <a:lnTo>
                    <a:pt x="140" y="837"/>
                  </a:lnTo>
                  <a:lnTo>
                    <a:pt x="128" y="834"/>
                  </a:lnTo>
                  <a:lnTo>
                    <a:pt x="129" y="825"/>
                  </a:lnTo>
                  <a:lnTo>
                    <a:pt x="133" y="822"/>
                  </a:lnTo>
                  <a:lnTo>
                    <a:pt x="128" y="812"/>
                  </a:lnTo>
                  <a:lnTo>
                    <a:pt x="119" y="803"/>
                  </a:lnTo>
                  <a:lnTo>
                    <a:pt x="111" y="795"/>
                  </a:lnTo>
                  <a:lnTo>
                    <a:pt x="104" y="790"/>
                  </a:lnTo>
                  <a:lnTo>
                    <a:pt x="94" y="783"/>
                  </a:lnTo>
                  <a:lnTo>
                    <a:pt x="92" y="783"/>
                  </a:lnTo>
                  <a:lnTo>
                    <a:pt x="87" y="778"/>
                  </a:lnTo>
                  <a:lnTo>
                    <a:pt x="90" y="771"/>
                  </a:lnTo>
                  <a:lnTo>
                    <a:pt x="87" y="764"/>
                  </a:lnTo>
                  <a:lnTo>
                    <a:pt x="84" y="757"/>
                  </a:lnTo>
                  <a:lnTo>
                    <a:pt x="78" y="749"/>
                  </a:lnTo>
                  <a:lnTo>
                    <a:pt x="72" y="742"/>
                  </a:lnTo>
                  <a:lnTo>
                    <a:pt x="67" y="735"/>
                  </a:lnTo>
                  <a:lnTo>
                    <a:pt x="56" y="727"/>
                  </a:lnTo>
                  <a:lnTo>
                    <a:pt x="55" y="725"/>
                  </a:lnTo>
                  <a:lnTo>
                    <a:pt x="43" y="720"/>
                  </a:lnTo>
                  <a:lnTo>
                    <a:pt x="44" y="715"/>
                  </a:lnTo>
                  <a:lnTo>
                    <a:pt x="39" y="713"/>
                  </a:lnTo>
                  <a:lnTo>
                    <a:pt x="46" y="708"/>
                  </a:lnTo>
                  <a:lnTo>
                    <a:pt x="44" y="701"/>
                  </a:lnTo>
                  <a:lnTo>
                    <a:pt x="50" y="703"/>
                  </a:lnTo>
                  <a:lnTo>
                    <a:pt x="53" y="708"/>
                  </a:lnTo>
                  <a:lnTo>
                    <a:pt x="46" y="710"/>
                  </a:lnTo>
                  <a:lnTo>
                    <a:pt x="55" y="710"/>
                  </a:lnTo>
                  <a:lnTo>
                    <a:pt x="55" y="716"/>
                  </a:lnTo>
                  <a:lnTo>
                    <a:pt x="60" y="718"/>
                  </a:lnTo>
                  <a:lnTo>
                    <a:pt x="58" y="722"/>
                  </a:lnTo>
                  <a:lnTo>
                    <a:pt x="63" y="725"/>
                  </a:lnTo>
                  <a:lnTo>
                    <a:pt x="67" y="730"/>
                  </a:lnTo>
                  <a:lnTo>
                    <a:pt x="73" y="735"/>
                  </a:lnTo>
                  <a:lnTo>
                    <a:pt x="75" y="739"/>
                  </a:lnTo>
                  <a:lnTo>
                    <a:pt x="82" y="735"/>
                  </a:lnTo>
                  <a:lnTo>
                    <a:pt x="82" y="732"/>
                  </a:lnTo>
                  <a:lnTo>
                    <a:pt x="73" y="730"/>
                  </a:lnTo>
                  <a:lnTo>
                    <a:pt x="75" y="722"/>
                  </a:lnTo>
                  <a:lnTo>
                    <a:pt x="67" y="718"/>
                  </a:lnTo>
                  <a:lnTo>
                    <a:pt x="60" y="711"/>
                  </a:lnTo>
                  <a:lnTo>
                    <a:pt x="58" y="706"/>
                  </a:lnTo>
                  <a:lnTo>
                    <a:pt x="63" y="698"/>
                  </a:lnTo>
                  <a:lnTo>
                    <a:pt x="60" y="691"/>
                  </a:lnTo>
                  <a:lnTo>
                    <a:pt x="53" y="686"/>
                  </a:lnTo>
                  <a:lnTo>
                    <a:pt x="48" y="693"/>
                  </a:lnTo>
                  <a:lnTo>
                    <a:pt x="51" y="684"/>
                  </a:lnTo>
                  <a:lnTo>
                    <a:pt x="44" y="682"/>
                  </a:lnTo>
                  <a:lnTo>
                    <a:pt x="38" y="689"/>
                  </a:lnTo>
                  <a:lnTo>
                    <a:pt x="44" y="696"/>
                  </a:lnTo>
                  <a:lnTo>
                    <a:pt x="38" y="691"/>
                  </a:lnTo>
                  <a:lnTo>
                    <a:pt x="29" y="698"/>
                  </a:lnTo>
                  <a:lnTo>
                    <a:pt x="24" y="694"/>
                  </a:lnTo>
                  <a:lnTo>
                    <a:pt x="27" y="688"/>
                  </a:lnTo>
                  <a:lnTo>
                    <a:pt x="19" y="682"/>
                  </a:lnTo>
                  <a:lnTo>
                    <a:pt x="22" y="679"/>
                  </a:lnTo>
                  <a:lnTo>
                    <a:pt x="21" y="677"/>
                  </a:lnTo>
                  <a:lnTo>
                    <a:pt x="22" y="674"/>
                  </a:lnTo>
                  <a:lnTo>
                    <a:pt x="22" y="665"/>
                  </a:lnTo>
                  <a:lnTo>
                    <a:pt x="16" y="659"/>
                  </a:lnTo>
                  <a:lnTo>
                    <a:pt x="22" y="652"/>
                  </a:lnTo>
                  <a:lnTo>
                    <a:pt x="22" y="647"/>
                  </a:lnTo>
                  <a:lnTo>
                    <a:pt x="22" y="643"/>
                  </a:lnTo>
                  <a:lnTo>
                    <a:pt x="12" y="638"/>
                  </a:lnTo>
                  <a:lnTo>
                    <a:pt x="22" y="631"/>
                  </a:lnTo>
                  <a:lnTo>
                    <a:pt x="27" y="631"/>
                  </a:lnTo>
                  <a:lnTo>
                    <a:pt x="29" y="625"/>
                  </a:lnTo>
                  <a:lnTo>
                    <a:pt x="27" y="616"/>
                  </a:lnTo>
                  <a:lnTo>
                    <a:pt x="33" y="608"/>
                  </a:lnTo>
                  <a:lnTo>
                    <a:pt x="41" y="609"/>
                  </a:lnTo>
                  <a:lnTo>
                    <a:pt x="46" y="604"/>
                  </a:lnTo>
                  <a:lnTo>
                    <a:pt x="50" y="606"/>
                  </a:lnTo>
                  <a:lnTo>
                    <a:pt x="48" y="611"/>
                  </a:lnTo>
                  <a:lnTo>
                    <a:pt x="58" y="614"/>
                  </a:lnTo>
                  <a:lnTo>
                    <a:pt x="56" y="618"/>
                  </a:lnTo>
                  <a:lnTo>
                    <a:pt x="65" y="621"/>
                  </a:lnTo>
                  <a:lnTo>
                    <a:pt x="68" y="626"/>
                  </a:lnTo>
                  <a:lnTo>
                    <a:pt x="73" y="625"/>
                  </a:lnTo>
                  <a:lnTo>
                    <a:pt x="82" y="626"/>
                  </a:lnTo>
                  <a:lnTo>
                    <a:pt x="89" y="623"/>
                  </a:lnTo>
                  <a:lnTo>
                    <a:pt x="95" y="618"/>
                  </a:lnTo>
                  <a:lnTo>
                    <a:pt x="102" y="611"/>
                  </a:lnTo>
                  <a:lnTo>
                    <a:pt x="104" y="608"/>
                  </a:lnTo>
                  <a:lnTo>
                    <a:pt x="112" y="602"/>
                  </a:lnTo>
                  <a:lnTo>
                    <a:pt x="118" y="599"/>
                  </a:lnTo>
                  <a:lnTo>
                    <a:pt x="121" y="594"/>
                  </a:lnTo>
                  <a:lnTo>
                    <a:pt x="126" y="585"/>
                  </a:lnTo>
                  <a:lnTo>
                    <a:pt x="129" y="580"/>
                  </a:lnTo>
                  <a:lnTo>
                    <a:pt x="133" y="574"/>
                  </a:lnTo>
                  <a:lnTo>
                    <a:pt x="136" y="563"/>
                  </a:lnTo>
                  <a:lnTo>
                    <a:pt x="138" y="560"/>
                  </a:lnTo>
                  <a:lnTo>
                    <a:pt x="140" y="550"/>
                  </a:lnTo>
                  <a:lnTo>
                    <a:pt x="141" y="541"/>
                  </a:lnTo>
                  <a:lnTo>
                    <a:pt x="141" y="534"/>
                  </a:lnTo>
                  <a:lnTo>
                    <a:pt x="141" y="526"/>
                  </a:lnTo>
                  <a:lnTo>
                    <a:pt x="140" y="516"/>
                  </a:lnTo>
                  <a:lnTo>
                    <a:pt x="136" y="507"/>
                  </a:lnTo>
                  <a:lnTo>
                    <a:pt x="136" y="502"/>
                  </a:lnTo>
                  <a:lnTo>
                    <a:pt x="143" y="502"/>
                  </a:lnTo>
                  <a:lnTo>
                    <a:pt x="145" y="492"/>
                  </a:lnTo>
                  <a:lnTo>
                    <a:pt x="143" y="482"/>
                  </a:lnTo>
                  <a:lnTo>
                    <a:pt x="140" y="473"/>
                  </a:lnTo>
                  <a:lnTo>
                    <a:pt x="140" y="471"/>
                  </a:lnTo>
                  <a:lnTo>
                    <a:pt x="136" y="465"/>
                  </a:lnTo>
                  <a:lnTo>
                    <a:pt x="136" y="460"/>
                  </a:lnTo>
                  <a:lnTo>
                    <a:pt x="136" y="458"/>
                  </a:lnTo>
                  <a:lnTo>
                    <a:pt x="135" y="448"/>
                  </a:lnTo>
                  <a:lnTo>
                    <a:pt x="138" y="436"/>
                  </a:lnTo>
                  <a:lnTo>
                    <a:pt x="136" y="432"/>
                  </a:lnTo>
                  <a:lnTo>
                    <a:pt x="133" y="424"/>
                  </a:lnTo>
                  <a:lnTo>
                    <a:pt x="133" y="420"/>
                  </a:lnTo>
                  <a:lnTo>
                    <a:pt x="131" y="417"/>
                  </a:lnTo>
                  <a:lnTo>
                    <a:pt x="131" y="414"/>
                  </a:lnTo>
                  <a:lnTo>
                    <a:pt x="128" y="403"/>
                  </a:lnTo>
                  <a:lnTo>
                    <a:pt x="126" y="402"/>
                  </a:lnTo>
                  <a:lnTo>
                    <a:pt x="131" y="390"/>
                  </a:lnTo>
                  <a:lnTo>
                    <a:pt x="126" y="381"/>
                  </a:lnTo>
                  <a:lnTo>
                    <a:pt x="119" y="371"/>
                  </a:lnTo>
                  <a:lnTo>
                    <a:pt x="119" y="369"/>
                  </a:lnTo>
                  <a:lnTo>
                    <a:pt x="118" y="369"/>
                  </a:lnTo>
                  <a:lnTo>
                    <a:pt x="119" y="368"/>
                  </a:lnTo>
                  <a:lnTo>
                    <a:pt x="118" y="364"/>
                  </a:lnTo>
                  <a:lnTo>
                    <a:pt x="116" y="354"/>
                  </a:lnTo>
                  <a:lnTo>
                    <a:pt x="118" y="349"/>
                  </a:lnTo>
                  <a:lnTo>
                    <a:pt x="116" y="349"/>
                  </a:lnTo>
                  <a:lnTo>
                    <a:pt x="109" y="339"/>
                  </a:lnTo>
                  <a:lnTo>
                    <a:pt x="107" y="339"/>
                  </a:lnTo>
                  <a:lnTo>
                    <a:pt x="107" y="335"/>
                  </a:lnTo>
                  <a:lnTo>
                    <a:pt x="101" y="327"/>
                  </a:lnTo>
                  <a:lnTo>
                    <a:pt x="99" y="327"/>
                  </a:lnTo>
                  <a:lnTo>
                    <a:pt x="94" y="317"/>
                  </a:lnTo>
                  <a:lnTo>
                    <a:pt x="94" y="313"/>
                  </a:lnTo>
                  <a:lnTo>
                    <a:pt x="90" y="312"/>
                  </a:lnTo>
                  <a:lnTo>
                    <a:pt x="89" y="305"/>
                  </a:lnTo>
                  <a:lnTo>
                    <a:pt x="85" y="300"/>
                  </a:lnTo>
                  <a:lnTo>
                    <a:pt x="78" y="293"/>
                  </a:lnTo>
                  <a:lnTo>
                    <a:pt x="72" y="288"/>
                  </a:lnTo>
                  <a:lnTo>
                    <a:pt x="70" y="283"/>
                  </a:lnTo>
                  <a:lnTo>
                    <a:pt x="63" y="278"/>
                  </a:lnTo>
                  <a:lnTo>
                    <a:pt x="60" y="272"/>
                  </a:lnTo>
                  <a:lnTo>
                    <a:pt x="56" y="267"/>
                  </a:lnTo>
                  <a:lnTo>
                    <a:pt x="48" y="259"/>
                  </a:lnTo>
                  <a:lnTo>
                    <a:pt x="43" y="252"/>
                  </a:lnTo>
                  <a:lnTo>
                    <a:pt x="36" y="245"/>
                  </a:lnTo>
                  <a:lnTo>
                    <a:pt x="31" y="237"/>
                  </a:lnTo>
                  <a:lnTo>
                    <a:pt x="31" y="227"/>
                  </a:lnTo>
                  <a:lnTo>
                    <a:pt x="27" y="220"/>
                  </a:lnTo>
                  <a:lnTo>
                    <a:pt x="19" y="213"/>
                  </a:lnTo>
                  <a:lnTo>
                    <a:pt x="16" y="211"/>
                  </a:lnTo>
                  <a:lnTo>
                    <a:pt x="16" y="210"/>
                  </a:lnTo>
                  <a:lnTo>
                    <a:pt x="10" y="206"/>
                  </a:lnTo>
                  <a:lnTo>
                    <a:pt x="9" y="203"/>
                  </a:lnTo>
                  <a:lnTo>
                    <a:pt x="4" y="198"/>
                  </a:lnTo>
                  <a:lnTo>
                    <a:pt x="0" y="192"/>
                  </a:lnTo>
                  <a:lnTo>
                    <a:pt x="5" y="192"/>
                  </a:lnTo>
                  <a:lnTo>
                    <a:pt x="7" y="194"/>
                  </a:lnTo>
                  <a:lnTo>
                    <a:pt x="21" y="199"/>
                  </a:lnTo>
                  <a:lnTo>
                    <a:pt x="14" y="175"/>
                  </a:lnTo>
                  <a:lnTo>
                    <a:pt x="21" y="170"/>
                  </a:lnTo>
                  <a:lnTo>
                    <a:pt x="27" y="165"/>
                  </a:lnTo>
                  <a:lnTo>
                    <a:pt x="33" y="162"/>
                  </a:lnTo>
                  <a:lnTo>
                    <a:pt x="34" y="162"/>
                  </a:lnTo>
                  <a:lnTo>
                    <a:pt x="44" y="155"/>
                  </a:lnTo>
                  <a:lnTo>
                    <a:pt x="41" y="148"/>
                  </a:lnTo>
                  <a:lnTo>
                    <a:pt x="33" y="138"/>
                  </a:lnTo>
                  <a:lnTo>
                    <a:pt x="33" y="131"/>
                  </a:lnTo>
                  <a:lnTo>
                    <a:pt x="43" y="131"/>
                  </a:lnTo>
                  <a:lnTo>
                    <a:pt x="48" y="130"/>
                  </a:lnTo>
                  <a:lnTo>
                    <a:pt x="56" y="128"/>
                  </a:lnTo>
                  <a:lnTo>
                    <a:pt x="63" y="130"/>
                  </a:lnTo>
                  <a:lnTo>
                    <a:pt x="63" y="126"/>
                  </a:lnTo>
                  <a:lnTo>
                    <a:pt x="63" y="106"/>
                  </a:lnTo>
                  <a:lnTo>
                    <a:pt x="63" y="104"/>
                  </a:lnTo>
                  <a:lnTo>
                    <a:pt x="67" y="96"/>
                  </a:lnTo>
                  <a:lnTo>
                    <a:pt x="80" y="92"/>
                  </a:lnTo>
                  <a:lnTo>
                    <a:pt x="85" y="94"/>
                  </a:lnTo>
                  <a:lnTo>
                    <a:pt x="89" y="96"/>
                  </a:lnTo>
                  <a:lnTo>
                    <a:pt x="95" y="101"/>
                  </a:lnTo>
                  <a:lnTo>
                    <a:pt x="101" y="106"/>
                  </a:lnTo>
                  <a:lnTo>
                    <a:pt x="107" y="111"/>
                  </a:lnTo>
                  <a:lnTo>
                    <a:pt x="118" y="107"/>
                  </a:lnTo>
                  <a:lnTo>
                    <a:pt x="116" y="102"/>
                  </a:lnTo>
                  <a:lnTo>
                    <a:pt x="119" y="101"/>
                  </a:lnTo>
                  <a:lnTo>
                    <a:pt x="129" y="106"/>
                  </a:lnTo>
                  <a:lnTo>
                    <a:pt x="133" y="102"/>
                  </a:lnTo>
                  <a:lnTo>
                    <a:pt x="136" y="97"/>
                  </a:lnTo>
                  <a:lnTo>
                    <a:pt x="146" y="84"/>
                  </a:lnTo>
                  <a:lnTo>
                    <a:pt x="157" y="67"/>
                  </a:lnTo>
                  <a:lnTo>
                    <a:pt x="162" y="62"/>
                  </a:lnTo>
                  <a:lnTo>
                    <a:pt x="162" y="43"/>
                  </a:lnTo>
                  <a:lnTo>
                    <a:pt x="170" y="31"/>
                  </a:lnTo>
                  <a:lnTo>
                    <a:pt x="170" y="29"/>
                  </a:lnTo>
                  <a:lnTo>
                    <a:pt x="174" y="26"/>
                  </a:lnTo>
                  <a:lnTo>
                    <a:pt x="170" y="21"/>
                  </a:lnTo>
                  <a:lnTo>
                    <a:pt x="165" y="9"/>
                  </a:lnTo>
                  <a:lnTo>
                    <a:pt x="165" y="7"/>
                  </a:lnTo>
                  <a:lnTo>
                    <a:pt x="180" y="21"/>
                  </a:lnTo>
                  <a:lnTo>
                    <a:pt x="196" y="39"/>
                  </a:lnTo>
                  <a:lnTo>
                    <a:pt x="201" y="46"/>
                  </a:lnTo>
                  <a:lnTo>
                    <a:pt x="197" y="38"/>
                  </a:lnTo>
                  <a:lnTo>
                    <a:pt x="194" y="29"/>
                  </a:lnTo>
                  <a:lnTo>
                    <a:pt x="191" y="24"/>
                  </a:lnTo>
                  <a:lnTo>
                    <a:pt x="192" y="22"/>
                  </a:lnTo>
                  <a:lnTo>
                    <a:pt x="194" y="14"/>
                  </a:lnTo>
                  <a:lnTo>
                    <a:pt x="196" y="4"/>
                  </a:lnTo>
                  <a:lnTo>
                    <a:pt x="214" y="0"/>
                  </a:lnTo>
                  <a:lnTo>
                    <a:pt x="220" y="9"/>
                  </a:lnTo>
                  <a:lnTo>
                    <a:pt x="225" y="16"/>
                  </a:lnTo>
                  <a:lnTo>
                    <a:pt x="230" y="24"/>
                  </a:lnTo>
                  <a:lnTo>
                    <a:pt x="235" y="34"/>
                  </a:lnTo>
                  <a:lnTo>
                    <a:pt x="262" y="36"/>
                  </a:lnTo>
                  <a:lnTo>
                    <a:pt x="264" y="39"/>
                  </a:lnTo>
                  <a:lnTo>
                    <a:pt x="267" y="46"/>
                  </a:lnTo>
                  <a:lnTo>
                    <a:pt x="271" y="51"/>
                  </a:lnTo>
                  <a:lnTo>
                    <a:pt x="271" y="63"/>
                  </a:lnTo>
                  <a:lnTo>
                    <a:pt x="272" y="65"/>
                  </a:lnTo>
                  <a:lnTo>
                    <a:pt x="279" y="70"/>
                  </a:lnTo>
                  <a:lnTo>
                    <a:pt x="288" y="77"/>
                  </a:lnTo>
                  <a:lnTo>
                    <a:pt x="296" y="79"/>
                  </a:lnTo>
                  <a:lnTo>
                    <a:pt x="303" y="82"/>
                  </a:lnTo>
                  <a:lnTo>
                    <a:pt x="311" y="84"/>
                  </a:lnTo>
                  <a:lnTo>
                    <a:pt x="311" y="90"/>
                  </a:lnTo>
                  <a:lnTo>
                    <a:pt x="311" y="94"/>
                  </a:lnTo>
                  <a:lnTo>
                    <a:pt x="311" y="102"/>
                  </a:lnTo>
                  <a:lnTo>
                    <a:pt x="311" y="116"/>
                  </a:lnTo>
                  <a:lnTo>
                    <a:pt x="291" y="121"/>
                  </a:lnTo>
                  <a:lnTo>
                    <a:pt x="293" y="123"/>
                  </a:lnTo>
                  <a:lnTo>
                    <a:pt x="303" y="130"/>
                  </a:lnTo>
                  <a:lnTo>
                    <a:pt x="318" y="136"/>
                  </a:lnTo>
                  <a:lnTo>
                    <a:pt x="299" y="147"/>
                  </a:lnTo>
                  <a:lnTo>
                    <a:pt x="296" y="162"/>
                  </a:lnTo>
                  <a:lnTo>
                    <a:pt x="298" y="167"/>
                  </a:lnTo>
                  <a:lnTo>
                    <a:pt x="306" y="179"/>
                  </a:lnTo>
                  <a:lnTo>
                    <a:pt x="308" y="182"/>
                  </a:lnTo>
                  <a:lnTo>
                    <a:pt x="308" y="204"/>
                  </a:lnTo>
                  <a:lnTo>
                    <a:pt x="306" y="215"/>
                  </a:lnTo>
                  <a:lnTo>
                    <a:pt x="311" y="227"/>
                  </a:lnTo>
                  <a:lnTo>
                    <a:pt x="323" y="233"/>
                  </a:lnTo>
                  <a:lnTo>
                    <a:pt x="320" y="238"/>
                  </a:lnTo>
                  <a:lnTo>
                    <a:pt x="315" y="245"/>
                  </a:lnTo>
                  <a:lnTo>
                    <a:pt x="315" y="247"/>
                  </a:lnTo>
                  <a:lnTo>
                    <a:pt x="323" y="250"/>
                  </a:lnTo>
                  <a:lnTo>
                    <a:pt x="327" y="255"/>
                  </a:lnTo>
                  <a:lnTo>
                    <a:pt x="330" y="264"/>
                  </a:lnTo>
                  <a:lnTo>
                    <a:pt x="328" y="276"/>
                  </a:lnTo>
                  <a:lnTo>
                    <a:pt x="323" y="284"/>
                  </a:lnTo>
                  <a:lnTo>
                    <a:pt x="320" y="288"/>
                  </a:lnTo>
                  <a:lnTo>
                    <a:pt x="325" y="286"/>
                  </a:lnTo>
                  <a:lnTo>
                    <a:pt x="328" y="289"/>
                  </a:lnTo>
                  <a:lnTo>
                    <a:pt x="340" y="291"/>
                  </a:lnTo>
                  <a:lnTo>
                    <a:pt x="335" y="298"/>
                  </a:lnTo>
                  <a:lnTo>
                    <a:pt x="332" y="305"/>
                  </a:lnTo>
                  <a:lnTo>
                    <a:pt x="340" y="303"/>
                  </a:lnTo>
                  <a:lnTo>
                    <a:pt x="342" y="310"/>
                  </a:lnTo>
                  <a:lnTo>
                    <a:pt x="335" y="318"/>
                  </a:lnTo>
                  <a:lnTo>
                    <a:pt x="337" y="329"/>
                  </a:lnTo>
                  <a:lnTo>
                    <a:pt x="332" y="330"/>
                  </a:lnTo>
                  <a:lnTo>
                    <a:pt x="333" y="339"/>
                  </a:lnTo>
                  <a:lnTo>
                    <a:pt x="337" y="342"/>
                  </a:lnTo>
                  <a:lnTo>
                    <a:pt x="342" y="351"/>
                  </a:lnTo>
                  <a:lnTo>
                    <a:pt x="333" y="356"/>
                  </a:lnTo>
                  <a:lnTo>
                    <a:pt x="339" y="363"/>
                  </a:lnTo>
                  <a:lnTo>
                    <a:pt x="332" y="368"/>
                  </a:lnTo>
                  <a:lnTo>
                    <a:pt x="328" y="373"/>
                  </a:lnTo>
                  <a:lnTo>
                    <a:pt x="323" y="373"/>
                  </a:lnTo>
                  <a:lnTo>
                    <a:pt x="323" y="385"/>
                  </a:lnTo>
                  <a:lnTo>
                    <a:pt x="332" y="386"/>
                  </a:lnTo>
                  <a:lnTo>
                    <a:pt x="339" y="390"/>
                  </a:lnTo>
                  <a:lnTo>
                    <a:pt x="344" y="390"/>
                  </a:lnTo>
                  <a:lnTo>
                    <a:pt x="347" y="393"/>
                  </a:lnTo>
                  <a:lnTo>
                    <a:pt x="352" y="395"/>
                  </a:lnTo>
                  <a:lnTo>
                    <a:pt x="356" y="392"/>
                  </a:lnTo>
                  <a:lnTo>
                    <a:pt x="367" y="393"/>
                  </a:lnTo>
                  <a:lnTo>
                    <a:pt x="369" y="403"/>
                  </a:lnTo>
                  <a:lnTo>
                    <a:pt x="379" y="395"/>
                  </a:lnTo>
                  <a:lnTo>
                    <a:pt x="381" y="392"/>
                  </a:lnTo>
                  <a:lnTo>
                    <a:pt x="391" y="381"/>
                  </a:lnTo>
                  <a:lnTo>
                    <a:pt x="388" y="397"/>
                  </a:lnTo>
                  <a:lnTo>
                    <a:pt x="383" y="409"/>
                  </a:lnTo>
                  <a:lnTo>
                    <a:pt x="386" y="412"/>
                  </a:lnTo>
                  <a:lnTo>
                    <a:pt x="390" y="409"/>
                  </a:lnTo>
                  <a:lnTo>
                    <a:pt x="398" y="414"/>
                  </a:lnTo>
                  <a:lnTo>
                    <a:pt x="400" y="420"/>
                  </a:lnTo>
                  <a:lnTo>
                    <a:pt x="408" y="429"/>
                  </a:lnTo>
                  <a:lnTo>
                    <a:pt x="417" y="422"/>
                  </a:lnTo>
                  <a:lnTo>
                    <a:pt x="425" y="426"/>
                  </a:lnTo>
                  <a:lnTo>
                    <a:pt x="429" y="431"/>
                  </a:lnTo>
                  <a:lnTo>
                    <a:pt x="435" y="437"/>
                  </a:lnTo>
                  <a:lnTo>
                    <a:pt x="441" y="437"/>
                  </a:lnTo>
                  <a:lnTo>
                    <a:pt x="441" y="449"/>
                  </a:lnTo>
                  <a:lnTo>
                    <a:pt x="446" y="441"/>
                  </a:lnTo>
                  <a:lnTo>
                    <a:pt x="447" y="448"/>
                  </a:lnTo>
                  <a:lnTo>
                    <a:pt x="446" y="451"/>
                  </a:lnTo>
                  <a:lnTo>
                    <a:pt x="437" y="456"/>
                  </a:lnTo>
                  <a:lnTo>
                    <a:pt x="442" y="466"/>
                  </a:lnTo>
                  <a:lnTo>
                    <a:pt x="442" y="473"/>
                  </a:lnTo>
                  <a:lnTo>
                    <a:pt x="439" y="480"/>
                  </a:lnTo>
                  <a:lnTo>
                    <a:pt x="441" y="485"/>
                  </a:lnTo>
                  <a:lnTo>
                    <a:pt x="418" y="495"/>
                  </a:lnTo>
                  <a:lnTo>
                    <a:pt x="422" y="509"/>
                  </a:lnTo>
                  <a:lnTo>
                    <a:pt x="424" y="516"/>
                  </a:lnTo>
                  <a:lnTo>
                    <a:pt x="425" y="516"/>
                  </a:lnTo>
                  <a:lnTo>
                    <a:pt x="427" y="521"/>
                  </a:lnTo>
                  <a:lnTo>
                    <a:pt x="432" y="528"/>
                  </a:lnTo>
                  <a:lnTo>
                    <a:pt x="434" y="534"/>
                  </a:lnTo>
                  <a:lnTo>
                    <a:pt x="439" y="545"/>
                  </a:lnTo>
                  <a:lnTo>
                    <a:pt x="444" y="546"/>
                  </a:lnTo>
                  <a:lnTo>
                    <a:pt x="439" y="550"/>
                  </a:lnTo>
                  <a:lnTo>
                    <a:pt x="437" y="568"/>
                  </a:lnTo>
                  <a:lnTo>
                    <a:pt x="439" y="580"/>
                  </a:lnTo>
                  <a:lnTo>
                    <a:pt x="444" y="589"/>
                  </a:lnTo>
                  <a:lnTo>
                    <a:pt x="447" y="597"/>
                  </a:lnTo>
                  <a:lnTo>
                    <a:pt x="463" y="591"/>
                  </a:lnTo>
                  <a:lnTo>
                    <a:pt x="466" y="585"/>
                  </a:lnTo>
                  <a:lnTo>
                    <a:pt x="468" y="579"/>
                  </a:lnTo>
                  <a:lnTo>
                    <a:pt x="469" y="568"/>
                  </a:lnTo>
                  <a:lnTo>
                    <a:pt x="468" y="563"/>
                  </a:lnTo>
                  <a:lnTo>
                    <a:pt x="469" y="558"/>
                  </a:lnTo>
                  <a:lnTo>
                    <a:pt x="473" y="551"/>
                  </a:lnTo>
                  <a:lnTo>
                    <a:pt x="471" y="543"/>
                  </a:lnTo>
                  <a:lnTo>
                    <a:pt x="481" y="534"/>
                  </a:lnTo>
                  <a:lnTo>
                    <a:pt x="486" y="541"/>
                  </a:lnTo>
                  <a:lnTo>
                    <a:pt x="492" y="538"/>
                  </a:lnTo>
                  <a:lnTo>
                    <a:pt x="500" y="536"/>
                  </a:lnTo>
                  <a:lnTo>
                    <a:pt x="495" y="529"/>
                  </a:lnTo>
                  <a:lnTo>
                    <a:pt x="500" y="528"/>
                  </a:lnTo>
                  <a:lnTo>
                    <a:pt x="502" y="521"/>
                  </a:lnTo>
                  <a:lnTo>
                    <a:pt x="509" y="528"/>
                  </a:lnTo>
                  <a:lnTo>
                    <a:pt x="519" y="523"/>
                  </a:lnTo>
                  <a:lnTo>
                    <a:pt x="524" y="514"/>
                  </a:lnTo>
                  <a:lnTo>
                    <a:pt x="531" y="516"/>
                  </a:lnTo>
                  <a:lnTo>
                    <a:pt x="537" y="519"/>
                  </a:lnTo>
                  <a:lnTo>
                    <a:pt x="539" y="519"/>
                  </a:lnTo>
                  <a:lnTo>
                    <a:pt x="554" y="517"/>
                  </a:lnTo>
                  <a:lnTo>
                    <a:pt x="561" y="511"/>
                  </a:lnTo>
                  <a:lnTo>
                    <a:pt x="571" y="505"/>
                  </a:lnTo>
                  <a:lnTo>
                    <a:pt x="580" y="497"/>
                  </a:lnTo>
                  <a:lnTo>
                    <a:pt x="582" y="495"/>
                  </a:lnTo>
                  <a:lnTo>
                    <a:pt x="585" y="485"/>
                  </a:lnTo>
                  <a:lnTo>
                    <a:pt x="595" y="485"/>
                  </a:lnTo>
                  <a:lnTo>
                    <a:pt x="600" y="473"/>
                  </a:lnTo>
                  <a:lnTo>
                    <a:pt x="605" y="468"/>
                  </a:lnTo>
                  <a:lnTo>
                    <a:pt x="617" y="466"/>
                  </a:lnTo>
                  <a:lnTo>
                    <a:pt x="614" y="478"/>
                  </a:lnTo>
                  <a:lnTo>
                    <a:pt x="633" y="477"/>
                  </a:lnTo>
                  <a:lnTo>
                    <a:pt x="634" y="485"/>
                  </a:lnTo>
                  <a:lnTo>
                    <a:pt x="634" y="492"/>
                  </a:lnTo>
                  <a:lnTo>
                    <a:pt x="636" y="500"/>
                  </a:lnTo>
                  <a:lnTo>
                    <a:pt x="626" y="499"/>
                  </a:lnTo>
                  <a:lnTo>
                    <a:pt x="612" y="511"/>
                  </a:lnTo>
                  <a:lnTo>
                    <a:pt x="614" y="519"/>
                  </a:lnTo>
                  <a:lnTo>
                    <a:pt x="612" y="521"/>
                  </a:lnTo>
                  <a:lnTo>
                    <a:pt x="604" y="529"/>
                  </a:lnTo>
                  <a:lnTo>
                    <a:pt x="590" y="524"/>
                  </a:lnTo>
                  <a:lnTo>
                    <a:pt x="594" y="540"/>
                  </a:lnTo>
                  <a:lnTo>
                    <a:pt x="594" y="545"/>
                  </a:lnTo>
                  <a:lnTo>
                    <a:pt x="594" y="551"/>
                  </a:lnTo>
                  <a:lnTo>
                    <a:pt x="600" y="567"/>
                  </a:lnTo>
                  <a:lnTo>
                    <a:pt x="599" y="570"/>
                  </a:lnTo>
                  <a:lnTo>
                    <a:pt x="604" y="580"/>
                  </a:lnTo>
                  <a:lnTo>
                    <a:pt x="604" y="589"/>
                  </a:lnTo>
                  <a:lnTo>
                    <a:pt x="614" y="596"/>
                  </a:lnTo>
                  <a:lnTo>
                    <a:pt x="617" y="601"/>
                  </a:lnTo>
                  <a:lnTo>
                    <a:pt x="616" y="618"/>
                  </a:lnTo>
                  <a:lnTo>
                    <a:pt x="622" y="626"/>
                  </a:lnTo>
                  <a:lnTo>
                    <a:pt x="633" y="631"/>
                  </a:lnTo>
                  <a:lnTo>
                    <a:pt x="645" y="631"/>
                  </a:lnTo>
                  <a:lnTo>
                    <a:pt x="651" y="643"/>
                  </a:lnTo>
                  <a:lnTo>
                    <a:pt x="655" y="647"/>
                  </a:lnTo>
                  <a:lnTo>
                    <a:pt x="658" y="648"/>
                  </a:lnTo>
                  <a:lnTo>
                    <a:pt x="660" y="653"/>
                  </a:lnTo>
                  <a:lnTo>
                    <a:pt x="660" y="660"/>
                  </a:lnTo>
                  <a:lnTo>
                    <a:pt x="663" y="659"/>
                  </a:lnTo>
                  <a:lnTo>
                    <a:pt x="679" y="669"/>
                  </a:lnTo>
                  <a:lnTo>
                    <a:pt x="694" y="669"/>
                  </a:lnTo>
                  <a:lnTo>
                    <a:pt x="709" y="653"/>
                  </a:lnTo>
                  <a:lnTo>
                    <a:pt x="711" y="652"/>
                  </a:lnTo>
                  <a:lnTo>
                    <a:pt x="718" y="664"/>
                  </a:lnTo>
                  <a:lnTo>
                    <a:pt x="718" y="669"/>
                  </a:lnTo>
                  <a:lnTo>
                    <a:pt x="726" y="669"/>
                  </a:lnTo>
                  <a:lnTo>
                    <a:pt x="733" y="665"/>
                  </a:lnTo>
                  <a:lnTo>
                    <a:pt x="735" y="665"/>
                  </a:lnTo>
                  <a:lnTo>
                    <a:pt x="750" y="669"/>
                  </a:lnTo>
                  <a:lnTo>
                    <a:pt x="753" y="669"/>
                  </a:lnTo>
                  <a:lnTo>
                    <a:pt x="757" y="660"/>
                  </a:lnTo>
                  <a:lnTo>
                    <a:pt x="772" y="655"/>
                  </a:lnTo>
                  <a:lnTo>
                    <a:pt x="775" y="647"/>
                  </a:lnTo>
                  <a:lnTo>
                    <a:pt x="781" y="635"/>
                  </a:lnTo>
                  <a:lnTo>
                    <a:pt x="781" y="626"/>
                  </a:lnTo>
                  <a:lnTo>
                    <a:pt x="774" y="618"/>
                  </a:lnTo>
                  <a:lnTo>
                    <a:pt x="770" y="613"/>
                  </a:lnTo>
                  <a:lnTo>
                    <a:pt x="770" y="608"/>
                  </a:lnTo>
                  <a:lnTo>
                    <a:pt x="779" y="602"/>
                  </a:lnTo>
                  <a:lnTo>
                    <a:pt x="784" y="594"/>
                  </a:lnTo>
                  <a:lnTo>
                    <a:pt x="816" y="587"/>
                  </a:lnTo>
                  <a:lnTo>
                    <a:pt x="835" y="591"/>
                  </a:lnTo>
                  <a:lnTo>
                    <a:pt x="840" y="592"/>
                  </a:lnTo>
                  <a:lnTo>
                    <a:pt x="849" y="592"/>
                  </a:lnTo>
                  <a:lnTo>
                    <a:pt x="854" y="589"/>
                  </a:lnTo>
                  <a:lnTo>
                    <a:pt x="866" y="585"/>
                  </a:lnTo>
                  <a:lnTo>
                    <a:pt x="862" y="575"/>
                  </a:lnTo>
                  <a:lnTo>
                    <a:pt x="872" y="553"/>
                  </a:lnTo>
                  <a:lnTo>
                    <a:pt x="877" y="551"/>
                  </a:lnTo>
                  <a:lnTo>
                    <a:pt x="886" y="541"/>
                  </a:lnTo>
                  <a:lnTo>
                    <a:pt x="896" y="538"/>
                  </a:lnTo>
                  <a:lnTo>
                    <a:pt x="900" y="534"/>
                  </a:lnTo>
                  <a:lnTo>
                    <a:pt x="905" y="524"/>
                  </a:lnTo>
                  <a:lnTo>
                    <a:pt x="905" y="517"/>
                  </a:lnTo>
                  <a:lnTo>
                    <a:pt x="918" y="523"/>
                  </a:lnTo>
                  <a:lnTo>
                    <a:pt x="932" y="516"/>
                  </a:lnTo>
                  <a:lnTo>
                    <a:pt x="937" y="517"/>
                  </a:lnTo>
                  <a:lnTo>
                    <a:pt x="942" y="512"/>
                  </a:lnTo>
                  <a:lnTo>
                    <a:pt x="949" y="505"/>
                  </a:lnTo>
                  <a:lnTo>
                    <a:pt x="961" y="507"/>
                  </a:lnTo>
                  <a:lnTo>
                    <a:pt x="969" y="505"/>
                  </a:lnTo>
                  <a:lnTo>
                    <a:pt x="973" y="502"/>
                  </a:lnTo>
                  <a:lnTo>
                    <a:pt x="969" y="495"/>
                  </a:lnTo>
                  <a:lnTo>
                    <a:pt x="968" y="485"/>
                  </a:lnTo>
                  <a:lnTo>
                    <a:pt x="966" y="478"/>
                  </a:lnTo>
                  <a:lnTo>
                    <a:pt x="978" y="477"/>
                  </a:lnTo>
                  <a:lnTo>
                    <a:pt x="985" y="473"/>
                  </a:lnTo>
                  <a:lnTo>
                    <a:pt x="995" y="473"/>
                  </a:lnTo>
                  <a:lnTo>
                    <a:pt x="1002" y="482"/>
                  </a:lnTo>
                  <a:lnTo>
                    <a:pt x="1007" y="483"/>
                  </a:lnTo>
                  <a:lnTo>
                    <a:pt x="1012" y="478"/>
                  </a:lnTo>
                  <a:lnTo>
                    <a:pt x="1017" y="471"/>
                  </a:lnTo>
                  <a:lnTo>
                    <a:pt x="1020" y="478"/>
                  </a:lnTo>
                  <a:lnTo>
                    <a:pt x="1027" y="478"/>
                  </a:lnTo>
                  <a:lnTo>
                    <a:pt x="1029" y="485"/>
                  </a:lnTo>
                  <a:lnTo>
                    <a:pt x="1032" y="485"/>
                  </a:lnTo>
                  <a:lnTo>
                    <a:pt x="1047" y="492"/>
                  </a:lnTo>
                  <a:lnTo>
                    <a:pt x="1053" y="492"/>
                  </a:lnTo>
                  <a:lnTo>
                    <a:pt x="1059" y="490"/>
                  </a:lnTo>
                  <a:lnTo>
                    <a:pt x="1061" y="485"/>
                  </a:lnTo>
                  <a:lnTo>
                    <a:pt x="1066" y="487"/>
                  </a:lnTo>
                  <a:lnTo>
                    <a:pt x="1070" y="477"/>
                  </a:lnTo>
                  <a:lnTo>
                    <a:pt x="1078" y="475"/>
                  </a:lnTo>
                  <a:lnTo>
                    <a:pt x="1085" y="471"/>
                  </a:lnTo>
                  <a:lnTo>
                    <a:pt x="1085" y="473"/>
                  </a:lnTo>
                  <a:lnTo>
                    <a:pt x="1087" y="465"/>
                  </a:lnTo>
                  <a:lnTo>
                    <a:pt x="1090" y="448"/>
                  </a:lnTo>
                  <a:lnTo>
                    <a:pt x="1105" y="439"/>
                  </a:lnTo>
                  <a:lnTo>
                    <a:pt x="1109" y="456"/>
                  </a:lnTo>
                  <a:lnTo>
                    <a:pt x="1117" y="437"/>
                  </a:lnTo>
                  <a:lnTo>
                    <a:pt x="1121" y="434"/>
                  </a:lnTo>
                  <a:lnTo>
                    <a:pt x="1110" y="431"/>
                  </a:lnTo>
                  <a:lnTo>
                    <a:pt x="1107" y="422"/>
                  </a:lnTo>
                  <a:lnTo>
                    <a:pt x="1112" y="419"/>
                  </a:lnTo>
                  <a:lnTo>
                    <a:pt x="1110" y="410"/>
                  </a:lnTo>
                  <a:lnTo>
                    <a:pt x="1105" y="402"/>
                  </a:lnTo>
                  <a:lnTo>
                    <a:pt x="1114" y="398"/>
                  </a:lnTo>
                  <a:lnTo>
                    <a:pt x="1114" y="392"/>
                  </a:lnTo>
                  <a:lnTo>
                    <a:pt x="1110" y="385"/>
                  </a:lnTo>
                  <a:lnTo>
                    <a:pt x="1109" y="380"/>
                  </a:lnTo>
                  <a:lnTo>
                    <a:pt x="1119" y="381"/>
                  </a:lnTo>
                  <a:lnTo>
                    <a:pt x="1122" y="386"/>
                  </a:lnTo>
                  <a:lnTo>
                    <a:pt x="1131" y="390"/>
                  </a:lnTo>
                  <a:lnTo>
                    <a:pt x="1134" y="369"/>
                  </a:lnTo>
                  <a:lnTo>
                    <a:pt x="1131" y="368"/>
                  </a:lnTo>
                  <a:lnTo>
                    <a:pt x="1143" y="363"/>
                  </a:lnTo>
                  <a:lnTo>
                    <a:pt x="1141" y="354"/>
                  </a:lnTo>
                  <a:lnTo>
                    <a:pt x="1146" y="347"/>
                  </a:lnTo>
                  <a:lnTo>
                    <a:pt x="1151" y="339"/>
                  </a:lnTo>
                  <a:lnTo>
                    <a:pt x="1155" y="329"/>
                  </a:lnTo>
                  <a:lnTo>
                    <a:pt x="1156" y="329"/>
                  </a:lnTo>
                  <a:lnTo>
                    <a:pt x="1161" y="310"/>
                  </a:lnTo>
                  <a:lnTo>
                    <a:pt x="1172" y="306"/>
                  </a:lnTo>
                  <a:lnTo>
                    <a:pt x="1182" y="313"/>
                  </a:lnTo>
                  <a:lnTo>
                    <a:pt x="1202" y="322"/>
                  </a:lnTo>
                  <a:lnTo>
                    <a:pt x="1217" y="330"/>
                  </a:lnTo>
                  <a:lnTo>
                    <a:pt x="1219" y="330"/>
                  </a:lnTo>
                  <a:lnTo>
                    <a:pt x="1229" y="332"/>
                  </a:lnTo>
                  <a:lnTo>
                    <a:pt x="1234" y="332"/>
                  </a:lnTo>
                  <a:lnTo>
                    <a:pt x="1236" y="342"/>
                  </a:lnTo>
                  <a:lnTo>
                    <a:pt x="1248" y="344"/>
                  </a:lnTo>
                  <a:lnTo>
                    <a:pt x="1246" y="349"/>
                  </a:lnTo>
                  <a:lnTo>
                    <a:pt x="1243" y="356"/>
                  </a:lnTo>
                  <a:lnTo>
                    <a:pt x="1238" y="366"/>
                  </a:lnTo>
                  <a:lnTo>
                    <a:pt x="1246" y="371"/>
                  </a:lnTo>
                  <a:lnTo>
                    <a:pt x="1257" y="369"/>
                  </a:lnTo>
                  <a:lnTo>
                    <a:pt x="1263" y="369"/>
                  </a:lnTo>
                  <a:lnTo>
                    <a:pt x="1279" y="364"/>
                  </a:lnTo>
                  <a:lnTo>
                    <a:pt x="1284" y="371"/>
                  </a:lnTo>
                  <a:lnTo>
                    <a:pt x="1289" y="380"/>
                  </a:lnTo>
                  <a:lnTo>
                    <a:pt x="1301" y="375"/>
                  </a:lnTo>
                  <a:lnTo>
                    <a:pt x="1309" y="369"/>
                  </a:lnTo>
                  <a:lnTo>
                    <a:pt x="1313" y="381"/>
                  </a:lnTo>
                  <a:lnTo>
                    <a:pt x="1321" y="385"/>
                  </a:lnTo>
                  <a:lnTo>
                    <a:pt x="1333" y="381"/>
                  </a:lnTo>
                  <a:lnTo>
                    <a:pt x="1340" y="381"/>
                  </a:lnTo>
                  <a:lnTo>
                    <a:pt x="1347" y="383"/>
                  </a:lnTo>
                  <a:lnTo>
                    <a:pt x="1355" y="385"/>
                  </a:lnTo>
                  <a:lnTo>
                    <a:pt x="1364" y="388"/>
                  </a:lnTo>
                  <a:lnTo>
                    <a:pt x="1359" y="393"/>
                  </a:lnTo>
                  <a:lnTo>
                    <a:pt x="1360" y="405"/>
                  </a:lnTo>
                  <a:lnTo>
                    <a:pt x="1370" y="412"/>
                  </a:lnTo>
                  <a:lnTo>
                    <a:pt x="1372" y="407"/>
                  </a:lnTo>
                  <a:lnTo>
                    <a:pt x="1381" y="405"/>
                  </a:lnTo>
                  <a:lnTo>
                    <a:pt x="1389" y="397"/>
                  </a:lnTo>
                  <a:lnTo>
                    <a:pt x="1394" y="392"/>
                  </a:lnTo>
                  <a:lnTo>
                    <a:pt x="1404" y="385"/>
                  </a:lnTo>
                  <a:lnTo>
                    <a:pt x="1404" y="380"/>
                  </a:lnTo>
                  <a:lnTo>
                    <a:pt x="1404" y="378"/>
                  </a:lnTo>
                  <a:lnTo>
                    <a:pt x="1413" y="369"/>
                  </a:lnTo>
                  <a:lnTo>
                    <a:pt x="1415" y="359"/>
                  </a:lnTo>
                  <a:lnTo>
                    <a:pt x="1415" y="357"/>
                  </a:lnTo>
                  <a:lnTo>
                    <a:pt x="1425" y="346"/>
                  </a:lnTo>
                  <a:lnTo>
                    <a:pt x="1437" y="340"/>
                  </a:lnTo>
                  <a:lnTo>
                    <a:pt x="1447" y="342"/>
                  </a:lnTo>
                  <a:lnTo>
                    <a:pt x="1452" y="342"/>
                  </a:lnTo>
                  <a:lnTo>
                    <a:pt x="1455" y="330"/>
                  </a:lnTo>
                  <a:lnTo>
                    <a:pt x="1455" y="334"/>
                  </a:lnTo>
                  <a:lnTo>
                    <a:pt x="1464" y="335"/>
                  </a:lnTo>
                  <a:lnTo>
                    <a:pt x="1474" y="339"/>
                  </a:lnTo>
                  <a:lnTo>
                    <a:pt x="1483" y="339"/>
                  </a:lnTo>
                  <a:lnTo>
                    <a:pt x="1484" y="335"/>
                  </a:lnTo>
                  <a:lnTo>
                    <a:pt x="1495" y="335"/>
                  </a:lnTo>
                  <a:lnTo>
                    <a:pt x="1501" y="329"/>
                  </a:lnTo>
                  <a:lnTo>
                    <a:pt x="1506" y="325"/>
                  </a:lnTo>
                  <a:lnTo>
                    <a:pt x="1512" y="327"/>
                  </a:lnTo>
                  <a:lnTo>
                    <a:pt x="1525" y="325"/>
                  </a:lnTo>
                  <a:lnTo>
                    <a:pt x="1532" y="323"/>
                  </a:lnTo>
                  <a:lnTo>
                    <a:pt x="1537" y="325"/>
                  </a:lnTo>
                  <a:lnTo>
                    <a:pt x="1542" y="337"/>
                  </a:lnTo>
                  <a:lnTo>
                    <a:pt x="1547" y="337"/>
                  </a:lnTo>
                  <a:lnTo>
                    <a:pt x="1557" y="342"/>
                  </a:lnTo>
                  <a:lnTo>
                    <a:pt x="1564" y="342"/>
                  </a:lnTo>
                  <a:lnTo>
                    <a:pt x="1566" y="346"/>
                  </a:lnTo>
                  <a:lnTo>
                    <a:pt x="1554" y="354"/>
                  </a:lnTo>
                  <a:lnTo>
                    <a:pt x="1562" y="356"/>
                  </a:lnTo>
                  <a:lnTo>
                    <a:pt x="1559" y="359"/>
                  </a:lnTo>
                  <a:lnTo>
                    <a:pt x="1562" y="359"/>
                  </a:lnTo>
                  <a:lnTo>
                    <a:pt x="1573" y="373"/>
                  </a:lnTo>
                  <a:lnTo>
                    <a:pt x="1576" y="375"/>
                  </a:lnTo>
                  <a:lnTo>
                    <a:pt x="1581" y="371"/>
                  </a:lnTo>
                  <a:lnTo>
                    <a:pt x="1583" y="363"/>
                  </a:lnTo>
                  <a:lnTo>
                    <a:pt x="1591" y="357"/>
                  </a:lnTo>
                  <a:lnTo>
                    <a:pt x="1591" y="351"/>
                  </a:lnTo>
                  <a:lnTo>
                    <a:pt x="1596" y="342"/>
                  </a:lnTo>
                  <a:lnTo>
                    <a:pt x="1595" y="340"/>
                  </a:lnTo>
                  <a:lnTo>
                    <a:pt x="1603" y="339"/>
                  </a:lnTo>
                  <a:lnTo>
                    <a:pt x="1617" y="340"/>
                  </a:lnTo>
                  <a:lnTo>
                    <a:pt x="1612" y="346"/>
                  </a:lnTo>
                  <a:lnTo>
                    <a:pt x="1615" y="356"/>
                  </a:lnTo>
                  <a:lnTo>
                    <a:pt x="1619" y="357"/>
                  </a:lnTo>
                  <a:lnTo>
                    <a:pt x="1622" y="366"/>
                  </a:lnTo>
                  <a:lnTo>
                    <a:pt x="1630" y="363"/>
                  </a:lnTo>
                  <a:lnTo>
                    <a:pt x="1642"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grpSp>
        <p:nvGrpSpPr>
          <p:cNvPr id="35" name="Group 34">
            <a:extLst>
              <a:ext uri="{FF2B5EF4-FFF2-40B4-BE49-F238E27FC236}">
                <a16:creationId xmlns:a16="http://schemas.microsoft.com/office/drawing/2014/main" id="{ECF9F4F2-041C-459D-A5B8-2A77FB0C24DE}"/>
              </a:ext>
            </a:extLst>
          </p:cNvPr>
          <p:cNvGrpSpPr/>
          <p:nvPr/>
        </p:nvGrpSpPr>
        <p:grpSpPr>
          <a:xfrm>
            <a:off x="200472" y="2564904"/>
            <a:ext cx="1584176" cy="215444"/>
            <a:chOff x="200472" y="2564904"/>
            <a:chExt cx="1584176" cy="215444"/>
          </a:xfrm>
        </p:grpSpPr>
        <p:sp>
          <p:nvSpPr>
            <p:cNvPr id="13" name="Oval 12">
              <a:extLst>
                <a:ext uri="{FF2B5EF4-FFF2-40B4-BE49-F238E27FC236}">
                  <a16:creationId xmlns:a16="http://schemas.microsoft.com/office/drawing/2014/main" id="{A5D2C158-A3B7-4168-BFCC-450084C73A00}"/>
                </a:ext>
              </a:extLst>
            </p:cNvPr>
            <p:cNvSpPr/>
            <p:nvPr/>
          </p:nvSpPr>
          <p:spPr>
            <a:xfrm>
              <a:off x="200472" y="2581186"/>
              <a:ext cx="182880" cy="182880"/>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29" name="TextBox 28">
              <a:extLst>
                <a:ext uri="{FF2B5EF4-FFF2-40B4-BE49-F238E27FC236}">
                  <a16:creationId xmlns:a16="http://schemas.microsoft.com/office/drawing/2014/main" id="{DA0C2636-4E48-4278-B709-43EB37AF8D80}"/>
                </a:ext>
              </a:extLst>
            </p:cNvPr>
            <p:cNvSpPr txBox="1"/>
            <p:nvPr/>
          </p:nvSpPr>
          <p:spPr>
            <a:xfrm>
              <a:off x="479804" y="2564904"/>
              <a:ext cx="1304844" cy="215444"/>
            </a:xfrm>
            <a:prstGeom prst="rect">
              <a:avLst/>
            </a:prstGeom>
          </p:spPr>
          <p:txBody>
            <a:bodyPr vert="horz" wrap="non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CA" sz="1400" dirty="0">
                  <a:ea typeface="HGP創英角ｺﾞｼｯｸUB" panose="020B0A00000000000000" pitchFamily="34" charset="-128"/>
                </a:rPr>
                <a:t>Designated SEZ</a:t>
              </a:r>
            </a:p>
          </p:txBody>
        </p:sp>
      </p:grpSp>
      <p:sp>
        <p:nvSpPr>
          <p:cNvPr id="31" name="TextBox 30">
            <a:extLst>
              <a:ext uri="{FF2B5EF4-FFF2-40B4-BE49-F238E27FC236}">
                <a16:creationId xmlns:a16="http://schemas.microsoft.com/office/drawing/2014/main" id="{61FDBCE4-2F4F-4A31-B377-21AA84353E2B}"/>
              </a:ext>
            </a:extLst>
          </p:cNvPr>
          <p:cNvSpPr txBox="1"/>
          <p:nvPr/>
        </p:nvSpPr>
        <p:spPr>
          <a:xfrm>
            <a:off x="200593" y="2204864"/>
            <a:ext cx="6840639" cy="215444"/>
          </a:xfrm>
          <a:prstGeom prst="rect">
            <a:avLst/>
          </a:prstGeom>
        </p:spPr>
        <p:txBody>
          <a:bodyPr vert="horz" wrap="square" lIns="0" tIns="0" rIns="0" bIns="0" rtlCol="0" anchor="b"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dirty="0">
                <a:ea typeface="HGP創英角ｺﾞｼｯｸUB" panose="020B0A00000000000000" pitchFamily="34" charset="-128"/>
              </a:rPr>
              <a:t>南アフリカの経済特別区</a:t>
            </a:r>
            <a:endParaRPr lang="en-CA" sz="1400" dirty="0">
              <a:ea typeface="HGP創英角ｺﾞｼｯｸUB" panose="020B0A00000000000000" pitchFamily="34" charset="-128"/>
            </a:endParaRPr>
          </a:p>
        </p:txBody>
      </p:sp>
      <p:sp>
        <p:nvSpPr>
          <p:cNvPr id="34" name="Oval 33">
            <a:extLst>
              <a:ext uri="{FF2B5EF4-FFF2-40B4-BE49-F238E27FC236}">
                <a16:creationId xmlns:a16="http://schemas.microsoft.com/office/drawing/2014/main" id="{E3C48523-F3B1-494C-A1EE-9DA9607DEC94}"/>
              </a:ext>
            </a:extLst>
          </p:cNvPr>
          <p:cNvSpPr/>
          <p:nvPr/>
        </p:nvSpPr>
        <p:spPr>
          <a:xfrm>
            <a:off x="1784648" y="5647586"/>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6" name="Oval 35">
            <a:extLst>
              <a:ext uri="{FF2B5EF4-FFF2-40B4-BE49-F238E27FC236}">
                <a16:creationId xmlns:a16="http://schemas.microsoft.com/office/drawing/2014/main" id="{7F128EB5-7DB4-461D-9AE1-3E9D852E280C}"/>
              </a:ext>
            </a:extLst>
          </p:cNvPr>
          <p:cNvSpPr/>
          <p:nvPr/>
        </p:nvSpPr>
        <p:spPr>
          <a:xfrm>
            <a:off x="1856656" y="5902474"/>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7" name="Oval 36">
            <a:extLst>
              <a:ext uri="{FF2B5EF4-FFF2-40B4-BE49-F238E27FC236}">
                <a16:creationId xmlns:a16="http://schemas.microsoft.com/office/drawing/2014/main" id="{5AED59D8-E4C1-492B-8574-604064981AC9}"/>
              </a:ext>
            </a:extLst>
          </p:cNvPr>
          <p:cNvSpPr/>
          <p:nvPr/>
        </p:nvSpPr>
        <p:spPr>
          <a:xfrm>
            <a:off x="3983752" y="57916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8" name="Oval 37">
            <a:extLst>
              <a:ext uri="{FF2B5EF4-FFF2-40B4-BE49-F238E27FC236}">
                <a16:creationId xmlns:a16="http://schemas.microsoft.com/office/drawing/2014/main" id="{10165758-660B-4440-B199-66A70262583C}"/>
              </a:ext>
            </a:extLst>
          </p:cNvPr>
          <p:cNvSpPr/>
          <p:nvPr/>
        </p:nvSpPr>
        <p:spPr>
          <a:xfrm>
            <a:off x="4592960" y="557557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39" name="Oval 38">
            <a:extLst>
              <a:ext uri="{FF2B5EF4-FFF2-40B4-BE49-F238E27FC236}">
                <a16:creationId xmlns:a16="http://schemas.microsoft.com/office/drawing/2014/main" id="{89052F31-49CD-46B6-AC8E-F59765898E5B}"/>
              </a:ext>
            </a:extLst>
          </p:cNvPr>
          <p:cNvSpPr/>
          <p:nvPr/>
        </p:nvSpPr>
        <p:spPr>
          <a:xfrm>
            <a:off x="5457056" y="471148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0" name="Oval 39">
            <a:extLst>
              <a:ext uri="{FF2B5EF4-FFF2-40B4-BE49-F238E27FC236}">
                <a16:creationId xmlns:a16="http://schemas.microsoft.com/office/drawing/2014/main" id="{9A324343-C9F8-4880-8809-554AE6CB06AD}"/>
              </a:ext>
            </a:extLst>
          </p:cNvPr>
          <p:cNvSpPr/>
          <p:nvPr/>
        </p:nvSpPr>
        <p:spPr>
          <a:xfrm>
            <a:off x="5745088" y="442345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1" name="Oval 40">
            <a:extLst>
              <a:ext uri="{FF2B5EF4-FFF2-40B4-BE49-F238E27FC236}">
                <a16:creationId xmlns:a16="http://schemas.microsoft.com/office/drawing/2014/main" id="{3403D934-78C0-4619-8EC6-5750DF985030}"/>
              </a:ext>
            </a:extLst>
          </p:cNvPr>
          <p:cNvSpPr/>
          <p:nvPr/>
        </p:nvSpPr>
        <p:spPr>
          <a:xfrm>
            <a:off x="4880992" y="269525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2" name="Oval 41">
            <a:extLst>
              <a:ext uri="{FF2B5EF4-FFF2-40B4-BE49-F238E27FC236}">
                <a16:creationId xmlns:a16="http://schemas.microsoft.com/office/drawing/2014/main" id="{23BCD7AC-5393-4D69-8AF9-3B3718DF4D62}"/>
              </a:ext>
            </a:extLst>
          </p:cNvPr>
          <p:cNvSpPr/>
          <p:nvPr/>
        </p:nvSpPr>
        <p:spPr>
          <a:xfrm>
            <a:off x="5567928" y="3454202"/>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3" name="Oval 42">
            <a:extLst>
              <a:ext uri="{FF2B5EF4-FFF2-40B4-BE49-F238E27FC236}">
                <a16:creationId xmlns:a16="http://schemas.microsoft.com/office/drawing/2014/main" id="{8AFC04E8-3ADE-4B03-8673-B0513C078E2F}"/>
              </a:ext>
            </a:extLst>
          </p:cNvPr>
          <p:cNvSpPr/>
          <p:nvPr/>
        </p:nvSpPr>
        <p:spPr>
          <a:xfrm>
            <a:off x="4592960" y="3703370"/>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sp>
        <p:nvSpPr>
          <p:cNvPr id="44" name="Oval 43">
            <a:extLst>
              <a:ext uri="{FF2B5EF4-FFF2-40B4-BE49-F238E27FC236}">
                <a16:creationId xmlns:a16="http://schemas.microsoft.com/office/drawing/2014/main" id="{1CDA4A8F-15A0-49CA-AB99-D2653C3AA83D}"/>
              </a:ext>
            </a:extLst>
          </p:cNvPr>
          <p:cNvSpPr/>
          <p:nvPr/>
        </p:nvSpPr>
        <p:spPr>
          <a:xfrm>
            <a:off x="4592960" y="4135418"/>
            <a:ext cx="105152" cy="105152"/>
          </a:xfrm>
          <a:prstGeom prst="ellipse">
            <a:avLst/>
          </a:prstGeom>
          <a:solidFill>
            <a:schemeClr val="accent1"/>
          </a:solidFill>
        </p:spPr>
        <p:txBody>
          <a:bodyPr wrap="square" rtlCol="0" anchor="ctr">
            <a:noAutofit/>
          </a:bodyPr>
          <a:lstStyle/>
          <a:p>
            <a:pPr marL="0" algn="ctr" fontAlgn="ctr">
              <a:lnSpc>
                <a:spcPct val="114000"/>
              </a:lnSpc>
              <a:spcAft>
                <a:spcPts val="400"/>
              </a:spcAft>
            </a:pPr>
            <a:endParaRPr kumimoji="1" lang="en-CA" sz="1200" dirty="0"/>
          </a:p>
        </p:txBody>
      </p:sp>
      <p:pic>
        <p:nvPicPr>
          <p:cNvPr id="48" name="Picture 47">
            <a:extLst>
              <a:ext uri="{FF2B5EF4-FFF2-40B4-BE49-F238E27FC236}">
                <a16:creationId xmlns:a16="http://schemas.microsoft.com/office/drawing/2014/main" id="{B4F2F911-10C0-4DEE-8CBB-652DF35D5DCE}"/>
              </a:ext>
            </a:extLst>
          </p:cNvPr>
          <p:cNvPicPr>
            <a:picLocks noChangeAspect="1"/>
          </p:cNvPicPr>
          <p:nvPr/>
        </p:nvPicPr>
        <p:blipFill>
          <a:blip r:embed="rId7"/>
          <a:stretch>
            <a:fillRect/>
          </a:stretch>
        </p:blipFill>
        <p:spPr>
          <a:xfrm>
            <a:off x="331618" y="5575578"/>
            <a:ext cx="1402875" cy="301694"/>
          </a:xfrm>
          <a:prstGeom prst="rect">
            <a:avLst/>
          </a:prstGeom>
        </p:spPr>
      </p:pic>
      <p:pic>
        <p:nvPicPr>
          <p:cNvPr id="50" name="Picture 49">
            <a:extLst>
              <a:ext uri="{FF2B5EF4-FFF2-40B4-BE49-F238E27FC236}">
                <a16:creationId xmlns:a16="http://schemas.microsoft.com/office/drawing/2014/main" id="{A6BA6441-E036-4660-8520-48BA03263993}"/>
              </a:ext>
            </a:extLst>
          </p:cNvPr>
          <p:cNvPicPr>
            <a:picLocks noChangeAspect="1"/>
          </p:cNvPicPr>
          <p:nvPr/>
        </p:nvPicPr>
        <p:blipFill>
          <a:blip r:embed="rId8"/>
          <a:stretch>
            <a:fillRect/>
          </a:stretch>
        </p:blipFill>
        <p:spPr>
          <a:xfrm>
            <a:off x="1424608" y="5949280"/>
            <a:ext cx="352474" cy="342948"/>
          </a:xfrm>
          <a:prstGeom prst="rect">
            <a:avLst/>
          </a:prstGeom>
        </p:spPr>
      </p:pic>
      <p:pic>
        <p:nvPicPr>
          <p:cNvPr id="52" name="Picture 51">
            <a:extLst>
              <a:ext uri="{FF2B5EF4-FFF2-40B4-BE49-F238E27FC236}">
                <a16:creationId xmlns:a16="http://schemas.microsoft.com/office/drawing/2014/main" id="{F074ED3B-B14A-4987-9A3F-6AF0E1D8F23C}"/>
              </a:ext>
            </a:extLst>
          </p:cNvPr>
          <p:cNvPicPr>
            <a:picLocks noChangeAspect="1"/>
          </p:cNvPicPr>
          <p:nvPr/>
        </p:nvPicPr>
        <p:blipFill>
          <a:blip r:embed="rId9"/>
          <a:stretch>
            <a:fillRect/>
          </a:stretch>
        </p:blipFill>
        <p:spPr>
          <a:xfrm>
            <a:off x="3872880" y="5949280"/>
            <a:ext cx="521234" cy="537716"/>
          </a:xfrm>
          <a:prstGeom prst="rect">
            <a:avLst/>
          </a:prstGeom>
        </p:spPr>
      </p:pic>
      <p:pic>
        <p:nvPicPr>
          <p:cNvPr id="54" name="Picture 53">
            <a:extLst>
              <a:ext uri="{FF2B5EF4-FFF2-40B4-BE49-F238E27FC236}">
                <a16:creationId xmlns:a16="http://schemas.microsoft.com/office/drawing/2014/main" id="{DAC23042-9FD8-4D27-8165-8D3FC76D5791}"/>
              </a:ext>
            </a:extLst>
          </p:cNvPr>
          <p:cNvPicPr>
            <a:picLocks noChangeAspect="1"/>
          </p:cNvPicPr>
          <p:nvPr/>
        </p:nvPicPr>
        <p:blipFill>
          <a:blip r:embed="rId10"/>
          <a:stretch>
            <a:fillRect/>
          </a:stretch>
        </p:blipFill>
        <p:spPr>
          <a:xfrm>
            <a:off x="4592960" y="5733256"/>
            <a:ext cx="1037254" cy="444536"/>
          </a:xfrm>
          <a:prstGeom prst="rect">
            <a:avLst/>
          </a:prstGeom>
        </p:spPr>
      </p:pic>
      <p:pic>
        <p:nvPicPr>
          <p:cNvPr id="56" name="Picture 55">
            <a:extLst>
              <a:ext uri="{FF2B5EF4-FFF2-40B4-BE49-F238E27FC236}">
                <a16:creationId xmlns:a16="http://schemas.microsoft.com/office/drawing/2014/main" id="{4E2011DD-17C0-4198-BDDE-0E611717636D}"/>
              </a:ext>
            </a:extLst>
          </p:cNvPr>
          <p:cNvPicPr>
            <a:picLocks noChangeAspect="1"/>
          </p:cNvPicPr>
          <p:nvPr/>
        </p:nvPicPr>
        <p:blipFill>
          <a:blip r:embed="rId11"/>
          <a:stretch>
            <a:fillRect/>
          </a:stretch>
        </p:blipFill>
        <p:spPr>
          <a:xfrm>
            <a:off x="5601072" y="4711482"/>
            <a:ext cx="432048" cy="245728"/>
          </a:xfrm>
          <a:prstGeom prst="rect">
            <a:avLst/>
          </a:prstGeom>
        </p:spPr>
      </p:pic>
      <p:pic>
        <p:nvPicPr>
          <p:cNvPr id="61" name="Picture 60">
            <a:extLst>
              <a:ext uri="{FF2B5EF4-FFF2-40B4-BE49-F238E27FC236}">
                <a16:creationId xmlns:a16="http://schemas.microsoft.com/office/drawing/2014/main" id="{803A2FC5-0B45-4BB8-A6BF-44389B897CAD}"/>
              </a:ext>
            </a:extLst>
          </p:cNvPr>
          <p:cNvPicPr>
            <a:picLocks noChangeAspect="1"/>
          </p:cNvPicPr>
          <p:nvPr/>
        </p:nvPicPr>
        <p:blipFill>
          <a:blip r:embed="rId12"/>
          <a:stretch>
            <a:fillRect/>
          </a:stretch>
        </p:blipFill>
        <p:spPr>
          <a:xfrm>
            <a:off x="5889104" y="3356992"/>
            <a:ext cx="370842" cy="288032"/>
          </a:xfrm>
          <a:prstGeom prst="rect">
            <a:avLst/>
          </a:prstGeom>
        </p:spPr>
      </p:pic>
      <p:pic>
        <p:nvPicPr>
          <p:cNvPr id="63" name="Picture 62">
            <a:extLst>
              <a:ext uri="{FF2B5EF4-FFF2-40B4-BE49-F238E27FC236}">
                <a16:creationId xmlns:a16="http://schemas.microsoft.com/office/drawing/2014/main" id="{1E3788BD-34A6-44AB-8CB7-3DFF82AD05B0}"/>
              </a:ext>
            </a:extLst>
          </p:cNvPr>
          <p:cNvPicPr>
            <a:picLocks noChangeAspect="1"/>
          </p:cNvPicPr>
          <p:nvPr/>
        </p:nvPicPr>
        <p:blipFill>
          <a:blip r:embed="rId13"/>
          <a:stretch>
            <a:fillRect/>
          </a:stretch>
        </p:blipFill>
        <p:spPr>
          <a:xfrm>
            <a:off x="4257455" y="2276872"/>
            <a:ext cx="479521" cy="405368"/>
          </a:xfrm>
          <a:prstGeom prst="rect">
            <a:avLst/>
          </a:prstGeom>
        </p:spPr>
      </p:pic>
      <p:pic>
        <p:nvPicPr>
          <p:cNvPr id="65" name="Picture 64">
            <a:extLst>
              <a:ext uri="{FF2B5EF4-FFF2-40B4-BE49-F238E27FC236}">
                <a16:creationId xmlns:a16="http://schemas.microsoft.com/office/drawing/2014/main" id="{39611C18-187F-4CA4-8F0D-3F875332C06B}"/>
              </a:ext>
            </a:extLst>
          </p:cNvPr>
          <p:cNvPicPr>
            <a:picLocks noChangeAspect="1"/>
          </p:cNvPicPr>
          <p:nvPr/>
        </p:nvPicPr>
        <p:blipFill>
          <a:blip r:embed="rId14"/>
          <a:stretch>
            <a:fillRect/>
          </a:stretch>
        </p:blipFill>
        <p:spPr>
          <a:xfrm>
            <a:off x="2936776" y="2780928"/>
            <a:ext cx="982470" cy="579818"/>
          </a:xfrm>
          <a:prstGeom prst="rect">
            <a:avLst/>
          </a:prstGeom>
        </p:spPr>
      </p:pic>
      <p:cxnSp>
        <p:nvCxnSpPr>
          <p:cNvPr id="67" name="Straight Arrow Connector 66">
            <a:extLst>
              <a:ext uri="{FF2B5EF4-FFF2-40B4-BE49-F238E27FC236}">
                <a16:creationId xmlns:a16="http://schemas.microsoft.com/office/drawing/2014/main" id="{BDBC200B-3267-428A-A60B-7C1C804A6091}"/>
              </a:ext>
            </a:extLst>
          </p:cNvPr>
          <p:cNvCxnSpPr>
            <a:cxnSpLocks/>
            <a:stCxn id="65" idx="3"/>
            <a:endCxn id="43" idx="1"/>
          </p:cNvCxnSpPr>
          <p:nvPr/>
        </p:nvCxnSpPr>
        <p:spPr>
          <a:xfrm>
            <a:off x="3919246" y="3070837"/>
            <a:ext cx="689113" cy="647932"/>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pic>
        <p:nvPicPr>
          <p:cNvPr id="70" name="Picture 69">
            <a:extLst>
              <a:ext uri="{FF2B5EF4-FFF2-40B4-BE49-F238E27FC236}">
                <a16:creationId xmlns:a16="http://schemas.microsoft.com/office/drawing/2014/main" id="{7819F524-F8BD-4F08-B307-0A0AB9FCDDBF}"/>
              </a:ext>
            </a:extLst>
          </p:cNvPr>
          <p:cNvPicPr>
            <a:picLocks noChangeAspect="1"/>
          </p:cNvPicPr>
          <p:nvPr/>
        </p:nvPicPr>
        <p:blipFill>
          <a:blip r:embed="rId15"/>
          <a:stretch>
            <a:fillRect/>
          </a:stretch>
        </p:blipFill>
        <p:spPr>
          <a:xfrm>
            <a:off x="560512" y="3645024"/>
            <a:ext cx="1488058" cy="562416"/>
          </a:xfrm>
          <a:prstGeom prst="rect">
            <a:avLst/>
          </a:prstGeom>
        </p:spPr>
      </p:pic>
      <p:cxnSp>
        <p:nvCxnSpPr>
          <p:cNvPr id="71" name="Straight Arrow Connector 70">
            <a:extLst>
              <a:ext uri="{FF2B5EF4-FFF2-40B4-BE49-F238E27FC236}">
                <a16:creationId xmlns:a16="http://schemas.microsoft.com/office/drawing/2014/main" id="{77A07C63-E769-4DDF-8C5D-6B870CC4EFF9}"/>
              </a:ext>
            </a:extLst>
          </p:cNvPr>
          <p:cNvCxnSpPr>
            <a:cxnSpLocks/>
          </p:cNvCxnSpPr>
          <p:nvPr/>
        </p:nvCxnSpPr>
        <p:spPr>
          <a:xfrm>
            <a:off x="1856656" y="4149080"/>
            <a:ext cx="2751703" cy="0"/>
          </a:xfrm>
          <a:prstGeom prst="straightConnector1">
            <a:avLst/>
          </a:prstGeom>
          <a:ln w="9525">
            <a:solidFill>
              <a:schemeClr val="bg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326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9C0B41-1A8A-4A9D-B0E5-2DB422B44C0F}"/>
              </a:ext>
            </a:extLst>
          </p:cNvPr>
          <p:cNvGraphicFramePr>
            <a:graphicFrameLocks noChangeAspect="1"/>
          </p:cNvGraphicFramePr>
          <p:nvPr>
            <p:custDataLst>
              <p:tags r:id="rId1"/>
            </p:custDataLst>
            <p:extLst>
              <p:ext uri="{D42A27DB-BD31-4B8C-83A1-F6EECF244321}">
                <p14:modId xmlns:p14="http://schemas.microsoft.com/office/powerpoint/2010/main" val="38827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F9C0B41-1A8A-4A9D-B0E5-2DB422B44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5.3</a:t>
            </a:r>
            <a:r>
              <a:rPr lang="ja-JP" altLang="en-US" dirty="0"/>
              <a:t>歳、健康寿命は</a:t>
            </a:r>
            <a:r>
              <a:rPr lang="en-US" altLang="ja-JP" dirty="0"/>
              <a:t>56.2</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16" name="表 15"/>
          <p:cNvGraphicFramePr>
            <a:graphicFrameLocks noGrp="1"/>
          </p:cNvGraphicFramePr>
          <p:nvPr>
            <p:extLst>
              <p:ext uri="{D42A27DB-BD31-4B8C-83A1-F6EECF244321}">
                <p14:modId xmlns:p14="http://schemas.microsoft.com/office/powerpoint/2010/main" val="4073742258"/>
              </p:ext>
            </p:extLst>
          </p:nvPr>
        </p:nvGraphicFramePr>
        <p:xfrm>
          <a:off x="1352600" y="1700808"/>
          <a:ext cx="7295827" cy="4436452"/>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011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82819">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2819">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50556">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4.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0556">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3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2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820175">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8%</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01113">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7%</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4" name="Chart 606">
            <a:extLst>
              <a:ext uri="{FF2B5EF4-FFF2-40B4-BE49-F238E27FC236}">
                <a16:creationId xmlns:a16="http://schemas.microsoft.com/office/drawing/2014/main" id="{73B74549-99B2-2B35-25F3-25AECADCEF35}"/>
              </a:ext>
            </a:extLst>
          </p:cNvPr>
          <p:cNvGraphicFramePr/>
          <p:nvPr>
            <p:custDataLst>
              <p:tags r:id="rId1"/>
            </p:custDataLst>
            <p:extLst>
              <p:ext uri="{D42A27DB-BD31-4B8C-83A1-F6EECF244321}">
                <p14:modId xmlns:p14="http://schemas.microsoft.com/office/powerpoint/2010/main" val="121462109"/>
              </p:ext>
            </p:extLst>
          </p:nvPr>
        </p:nvGraphicFramePr>
        <p:xfrm>
          <a:off x="1034039" y="2139879"/>
          <a:ext cx="7205663" cy="1830387"/>
        </p:xfrm>
        <a:graphic>
          <a:graphicData uri="http://schemas.openxmlformats.org/drawingml/2006/chart">
            <c:chart xmlns:c="http://schemas.openxmlformats.org/drawingml/2006/chart" xmlns:r="http://schemas.openxmlformats.org/officeDocument/2006/relationships" r:id="rId196"/>
          </a:graphicData>
        </a:graphic>
      </p:graphicFrame>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80852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7" imgW="270" imgH="270" progId="TCLayout.ActiveDocument.1">
                  <p:embed/>
                </p:oleObj>
              </mc:Choice>
              <mc:Fallback>
                <p:oleObj name="think-cell Slide" r:id="rId197" imgW="270" imgH="270" progId="TCLayout.ActiveDocument.1">
                  <p:embed/>
                  <p:pic>
                    <p:nvPicPr>
                      <p:cNvPr id="8" name="オブジェクト 7" hidden="1"/>
                      <p:cNvPicPr>
                        <a:picLocks noChangeAspect="1" noChangeArrowheads="1"/>
                      </p:cNvPicPr>
                      <p:nvPr/>
                    </p:nvPicPr>
                    <p:blipFill>
                      <a:blip r:embed="rId1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33" name="テキスト ボックス 32"/>
          <p:cNvSpPr txBox="1"/>
          <p:nvPr/>
        </p:nvSpPr>
        <p:spPr>
          <a:xfrm>
            <a:off x="503252" y="4522434"/>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cxnSp>
        <p:nvCxnSpPr>
          <p:cNvPr id="29" name="直線コネクタ 28"/>
          <p:cNvCxnSpPr/>
          <p:nvPr/>
        </p:nvCxnSpPr>
        <p:spPr>
          <a:xfrm>
            <a:off x="630723" y="1968501"/>
            <a:ext cx="863392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nvGrpSpPr>
          <p:cNvPr id="32" name="グループ化 7"/>
          <p:cNvGrpSpPr/>
          <p:nvPr/>
        </p:nvGrpSpPr>
        <p:grpSpPr>
          <a:xfrm>
            <a:off x="597596" y="4173538"/>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4" name="Chart 373">
            <a:extLst>
              <a:ext uri="{FF2B5EF4-FFF2-40B4-BE49-F238E27FC236}">
                <a16:creationId xmlns:a16="http://schemas.microsoft.com/office/drawing/2014/main" id="{90162C8A-16D9-4D9E-A23E-410E8E14C1A8}"/>
              </a:ext>
            </a:extLst>
          </p:cNvPr>
          <p:cNvGraphicFramePr/>
          <p:nvPr>
            <p:custDataLst>
              <p:tags r:id="rId4"/>
            </p:custDataLst>
            <p:extLst>
              <p:ext uri="{D42A27DB-BD31-4B8C-83A1-F6EECF244321}">
                <p14:modId xmlns:p14="http://schemas.microsoft.com/office/powerpoint/2010/main" val="4222375740"/>
              </p:ext>
            </p:extLst>
          </p:nvPr>
        </p:nvGraphicFramePr>
        <p:xfrm>
          <a:off x="713011" y="4481861"/>
          <a:ext cx="7980360" cy="1713035"/>
        </p:xfrm>
        <a:graphic>
          <a:graphicData uri="http://schemas.openxmlformats.org/drawingml/2006/chart">
            <c:chart xmlns:c="http://schemas.openxmlformats.org/drawingml/2006/chart" xmlns:r="http://schemas.openxmlformats.org/officeDocument/2006/relationships" r:id="rId199"/>
          </a:graphicData>
        </a:graphic>
      </p:graphicFrame>
      <p:sp>
        <p:nvSpPr>
          <p:cNvPr id="320" name="テキスト プレースホルダ 9">
            <a:extLst>
              <a:ext uri="{FF2B5EF4-FFF2-40B4-BE49-F238E27FC236}">
                <a16:creationId xmlns:a16="http://schemas.microsoft.com/office/drawing/2014/main" id="{3E2FD70E-8728-458F-BD9D-548AA3681B7E}"/>
              </a:ext>
            </a:extLst>
          </p:cNvPr>
          <p:cNvSpPr>
            <a:spLocks noGrp="1"/>
          </p:cNvSpPr>
          <p:nvPr>
            <p:custDataLst>
              <p:tags r:id="rId5"/>
            </p:custDataLst>
          </p:nvPr>
        </p:nvSpPr>
        <p:spPr bwMode="gray">
          <a:xfrm>
            <a:off x="7305164" y="557126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26</a:t>
            </a:r>
            <a:endParaRPr lang="ja-JP" altLang="en-US" sz="1000" dirty="0">
              <a:sym typeface="+mn-lt"/>
            </a:endParaRPr>
          </a:p>
        </p:txBody>
      </p:sp>
      <p:sp>
        <p:nvSpPr>
          <p:cNvPr id="212" name="テキスト プレースホルダ 9"/>
          <p:cNvSpPr>
            <a:spLocks noGrp="1"/>
          </p:cNvSpPr>
          <p:nvPr>
            <p:custDataLst>
              <p:tags r:id="rId6"/>
            </p:custDataLst>
          </p:nvPr>
        </p:nvSpPr>
        <p:spPr bwMode="gray">
          <a:xfrm>
            <a:off x="1551516" y="5936009"/>
            <a:ext cx="244475" cy="152400"/>
          </a:xfrm>
          <a:prstGeom prst="rect">
            <a:avLst/>
          </a:prstGeom>
          <a:no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rPr>
              <a:t>69</a:t>
            </a:r>
            <a:endParaRPr kumimoji="0" lang="ja-JP" altLang="en-US" sz="1000" dirty="0">
              <a:sym typeface="+mn-lt"/>
            </a:endParaRPr>
          </a:p>
        </p:txBody>
      </p:sp>
      <p:sp>
        <p:nvSpPr>
          <p:cNvPr id="186" name="テキスト プレースホルダ 9">
            <a:extLst>
              <a:ext uri="{FF2B5EF4-FFF2-40B4-BE49-F238E27FC236}">
                <a16:creationId xmlns:a16="http://schemas.microsoft.com/office/drawing/2014/main" id="{B3BBCB0C-20B4-4935-BDCC-26831DA8B4F9}"/>
              </a:ext>
            </a:extLst>
          </p:cNvPr>
          <p:cNvSpPr>
            <a:spLocks noGrp="1"/>
          </p:cNvSpPr>
          <p:nvPr>
            <p:custDataLst>
              <p:tags r:id="rId7"/>
            </p:custDataLst>
          </p:nvPr>
        </p:nvSpPr>
        <p:spPr bwMode="gray">
          <a:xfrm>
            <a:off x="1555077" y="570923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135</a:t>
            </a:r>
            <a:endParaRPr lang="ja-JP" altLang="en-US" sz="1000" dirty="0">
              <a:sym typeface="+mn-lt"/>
            </a:endParaRPr>
          </a:p>
        </p:txBody>
      </p:sp>
      <p:sp>
        <p:nvSpPr>
          <p:cNvPr id="90" name="テキスト プレースホルダ 9"/>
          <p:cNvSpPr>
            <a:spLocks noGrp="1"/>
          </p:cNvSpPr>
          <p:nvPr>
            <p:custDataLst>
              <p:tags r:id="rId8"/>
            </p:custDataLst>
          </p:nvPr>
        </p:nvSpPr>
        <p:spPr bwMode="auto">
          <a:xfrm>
            <a:off x="1208584" y="606345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2BDBF174-6950-4E47-B43E-70BCA7D7FEB7}"/>
              </a:ext>
            </a:extLst>
          </p:cNvPr>
          <p:cNvSpPr>
            <a:spLocks noGrp="1"/>
          </p:cNvSpPr>
          <p:nvPr>
            <p:custDataLst>
              <p:tags r:id="rId9"/>
            </p:custDataLst>
          </p:nvPr>
        </p:nvSpPr>
        <p:spPr bwMode="gray">
          <a:xfrm>
            <a:off x="2911956" y="5445920"/>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243</a:t>
            </a:r>
            <a:endParaRPr lang="ja-JP" altLang="en-US" sz="1000" dirty="0">
              <a:sym typeface="+mn-lt"/>
            </a:endParaRPr>
          </a:p>
        </p:txBody>
      </p:sp>
      <p:sp>
        <p:nvSpPr>
          <p:cNvPr id="346" name="テキスト プレースホルダ 9">
            <a:extLst>
              <a:ext uri="{FF2B5EF4-FFF2-40B4-BE49-F238E27FC236}">
                <a16:creationId xmlns:a16="http://schemas.microsoft.com/office/drawing/2014/main" id="{9B0FBBE6-F51B-40B4-9DF7-874CF2D4D6C6}"/>
              </a:ext>
            </a:extLst>
          </p:cNvPr>
          <p:cNvSpPr>
            <a:spLocks noGrp="1"/>
          </p:cNvSpPr>
          <p:nvPr>
            <p:custDataLst>
              <p:tags r:id="rId10"/>
            </p:custDataLst>
          </p:nvPr>
        </p:nvSpPr>
        <p:spPr bwMode="gray">
          <a:xfrm>
            <a:off x="6606438" y="4925317"/>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63</a:t>
            </a:r>
            <a:endParaRPr lang="ja-JP" altLang="en-US" sz="1000" dirty="0">
              <a:sym typeface="+mn-lt"/>
            </a:endParaRPr>
          </a:p>
        </p:txBody>
      </p:sp>
      <p:sp>
        <p:nvSpPr>
          <p:cNvPr id="89" name="テキスト プレースホルダ 9"/>
          <p:cNvSpPr>
            <a:spLocks noGrp="1"/>
          </p:cNvSpPr>
          <p:nvPr>
            <p:custDataLst>
              <p:tags r:id="rId11"/>
            </p:custDataLst>
          </p:nvPr>
        </p:nvSpPr>
        <p:spPr bwMode="auto">
          <a:xfrm>
            <a:off x="1621334" y="606479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1" name="テキスト プレースホルダ 9"/>
          <p:cNvSpPr>
            <a:spLocks noGrp="1"/>
          </p:cNvSpPr>
          <p:nvPr>
            <p:custDataLst>
              <p:tags r:id="rId12"/>
            </p:custDataLst>
          </p:nvPr>
        </p:nvSpPr>
        <p:spPr bwMode="auto">
          <a:xfrm>
            <a:off x="1962647" y="6066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86" name="テキスト プレースホルダ 9"/>
          <p:cNvSpPr>
            <a:spLocks noGrp="1"/>
          </p:cNvSpPr>
          <p:nvPr>
            <p:custDataLst>
              <p:tags r:id="rId13"/>
            </p:custDataLst>
          </p:nvPr>
        </p:nvSpPr>
        <p:spPr bwMode="auto">
          <a:xfrm>
            <a:off x="3332659" y="60674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124" name="テキスト プレースホルダ 9"/>
          <p:cNvSpPr>
            <a:spLocks noGrp="1"/>
          </p:cNvSpPr>
          <p:nvPr>
            <p:custDataLst>
              <p:tags r:id="rId14"/>
            </p:custDataLst>
          </p:nvPr>
        </p:nvSpPr>
        <p:spPr bwMode="gray">
          <a:xfrm>
            <a:off x="1557180" y="5455668"/>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04</a:t>
            </a:r>
            <a:endParaRPr kumimoji="0" lang="ja-JP" altLang="en-US" sz="1000" dirty="0">
              <a:sym typeface="+mn-lt"/>
            </a:endParaRPr>
          </a:p>
        </p:txBody>
      </p:sp>
      <p:sp>
        <p:nvSpPr>
          <p:cNvPr id="214" name="テキスト プレースホルダ 9"/>
          <p:cNvSpPr>
            <a:spLocks noGrp="1"/>
          </p:cNvSpPr>
          <p:nvPr>
            <p:custDataLst>
              <p:tags r:id="rId15"/>
            </p:custDataLst>
          </p:nvPr>
        </p:nvSpPr>
        <p:spPr bwMode="gray">
          <a:xfrm>
            <a:off x="2238615" y="5874872"/>
            <a:ext cx="244475" cy="152400"/>
          </a:xfrm>
          <a:prstGeom prst="rect">
            <a:avLst/>
          </a:prstGeom>
          <a:no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rPr>
              <a:t>114</a:t>
            </a:r>
            <a:endParaRPr kumimoji="0" lang="ja-JP" altLang="en-US" sz="1000" dirty="0">
              <a:sym typeface="+mn-lt"/>
            </a:endParaRPr>
          </a:p>
        </p:txBody>
      </p:sp>
      <p:sp>
        <p:nvSpPr>
          <p:cNvPr id="92" name="テキスト プレースホルダ 9"/>
          <p:cNvSpPr>
            <a:spLocks noGrp="1"/>
          </p:cNvSpPr>
          <p:nvPr>
            <p:custDataLst>
              <p:tags r:id="rId16"/>
            </p:custDataLst>
          </p:nvPr>
        </p:nvSpPr>
        <p:spPr bwMode="auto">
          <a:xfrm>
            <a:off x="2305547" y="606882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85" name="テキスト プレースホルダ 9"/>
          <p:cNvSpPr>
            <a:spLocks noGrp="1"/>
          </p:cNvSpPr>
          <p:nvPr>
            <p:custDataLst>
              <p:tags r:id="rId17"/>
            </p:custDataLst>
          </p:nvPr>
        </p:nvSpPr>
        <p:spPr bwMode="auto">
          <a:xfrm>
            <a:off x="2648447" y="607016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15" name="テキスト プレースホルダ 9"/>
          <p:cNvSpPr>
            <a:spLocks noGrp="1"/>
          </p:cNvSpPr>
          <p:nvPr>
            <p:custDataLst>
              <p:tags r:id="rId18"/>
            </p:custDataLst>
          </p:nvPr>
        </p:nvSpPr>
        <p:spPr bwMode="gray">
          <a:xfrm>
            <a:off x="2560591" y="5826472"/>
            <a:ext cx="244475" cy="152400"/>
          </a:xfrm>
          <a:prstGeom prst="rect">
            <a:avLst/>
          </a:prstGeom>
          <a:no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rPr>
              <a:t>144</a:t>
            </a:r>
            <a:endParaRPr kumimoji="0" lang="ja-JP" altLang="en-US" sz="1000" dirty="0">
              <a:sym typeface="+mn-lt"/>
            </a:endParaRPr>
          </a:p>
        </p:txBody>
      </p:sp>
      <p:sp>
        <p:nvSpPr>
          <p:cNvPr id="343" name="テキスト プレースホルダ 9">
            <a:extLst>
              <a:ext uri="{FF2B5EF4-FFF2-40B4-BE49-F238E27FC236}">
                <a16:creationId xmlns:a16="http://schemas.microsoft.com/office/drawing/2014/main" id="{4516AC40-6E8C-40FC-9922-24015B4CF2CD}"/>
              </a:ext>
            </a:extLst>
          </p:cNvPr>
          <p:cNvSpPr>
            <a:spLocks noGrp="1"/>
          </p:cNvSpPr>
          <p:nvPr>
            <p:custDataLst>
              <p:tags r:id="rId19"/>
            </p:custDataLst>
          </p:nvPr>
        </p:nvSpPr>
        <p:spPr bwMode="gray">
          <a:xfrm>
            <a:off x="2903491" y="581853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rPr>
              <a:t>162</a:t>
            </a:r>
            <a:endParaRPr kumimoji="0" lang="ja-JP" altLang="en-US" sz="1000" dirty="0">
              <a:sym typeface="+mn-lt"/>
            </a:endParaRPr>
          </a:p>
        </p:txBody>
      </p:sp>
      <p:sp>
        <p:nvSpPr>
          <p:cNvPr id="93" name="テキスト プレースホルダ 9"/>
          <p:cNvSpPr>
            <a:spLocks noGrp="1"/>
          </p:cNvSpPr>
          <p:nvPr>
            <p:custDataLst>
              <p:tags r:id="rId20"/>
            </p:custDataLst>
          </p:nvPr>
        </p:nvSpPr>
        <p:spPr bwMode="auto">
          <a:xfrm>
            <a:off x="2991347" y="607150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E8B7AE85-0B6E-4D65-9B1A-060D6182D71C}"/>
              </a:ext>
            </a:extLst>
          </p:cNvPr>
          <p:cNvSpPr>
            <a:spLocks noGrp="1"/>
          </p:cNvSpPr>
          <p:nvPr>
            <p:custDataLst>
              <p:tags r:id="rId21"/>
            </p:custDataLst>
          </p:nvPr>
        </p:nvSpPr>
        <p:spPr bwMode="gray">
          <a:xfrm>
            <a:off x="3253269" y="5385595"/>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224</a:t>
            </a:r>
            <a:endParaRPr lang="ja-JP" altLang="en-US" sz="1000" dirty="0">
              <a:sym typeface="+mn-lt"/>
            </a:endParaRPr>
          </a:p>
        </p:txBody>
      </p:sp>
      <p:sp>
        <p:nvSpPr>
          <p:cNvPr id="194" name="テキスト プレースホルダ 9"/>
          <p:cNvSpPr>
            <a:spLocks noGrp="1"/>
          </p:cNvSpPr>
          <p:nvPr>
            <p:custDataLst>
              <p:tags r:id="rId22"/>
            </p:custDataLst>
          </p:nvPr>
        </p:nvSpPr>
        <p:spPr bwMode="gray">
          <a:xfrm>
            <a:off x="2562823" y="5085184"/>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366</a:t>
            </a:r>
            <a:endParaRPr kumimoji="0" lang="ja-JP" altLang="en-US" sz="1000" dirty="0">
              <a:sym typeface="+mn-lt"/>
            </a:endParaRPr>
          </a:p>
        </p:txBody>
      </p:sp>
      <p:sp>
        <p:nvSpPr>
          <p:cNvPr id="344" name="テキスト プレースホルダ 9">
            <a:extLst>
              <a:ext uri="{FF2B5EF4-FFF2-40B4-BE49-F238E27FC236}">
                <a16:creationId xmlns:a16="http://schemas.microsoft.com/office/drawing/2014/main" id="{29C71B5D-CD2F-4AC8-8553-719D7C868D18}"/>
              </a:ext>
            </a:extLst>
          </p:cNvPr>
          <p:cNvSpPr>
            <a:spLocks noGrp="1"/>
          </p:cNvSpPr>
          <p:nvPr>
            <p:custDataLst>
              <p:tags r:id="rId23"/>
            </p:custDataLst>
          </p:nvPr>
        </p:nvSpPr>
        <p:spPr bwMode="gray">
          <a:xfrm>
            <a:off x="3244804" y="577725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rPr>
              <a:t>198</a:t>
            </a:r>
            <a:endParaRPr kumimoji="0" lang="ja-JP" altLang="en-US" sz="1000" dirty="0">
              <a:sym typeface="+mn-lt"/>
            </a:endParaRPr>
          </a:p>
        </p:txBody>
      </p:sp>
      <p:sp>
        <p:nvSpPr>
          <p:cNvPr id="345" name="テキスト プレースホルダ 9">
            <a:extLst>
              <a:ext uri="{FF2B5EF4-FFF2-40B4-BE49-F238E27FC236}">
                <a16:creationId xmlns:a16="http://schemas.microsoft.com/office/drawing/2014/main" id="{43F37387-0E1E-4F2E-B0AF-C8295ECE3144}"/>
              </a:ext>
            </a:extLst>
          </p:cNvPr>
          <p:cNvSpPr>
            <a:spLocks noGrp="1"/>
          </p:cNvSpPr>
          <p:nvPr>
            <p:custDataLst>
              <p:tags r:id="rId24"/>
            </p:custDataLst>
          </p:nvPr>
        </p:nvSpPr>
        <p:spPr bwMode="gray">
          <a:xfrm>
            <a:off x="3587704" y="576455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rPr>
              <a:t>220</a:t>
            </a:r>
            <a:endParaRPr kumimoji="0" lang="ja-JP" altLang="en-US" sz="1000" dirty="0">
              <a:sym typeface="+mn-lt"/>
            </a:endParaRPr>
          </a:p>
        </p:txBody>
      </p:sp>
      <p:sp>
        <p:nvSpPr>
          <p:cNvPr id="84" name="テキスト プレースホルダ 9"/>
          <p:cNvSpPr>
            <a:spLocks noGrp="1"/>
          </p:cNvSpPr>
          <p:nvPr>
            <p:custDataLst>
              <p:tags r:id="rId25"/>
            </p:custDataLst>
          </p:nvPr>
        </p:nvSpPr>
        <p:spPr bwMode="auto">
          <a:xfrm>
            <a:off x="3656856" y="607284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26"/>
            </p:custDataLst>
          </p:nvPr>
        </p:nvSpPr>
        <p:spPr bwMode="auto">
          <a:xfrm>
            <a:off x="3960279" y="607625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310" name="テキスト プレースホルダ 9">
            <a:extLst>
              <a:ext uri="{FF2B5EF4-FFF2-40B4-BE49-F238E27FC236}">
                <a16:creationId xmlns:a16="http://schemas.microsoft.com/office/drawing/2014/main" id="{36476ECB-1636-43CB-883D-E5E96F21CD5C}"/>
              </a:ext>
            </a:extLst>
          </p:cNvPr>
          <p:cNvSpPr>
            <a:spLocks noGrp="1"/>
          </p:cNvSpPr>
          <p:nvPr>
            <p:custDataLst>
              <p:tags r:id="rId27"/>
            </p:custDataLst>
          </p:nvPr>
        </p:nvSpPr>
        <p:spPr bwMode="gray">
          <a:xfrm>
            <a:off x="6321152" y="557197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85</a:t>
            </a:r>
            <a:endParaRPr lang="ja-JP" altLang="en-US" sz="1000" dirty="0">
              <a:sym typeface="+mn-lt"/>
            </a:endParaRPr>
          </a:p>
        </p:txBody>
      </p:sp>
      <p:sp>
        <p:nvSpPr>
          <p:cNvPr id="127" name="テキスト プレースホルダ 9"/>
          <p:cNvSpPr>
            <a:spLocks noGrp="1"/>
          </p:cNvSpPr>
          <p:nvPr>
            <p:custDataLst>
              <p:tags r:id="rId28"/>
            </p:custDataLst>
          </p:nvPr>
        </p:nvSpPr>
        <p:spPr bwMode="gray">
          <a:xfrm>
            <a:off x="1903307" y="5508848"/>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80</a:t>
            </a:r>
            <a:endParaRPr kumimoji="0" lang="ja-JP" altLang="en-US" sz="1000" dirty="0">
              <a:sym typeface="+mn-lt"/>
            </a:endParaRPr>
          </a:p>
        </p:txBody>
      </p:sp>
      <p:sp>
        <p:nvSpPr>
          <p:cNvPr id="97" name="テキスト プレースホルダ 9"/>
          <p:cNvSpPr>
            <a:spLocks noGrp="1"/>
          </p:cNvSpPr>
          <p:nvPr>
            <p:custDataLst>
              <p:tags r:id="rId29"/>
            </p:custDataLst>
          </p:nvPr>
        </p:nvSpPr>
        <p:spPr bwMode="auto">
          <a:xfrm>
            <a:off x="4655106" y="6075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204" name="テキスト プレースホルダ 9"/>
          <p:cNvSpPr>
            <a:spLocks noGrp="1"/>
          </p:cNvSpPr>
          <p:nvPr>
            <p:custDataLst>
              <p:tags r:id="rId30"/>
            </p:custDataLst>
          </p:nvPr>
        </p:nvSpPr>
        <p:spPr bwMode="gray">
          <a:xfrm>
            <a:off x="5951704" y="4758998"/>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547</a:t>
            </a:r>
            <a:endParaRPr kumimoji="0" lang="ja-JP" altLang="en-US" sz="1000" dirty="0">
              <a:sym typeface="+mn-lt"/>
            </a:endParaRPr>
          </a:p>
        </p:txBody>
      </p:sp>
      <p:sp>
        <p:nvSpPr>
          <p:cNvPr id="201" name="テキスト プレースホルダ 9"/>
          <p:cNvSpPr>
            <a:spLocks noGrp="1"/>
          </p:cNvSpPr>
          <p:nvPr>
            <p:custDataLst>
              <p:tags r:id="rId31"/>
            </p:custDataLst>
          </p:nvPr>
        </p:nvSpPr>
        <p:spPr bwMode="gray">
          <a:xfrm>
            <a:off x="4923127" y="445067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694</a:t>
            </a:r>
            <a:endParaRPr kumimoji="0" lang="ja-JP" altLang="en-US" sz="1000" dirty="0">
              <a:sym typeface="+mn-lt"/>
            </a:endParaRPr>
          </a:p>
        </p:txBody>
      </p:sp>
      <p:sp>
        <p:nvSpPr>
          <p:cNvPr id="96" name="テキスト プレースホルダ 9"/>
          <p:cNvSpPr>
            <a:spLocks noGrp="1"/>
          </p:cNvSpPr>
          <p:nvPr>
            <p:custDataLst>
              <p:tags r:id="rId32"/>
            </p:custDataLst>
          </p:nvPr>
        </p:nvSpPr>
        <p:spPr bwMode="auto">
          <a:xfrm>
            <a:off x="4323049" y="607686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327" name="テキスト プレースホルダ 9">
            <a:extLst>
              <a:ext uri="{FF2B5EF4-FFF2-40B4-BE49-F238E27FC236}">
                <a16:creationId xmlns:a16="http://schemas.microsoft.com/office/drawing/2014/main" id="{314B0629-AC6D-4C18-80EA-30F61232DABD}"/>
              </a:ext>
            </a:extLst>
          </p:cNvPr>
          <p:cNvSpPr>
            <a:spLocks noGrp="1"/>
          </p:cNvSpPr>
          <p:nvPr>
            <p:custDataLst>
              <p:tags r:id="rId33"/>
            </p:custDataLst>
          </p:nvPr>
        </p:nvSpPr>
        <p:spPr bwMode="gray">
          <a:xfrm>
            <a:off x="1222769" y="565698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151</a:t>
            </a:r>
            <a:endParaRPr lang="ja-JP" altLang="en-US" sz="1000" dirty="0">
              <a:sym typeface="+mn-lt"/>
            </a:endParaRPr>
          </a:p>
        </p:txBody>
      </p:sp>
      <p:sp>
        <p:nvSpPr>
          <p:cNvPr id="98" name="テキスト プレースホルダ 9"/>
          <p:cNvSpPr>
            <a:spLocks noGrp="1"/>
          </p:cNvSpPr>
          <p:nvPr>
            <p:custDataLst>
              <p:tags r:id="rId34"/>
            </p:custDataLst>
          </p:nvPr>
        </p:nvSpPr>
        <p:spPr bwMode="auto">
          <a:xfrm>
            <a:off x="5014875" y="607625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35"/>
            </p:custDataLst>
          </p:nvPr>
        </p:nvSpPr>
        <p:spPr bwMode="auto">
          <a:xfrm>
            <a:off x="5346932" y="607625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36"/>
            </p:custDataLst>
          </p:nvPr>
        </p:nvSpPr>
        <p:spPr bwMode="auto">
          <a:xfrm>
            <a:off x="5674799" y="607625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37"/>
            </p:custDataLst>
          </p:nvPr>
        </p:nvSpPr>
        <p:spPr bwMode="auto">
          <a:xfrm>
            <a:off x="6013125" y="607625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92" name="テキスト プレースホルダ 9">
            <a:extLst>
              <a:ext uri="{FF2B5EF4-FFF2-40B4-BE49-F238E27FC236}">
                <a16:creationId xmlns:a16="http://schemas.microsoft.com/office/drawing/2014/main" id="{CE518606-1A4A-4806-AF67-C5AE2A27CE74}"/>
              </a:ext>
            </a:extLst>
          </p:cNvPr>
          <p:cNvSpPr>
            <a:spLocks noGrp="1"/>
          </p:cNvSpPr>
          <p:nvPr>
            <p:custDataLst>
              <p:tags r:id="rId38"/>
            </p:custDataLst>
          </p:nvPr>
        </p:nvSpPr>
        <p:spPr bwMode="gray">
          <a:xfrm>
            <a:off x="3596169" y="5353845"/>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240</a:t>
            </a:r>
            <a:endParaRPr lang="ja-JP" altLang="en-US" sz="1000" dirty="0">
              <a:sym typeface="+mn-lt"/>
            </a:endParaRPr>
          </a:p>
        </p:txBody>
      </p:sp>
      <p:sp>
        <p:nvSpPr>
          <p:cNvPr id="100" name="テキスト プレースホルダ 9"/>
          <p:cNvSpPr>
            <a:spLocks noGrp="1"/>
          </p:cNvSpPr>
          <p:nvPr>
            <p:custDataLst>
              <p:tags r:id="rId39"/>
            </p:custDataLst>
          </p:nvPr>
        </p:nvSpPr>
        <p:spPr bwMode="auto">
          <a:xfrm>
            <a:off x="6345365" y="607625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312" name="テキスト プレースホルダ 9">
            <a:extLst>
              <a:ext uri="{FF2B5EF4-FFF2-40B4-BE49-F238E27FC236}">
                <a16:creationId xmlns:a16="http://schemas.microsoft.com/office/drawing/2014/main" id="{57392BD4-5CDF-40F3-A04F-B0A334B8093C}"/>
              </a:ext>
            </a:extLst>
          </p:cNvPr>
          <p:cNvSpPr>
            <a:spLocks noGrp="1"/>
          </p:cNvSpPr>
          <p:nvPr>
            <p:custDataLst>
              <p:tags r:id="rId40"/>
            </p:custDataLst>
          </p:nvPr>
        </p:nvSpPr>
        <p:spPr bwMode="auto">
          <a:xfrm>
            <a:off x="6681192" y="607820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pPr/>
              <a:t>16</a:t>
            </a:fld>
            <a:endParaRPr kumimoji="0" lang="ja-JP" altLang="en-US" sz="1000" dirty="0">
              <a:sym typeface="+mn-lt"/>
            </a:endParaRPr>
          </a:p>
        </p:txBody>
      </p:sp>
      <p:sp>
        <p:nvSpPr>
          <p:cNvPr id="313" name="テキスト プレースホルダ 9">
            <a:extLst>
              <a:ext uri="{FF2B5EF4-FFF2-40B4-BE49-F238E27FC236}">
                <a16:creationId xmlns:a16="http://schemas.microsoft.com/office/drawing/2014/main" id="{41477F73-439B-4BDC-BBF1-43D2AC10B039}"/>
              </a:ext>
            </a:extLst>
          </p:cNvPr>
          <p:cNvSpPr>
            <a:spLocks noGrp="1"/>
          </p:cNvSpPr>
          <p:nvPr>
            <p:custDataLst>
              <p:tags r:id="rId41"/>
            </p:custDataLst>
          </p:nvPr>
        </p:nvSpPr>
        <p:spPr bwMode="auto">
          <a:xfrm>
            <a:off x="7024092" y="607954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pPr/>
              <a:t>17</a:t>
            </a:fld>
            <a:endParaRPr kumimoji="0" lang="ja-JP" altLang="en-US" sz="1000" dirty="0">
              <a:sym typeface="+mn-lt"/>
            </a:endParaRPr>
          </a:p>
        </p:txBody>
      </p:sp>
      <p:sp>
        <p:nvSpPr>
          <p:cNvPr id="314" name="テキスト プレースホルダ 9">
            <a:extLst>
              <a:ext uri="{FF2B5EF4-FFF2-40B4-BE49-F238E27FC236}">
                <a16:creationId xmlns:a16="http://schemas.microsoft.com/office/drawing/2014/main" id="{A8758EAD-18D6-4CE1-8ABE-CD647B96B915}"/>
              </a:ext>
            </a:extLst>
          </p:cNvPr>
          <p:cNvSpPr>
            <a:spLocks noGrp="1"/>
          </p:cNvSpPr>
          <p:nvPr>
            <p:custDataLst>
              <p:tags r:id="rId42"/>
            </p:custDataLst>
          </p:nvPr>
        </p:nvSpPr>
        <p:spPr bwMode="auto">
          <a:xfrm>
            <a:off x="7329264" y="608088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pPr/>
              <a:t>18</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FED9D6A3-008F-4047-BB28-ED9F72B65ED5}"/>
              </a:ext>
            </a:extLst>
          </p:cNvPr>
          <p:cNvSpPr>
            <a:spLocks noGrp="1"/>
          </p:cNvSpPr>
          <p:nvPr>
            <p:custDataLst>
              <p:tags r:id="rId43"/>
            </p:custDataLst>
          </p:nvPr>
        </p:nvSpPr>
        <p:spPr bwMode="gray">
          <a:xfrm>
            <a:off x="1903307" y="571167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118</a:t>
            </a:r>
            <a:endParaRPr lang="ja-JP" altLang="en-US" sz="1000" dirty="0">
              <a:sym typeface="+mn-lt"/>
            </a:endParaRPr>
          </a:p>
        </p:txBody>
      </p:sp>
      <p:sp>
        <p:nvSpPr>
          <p:cNvPr id="123" name="テキスト プレースホルダ 9"/>
          <p:cNvSpPr>
            <a:spLocks noGrp="1"/>
          </p:cNvSpPr>
          <p:nvPr>
            <p:custDataLst>
              <p:tags r:id="rId44"/>
            </p:custDataLst>
          </p:nvPr>
        </p:nvSpPr>
        <p:spPr bwMode="gray">
          <a:xfrm>
            <a:off x="1201739" y="5380583"/>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38</a:t>
            </a:r>
            <a:endParaRPr kumimoji="0" lang="ja-JP" altLang="en-US" sz="1000" dirty="0">
              <a:sym typeface="+mn-lt"/>
            </a:endParaRPr>
          </a:p>
        </p:txBody>
      </p:sp>
      <p:sp>
        <p:nvSpPr>
          <p:cNvPr id="193" name="テキスト プレースホルダ 9"/>
          <p:cNvSpPr>
            <a:spLocks noGrp="1"/>
          </p:cNvSpPr>
          <p:nvPr>
            <p:custDataLst>
              <p:tags r:id="rId45"/>
            </p:custDataLst>
          </p:nvPr>
        </p:nvSpPr>
        <p:spPr bwMode="gray">
          <a:xfrm>
            <a:off x="2216696" y="5238835"/>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88</a:t>
            </a:r>
            <a:endParaRPr kumimoji="0" lang="ja-JP" altLang="en-US" sz="1000" dirty="0">
              <a:sym typeface="+mn-lt"/>
            </a:endParaRPr>
          </a:p>
        </p:txBody>
      </p:sp>
      <p:sp>
        <p:nvSpPr>
          <p:cNvPr id="195" name="テキスト プレースホルダ 9"/>
          <p:cNvSpPr>
            <a:spLocks noGrp="1"/>
          </p:cNvSpPr>
          <p:nvPr>
            <p:custDataLst>
              <p:tags r:id="rId46"/>
            </p:custDataLst>
          </p:nvPr>
        </p:nvSpPr>
        <p:spPr bwMode="gray">
          <a:xfrm>
            <a:off x="2905723" y="5025593"/>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05</a:t>
            </a:r>
            <a:endParaRPr kumimoji="0" lang="ja-JP" altLang="en-US" sz="1000" dirty="0">
              <a:sym typeface="+mn-lt"/>
            </a:endParaRPr>
          </a:p>
        </p:txBody>
      </p:sp>
      <p:sp>
        <p:nvSpPr>
          <p:cNvPr id="202" name="テキスト プレースホルダ 9"/>
          <p:cNvSpPr>
            <a:spLocks noGrp="1"/>
          </p:cNvSpPr>
          <p:nvPr>
            <p:custDataLst>
              <p:tags r:id="rId47"/>
            </p:custDataLst>
          </p:nvPr>
        </p:nvSpPr>
        <p:spPr bwMode="gray">
          <a:xfrm>
            <a:off x="5260227" y="451975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654</a:t>
            </a:r>
            <a:endParaRPr kumimoji="0" lang="ja-JP" altLang="en-US" sz="1000" dirty="0">
              <a:sym typeface="+mn-lt"/>
            </a:endParaRPr>
          </a:p>
        </p:txBody>
      </p:sp>
      <p:sp>
        <p:nvSpPr>
          <p:cNvPr id="196" name="テキスト プレースホルダ 9"/>
          <p:cNvSpPr>
            <a:spLocks noGrp="1"/>
          </p:cNvSpPr>
          <p:nvPr>
            <p:custDataLst>
              <p:tags r:id="rId48"/>
            </p:custDataLst>
          </p:nvPr>
        </p:nvSpPr>
        <p:spPr bwMode="gray">
          <a:xfrm>
            <a:off x="3255964" y="4932784"/>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22</a:t>
            </a:r>
            <a:endParaRPr kumimoji="0" lang="ja-JP" altLang="en-US" sz="1000" dirty="0">
              <a:sym typeface="+mn-lt"/>
            </a:endParaRPr>
          </a:p>
        </p:txBody>
      </p:sp>
      <p:sp>
        <p:nvSpPr>
          <p:cNvPr id="197" name="テキスト プレースホルダ 9"/>
          <p:cNvSpPr>
            <a:spLocks noGrp="1"/>
          </p:cNvSpPr>
          <p:nvPr>
            <p:custDataLst>
              <p:tags r:id="rId49"/>
            </p:custDataLst>
          </p:nvPr>
        </p:nvSpPr>
        <p:spPr bwMode="gray">
          <a:xfrm>
            <a:off x="3598864" y="4894684"/>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69</a:t>
            </a:r>
            <a:endParaRPr kumimoji="0" lang="ja-JP" altLang="en-US" sz="1000" dirty="0">
              <a:sym typeface="+mn-lt"/>
            </a:endParaRPr>
          </a:p>
        </p:txBody>
      </p:sp>
      <p:sp>
        <p:nvSpPr>
          <p:cNvPr id="198" name="テキスト プレースホルダ 9"/>
          <p:cNvSpPr>
            <a:spLocks noGrp="1"/>
          </p:cNvSpPr>
          <p:nvPr>
            <p:custDataLst>
              <p:tags r:id="rId50"/>
            </p:custDataLst>
          </p:nvPr>
        </p:nvSpPr>
        <p:spPr bwMode="gray">
          <a:xfrm>
            <a:off x="3936058" y="4909620"/>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47</a:t>
            </a:r>
            <a:endParaRPr kumimoji="0" lang="ja-JP" altLang="en-US" sz="1000" dirty="0">
              <a:sym typeface="+mn-lt"/>
            </a:endParaRPr>
          </a:p>
        </p:txBody>
      </p:sp>
      <p:sp>
        <p:nvSpPr>
          <p:cNvPr id="199" name="テキスト プレースホルダ 9"/>
          <p:cNvSpPr>
            <a:spLocks noGrp="1"/>
          </p:cNvSpPr>
          <p:nvPr>
            <p:custDataLst>
              <p:tags r:id="rId51"/>
            </p:custDataLst>
          </p:nvPr>
        </p:nvSpPr>
        <p:spPr bwMode="gray">
          <a:xfrm>
            <a:off x="4269000" y="4788768"/>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93</a:t>
            </a:r>
            <a:endParaRPr kumimoji="0" lang="ja-JP" altLang="en-US" sz="1000" dirty="0">
              <a:sym typeface="+mn-lt"/>
            </a:endParaRPr>
          </a:p>
        </p:txBody>
      </p:sp>
      <p:sp>
        <p:nvSpPr>
          <p:cNvPr id="128" name="テキスト プレースホルダ 9"/>
          <p:cNvSpPr>
            <a:spLocks noGrp="1"/>
          </p:cNvSpPr>
          <p:nvPr>
            <p:custDataLst>
              <p:tags r:id="rId52"/>
            </p:custDataLst>
          </p:nvPr>
        </p:nvSpPr>
        <p:spPr bwMode="gray">
          <a:xfrm>
            <a:off x="4592960" y="4572446"/>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628</a:t>
            </a:r>
            <a:endParaRPr kumimoji="0" lang="ja-JP" altLang="en-US" sz="1000" dirty="0">
              <a:sym typeface="+mn-lt"/>
            </a:endParaRPr>
          </a:p>
        </p:txBody>
      </p:sp>
      <p:sp>
        <p:nvSpPr>
          <p:cNvPr id="203" name="テキスト プレースホルダ 9"/>
          <p:cNvSpPr>
            <a:spLocks noGrp="1"/>
          </p:cNvSpPr>
          <p:nvPr>
            <p:custDataLst>
              <p:tags r:id="rId53"/>
            </p:custDataLst>
          </p:nvPr>
        </p:nvSpPr>
        <p:spPr bwMode="gray">
          <a:xfrm>
            <a:off x="5612939" y="4642258"/>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602</a:t>
            </a:r>
            <a:endParaRPr kumimoji="0" lang="ja-JP" altLang="en-US" sz="1000" dirty="0">
              <a:sym typeface="+mn-lt"/>
            </a:endParaRPr>
          </a:p>
        </p:txBody>
      </p:sp>
      <p:sp>
        <p:nvSpPr>
          <p:cNvPr id="205" name="テキスト プレースホルダ 9"/>
          <p:cNvSpPr>
            <a:spLocks noGrp="1"/>
          </p:cNvSpPr>
          <p:nvPr>
            <p:custDataLst>
              <p:tags r:id="rId54"/>
            </p:custDataLst>
          </p:nvPr>
        </p:nvSpPr>
        <p:spPr bwMode="gray">
          <a:xfrm>
            <a:off x="6272982" y="4856711"/>
            <a:ext cx="244475" cy="152400"/>
          </a:xfrm>
          <a:prstGeom prst="rect">
            <a:avLst/>
          </a:prstGeom>
          <a:noFill/>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99</a:t>
            </a:r>
            <a:endParaRPr kumimoji="0" lang="ja-JP" altLang="en-US" sz="1000" dirty="0">
              <a:sym typeface="+mn-lt"/>
            </a:endParaRPr>
          </a:p>
        </p:txBody>
      </p:sp>
      <p:sp>
        <p:nvSpPr>
          <p:cNvPr id="347" name="テキスト プレースホルダ 9">
            <a:extLst>
              <a:ext uri="{FF2B5EF4-FFF2-40B4-BE49-F238E27FC236}">
                <a16:creationId xmlns:a16="http://schemas.microsoft.com/office/drawing/2014/main" id="{AAAF9DCB-5D83-4BD4-AD02-7BAD7F42B5F1}"/>
              </a:ext>
            </a:extLst>
          </p:cNvPr>
          <p:cNvSpPr>
            <a:spLocks noGrp="1"/>
          </p:cNvSpPr>
          <p:nvPr>
            <p:custDataLst>
              <p:tags r:id="rId55"/>
            </p:custDataLst>
          </p:nvPr>
        </p:nvSpPr>
        <p:spPr bwMode="gray">
          <a:xfrm>
            <a:off x="6959744" y="4785501"/>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537</a:t>
            </a:r>
            <a:endParaRPr lang="ja-JP" altLang="en-US" sz="1000" dirty="0">
              <a:sym typeface="+mn-lt"/>
            </a:endParaRPr>
          </a:p>
        </p:txBody>
      </p:sp>
      <p:sp>
        <p:nvSpPr>
          <p:cNvPr id="349" name="テキスト プレースホルダ 9">
            <a:extLst>
              <a:ext uri="{FF2B5EF4-FFF2-40B4-BE49-F238E27FC236}">
                <a16:creationId xmlns:a16="http://schemas.microsoft.com/office/drawing/2014/main" id="{7CA39873-F34A-4E7D-9C1C-8B15BA369567}"/>
              </a:ext>
            </a:extLst>
          </p:cNvPr>
          <p:cNvSpPr>
            <a:spLocks noGrp="1"/>
          </p:cNvSpPr>
          <p:nvPr>
            <p:custDataLst>
              <p:tags r:id="rId56"/>
            </p:custDataLst>
          </p:nvPr>
        </p:nvSpPr>
        <p:spPr bwMode="gray">
          <a:xfrm>
            <a:off x="7295907" y="4709301"/>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570</a:t>
            </a:r>
            <a:endParaRPr lang="ja-JP" altLang="en-US" sz="1000" dirty="0">
              <a:sym typeface="+mn-lt"/>
            </a:endParaRPr>
          </a:p>
        </p:txBody>
      </p:sp>
      <p:sp>
        <p:nvSpPr>
          <p:cNvPr id="183" name="テキスト プレースホルダ 9">
            <a:extLst>
              <a:ext uri="{FF2B5EF4-FFF2-40B4-BE49-F238E27FC236}">
                <a16:creationId xmlns:a16="http://schemas.microsoft.com/office/drawing/2014/main" id="{C4C56A93-B1A8-4DDE-8D8C-0DD3F6A8402B}"/>
              </a:ext>
            </a:extLst>
          </p:cNvPr>
          <p:cNvSpPr>
            <a:spLocks noGrp="1"/>
          </p:cNvSpPr>
          <p:nvPr>
            <p:custDataLst>
              <p:tags r:id="rId57"/>
            </p:custDataLst>
          </p:nvPr>
        </p:nvSpPr>
        <p:spPr bwMode="auto">
          <a:xfrm>
            <a:off x="7600726" y="6076257"/>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19</a:t>
            </a:r>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F8372851-A1C2-4697-8477-9AF55D93899D}"/>
              </a:ext>
            </a:extLst>
          </p:cNvPr>
          <p:cNvSpPr>
            <a:spLocks noGrp="1"/>
          </p:cNvSpPr>
          <p:nvPr>
            <p:custDataLst>
              <p:tags r:id="rId58"/>
            </p:custDataLst>
          </p:nvPr>
        </p:nvSpPr>
        <p:spPr bwMode="gray">
          <a:xfrm>
            <a:off x="2569056" y="546655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222</a:t>
            </a:r>
            <a:endParaRPr lang="ja-JP" altLang="en-US" sz="1000" dirty="0">
              <a:sym typeface="+mn-lt"/>
            </a:endParaRPr>
          </a:p>
        </p:txBody>
      </p:sp>
      <p:sp>
        <p:nvSpPr>
          <p:cNvPr id="188" name="テキスト プレースホルダ 9">
            <a:extLst>
              <a:ext uri="{FF2B5EF4-FFF2-40B4-BE49-F238E27FC236}">
                <a16:creationId xmlns:a16="http://schemas.microsoft.com/office/drawing/2014/main" id="{6DA1951C-4614-4D64-87E2-8A936212BC76}"/>
              </a:ext>
            </a:extLst>
          </p:cNvPr>
          <p:cNvSpPr>
            <a:spLocks noGrp="1"/>
          </p:cNvSpPr>
          <p:nvPr>
            <p:custDataLst>
              <p:tags r:id="rId59"/>
            </p:custDataLst>
          </p:nvPr>
        </p:nvSpPr>
        <p:spPr bwMode="gray">
          <a:xfrm>
            <a:off x="2243512" y="557895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174</a:t>
            </a:r>
            <a:endParaRPr lang="ja-JP" altLang="en-US" sz="1000" dirty="0">
              <a:sym typeface="+mn-lt"/>
            </a:endParaRPr>
          </a:p>
        </p:txBody>
      </p:sp>
      <p:sp>
        <p:nvSpPr>
          <p:cNvPr id="233" name="テキスト プレースホルダ 9">
            <a:extLst>
              <a:ext uri="{FF2B5EF4-FFF2-40B4-BE49-F238E27FC236}">
                <a16:creationId xmlns:a16="http://schemas.microsoft.com/office/drawing/2014/main" id="{A3DAE37D-FB51-47B8-A176-6F71B1738DB4}"/>
              </a:ext>
            </a:extLst>
          </p:cNvPr>
          <p:cNvSpPr>
            <a:spLocks noGrp="1"/>
          </p:cNvSpPr>
          <p:nvPr>
            <p:custDataLst>
              <p:tags r:id="rId60"/>
            </p:custDataLst>
          </p:nvPr>
        </p:nvSpPr>
        <p:spPr bwMode="gray">
          <a:xfrm>
            <a:off x="7638564" y="4996137"/>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230</a:t>
            </a:r>
            <a:endParaRPr lang="ja-JP" altLang="en-US" sz="1000" dirty="0">
              <a:sym typeface="+mn-lt"/>
            </a:endParaRPr>
          </a:p>
        </p:txBody>
      </p:sp>
      <p:sp>
        <p:nvSpPr>
          <p:cNvPr id="234" name="テキスト プレースホルダ 9">
            <a:extLst>
              <a:ext uri="{FF2B5EF4-FFF2-40B4-BE49-F238E27FC236}">
                <a16:creationId xmlns:a16="http://schemas.microsoft.com/office/drawing/2014/main" id="{F2376ED3-2993-440F-BCF3-EA7A5DD89894}"/>
              </a:ext>
            </a:extLst>
          </p:cNvPr>
          <p:cNvSpPr>
            <a:spLocks noGrp="1"/>
          </p:cNvSpPr>
          <p:nvPr>
            <p:custDataLst>
              <p:tags r:id="rId61"/>
            </p:custDataLst>
          </p:nvPr>
        </p:nvSpPr>
        <p:spPr bwMode="gray">
          <a:xfrm>
            <a:off x="7631598" y="4731858"/>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552</a:t>
            </a:r>
            <a:endParaRPr lang="ja-JP" altLang="en-US" sz="1000" dirty="0">
              <a:sym typeface="+mn-lt"/>
            </a:endParaRPr>
          </a:p>
        </p:txBody>
      </p:sp>
      <p:sp>
        <p:nvSpPr>
          <p:cNvPr id="280" name="テキスト プレースホルダ 9">
            <a:extLst>
              <a:ext uri="{FF2B5EF4-FFF2-40B4-BE49-F238E27FC236}">
                <a16:creationId xmlns:a16="http://schemas.microsoft.com/office/drawing/2014/main" id="{227C724C-6DF8-4404-AB65-07BB7424E834}"/>
              </a:ext>
            </a:extLst>
          </p:cNvPr>
          <p:cNvSpPr>
            <a:spLocks noGrp="1"/>
          </p:cNvSpPr>
          <p:nvPr>
            <p:custDataLst>
              <p:tags r:id="rId62"/>
            </p:custDataLst>
          </p:nvPr>
        </p:nvSpPr>
        <p:spPr bwMode="gray">
          <a:xfrm>
            <a:off x="1215420" y="5900900"/>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sym typeface="+mn-lt"/>
              </a:rPr>
              <a:t>87</a:t>
            </a:r>
            <a:endParaRPr kumimoji="0" lang="ja-JP" altLang="en-US" sz="1000" dirty="0">
              <a:sym typeface="+mn-lt"/>
            </a:endParaRPr>
          </a:p>
        </p:txBody>
      </p:sp>
      <p:sp>
        <p:nvSpPr>
          <p:cNvPr id="281" name="テキスト プレースホルダ 9">
            <a:extLst>
              <a:ext uri="{FF2B5EF4-FFF2-40B4-BE49-F238E27FC236}">
                <a16:creationId xmlns:a16="http://schemas.microsoft.com/office/drawing/2014/main" id="{48EC5C73-84F5-4099-AE4F-9BC5A2CD53D9}"/>
              </a:ext>
            </a:extLst>
          </p:cNvPr>
          <p:cNvSpPr>
            <a:spLocks noGrp="1"/>
          </p:cNvSpPr>
          <p:nvPr>
            <p:custDataLst>
              <p:tags r:id="rId63"/>
            </p:custDataLst>
          </p:nvPr>
        </p:nvSpPr>
        <p:spPr bwMode="gray">
          <a:xfrm>
            <a:off x="3939068" y="5323683"/>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35</a:t>
            </a:r>
            <a:endParaRPr lang="ja-JP" altLang="en-US" sz="1000" dirty="0">
              <a:sym typeface="+mn-lt"/>
            </a:endParaRPr>
          </a:p>
        </p:txBody>
      </p:sp>
      <p:sp>
        <p:nvSpPr>
          <p:cNvPr id="213" name="テキスト プレースホルダ 9"/>
          <p:cNvSpPr>
            <a:spLocks noGrp="1"/>
          </p:cNvSpPr>
          <p:nvPr>
            <p:custDataLst>
              <p:tags r:id="rId64"/>
            </p:custDataLst>
          </p:nvPr>
        </p:nvSpPr>
        <p:spPr bwMode="gray">
          <a:xfrm>
            <a:off x="1904486" y="5944721"/>
            <a:ext cx="244475" cy="152400"/>
          </a:xfrm>
          <a:prstGeom prst="rect">
            <a:avLst/>
          </a:prstGeom>
          <a:no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effectLst/>
              </a:rPr>
              <a:t>62</a:t>
            </a:r>
            <a:endParaRPr kumimoji="0" lang="ja-JP" altLang="en-US" sz="1000" dirty="0">
              <a:sym typeface="+mn-lt"/>
            </a:endParaRPr>
          </a:p>
        </p:txBody>
      </p:sp>
      <p:sp>
        <p:nvSpPr>
          <p:cNvPr id="283" name="テキスト プレースホルダ 9">
            <a:extLst>
              <a:ext uri="{FF2B5EF4-FFF2-40B4-BE49-F238E27FC236}">
                <a16:creationId xmlns:a16="http://schemas.microsoft.com/office/drawing/2014/main" id="{F2799D0E-7AF4-45C2-B621-21E970D89D68}"/>
              </a:ext>
            </a:extLst>
          </p:cNvPr>
          <p:cNvSpPr>
            <a:spLocks noGrp="1"/>
          </p:cNvSpPr>
          <p:nvPr>
            <p:custDataLst>
              <p:tags r:id="rId65"/>
            </p:custDataLst>
          </p:nvPr>
        </p:nvSpPr>
        <p:spPr bwMode="gray">
          <a:xfrm>
            <a:off x="4280380" y="5272883"/>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48</a:t>
            </a:r>
            <a:endParaRPr lang="ja-JP" altLang="en-US" sz="1000" dirty="0">
              <a:sym typeface="+mn-lt"/>
            </a:endParaRPr>
          </a:p>
        </p:txBody>
      </p:sp>
      <p:sp>
        <p:nvSpPr>
          <p:cNvPr id="284" name="テキスト プレースホルダ 9">
            <a:extLst>
              <a:ext uri="{FF2B5EF4-FFF2-40B4-BE49-F238E27FC236}">
                <a16:creationId xmlns:a16="http://schemas.microsoft.com/office/drawing/2014/main" id="{80C7A154-CDB7-4BBA-A70A-7A40D9275301}"/>
              </a:ext>
            </a:extLst>
          </p:cNvPr>
          <p:cNvSpPr>
            <a:spLocks noGrp="1"/>
          </p:cNvSpPr>
          <p:nvPr>
            <p:custDataLst>
              <p:tags r:id="rId66"/>
            </p:custDataLst>
          </p:nvPr>
        </p:nvSpPr>
        <p:spPr bwMode="gray">
          <a:xfrm>
            <a:off x="4296841" y="5637066"/>
            <a:ext cx="222250"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45</a:t>
            </a:r>
            <a:endParaRPr lang="ja-JP" altLang="en-US" sz="1000" dirty="0">
              <a:sym typeface="+mn-lt"/>
            </a:endParaRPr>
          </a:p>
        </p:txBody>
      </p:sp>
      <p:sp>
        <p:nvSpPr>
          <p:cNvPr id="285" name="テキスト プレースホルダ 9">
            <a:extLst>
              <a:ext uri="{FF2B5EF4-FFF2-40B4-BE49-F238E27FC236}">
                <a16:creationId xmlns:a16="http://schemas.microsoft.com/office/drawing/2014/main" id="{E4F7A9B7-C9E1-468E-A8DA-083B76533830}"/>
              </a:ext>
            </a:extLst>
          </p:cNvPr>
          <p:cNvSpPr>
            <a:spLocks noGrp="1"/>
          </p:cNvSpPr>
          <p:nvPr>
            <p:custDataLst>
              <p:tags r:id="rId67"/>
            </p:custDataLst>
          </p:nvPr>
        </p:nvSpPr>
        <p:spPr bwMode="gray">
          <a:xfrm>
            <a:off x="4608180" y="506056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06</a:t>
            </a:r>
            <a:endParaRPr lang="ja-JP" altLang="en-US" sz="1000" dirty="0">
              <a:sym typeface="+mn-lt"/>
            </a:endParaRPr>
          </a:p>
        </p:txBody>
      </p:sp>
      <p:sp>
        <p:nvSpPr>
          <p:cNvPr id="286" name="テキスト プレースホルダ 9">
            <a:extLst>
              <a:ext uri="{FF2B5EF4-FFF2-40B4-BE49-F238E27FC236}">
                <a16:creationId xmlns:a16="http://schemas.microsoft.com/office/drawing/2014/main" id="{703B68C4-0914-48E0-B387-65E428E6C6E4}"/>
              </a:ext>
            </a:extLst>
          </p:cNvPr>
          <p:cNvSpPr>
            <a:spLocks noGrp="1"/>
          </p:cNvSpPr>
          <p:nvPr>
            <p:custDataLst>
              <p:tags r:id="rId68"/>
            </p:custDataLst>
          </p:nvPr>
        </p:nvSpPr>
        <p:spPr bwMode="gray">
          <a:xfrm>
            <a:off x="4615497" y="5618542"/>
            <a:ext cx="222250"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22</a:t>
            </a:r>
            <a:endParaRPr lang="ja-JP" altLang="en-US" sz="1000" dirty="0">
              <a:sym typeface="+mn-lt"/>
            </a:endParaRPr>
          </a:p>
        </p:txBody>
      </p:sp>
      <p:sp>
        <p:nvSpPr>
          <p:cNvPr id="296" name="テキスト プレースホルダ 9">
            <a:extLst>
              <a:ext uri="{FF2B5EF4-FFF2-40B4-BE49-F238E27FC236}">
                <a16:creationId xmlns:a16="http://schemas.microsoft.com/office/drawing/2014/main" id="{E01FAA1B-A4A0-4E17-87EB-923BD88AFA4F}"/>
              </a:ext>
            </a:extLst>
          </p:cNvPr>
          <p:cNvSpPr>
            <a:spLocks noGrp="1"/>
          </p:cNvSpPr>
          <p:nvPr>
            <p:custDataLst>
              <p:tags r:id="rId69"/>
            </p:custDataLst>
          </p:nvPr>
        </p:nvSpPr>
        <p:spPr bwMode="gray">
          <a:xfrm>
            <a:off x="4935860" y="503222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34</a:t>
            </a:r>
            <a:endParaRPr lang="ja-JP" altLang="en-US" sz="1000" dirty="0">
              <a:sym typeface="+mn-lt"/>
            </a:endParaRPr>
          </a:p>
        </p:txBody>
      </p:sp>
      <p:sp>
        <p:nvSpPr>
          <p:cNvPr id="297" name="テキスト プレースホルダ 9">
            <a:extLst>
              <a:ext uri="{FF2B5EF4-FFF2-40B4-BE49-F238E27FC236}">
                <a16:creationId xmlns:a16="http://schemas.microsoft.com/office/drawing/2014/main" id="{AD3EA3DE-B6B8-4180-A970-90A698B79FE6}"/>
              </a:ext>
            </a:extLst>
          </p:cNvPr>
          <p:cNvSpPr>
            <a:spLocks noGrp="1"/>
          </p:cNvSpPr>
          <p:nvPr>
            <p:custDataLst>
              <p:tags r:id="rId70"/>
            </p:custDataLst>
          </p:nvPr>
        </p:nvSpPr>
        <p:spPr bwMode="gray">
          <a:xfrm>
            <a:off x="4958397" y="5609017"/>
            <a:ext cx="222250"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60</a:t>
            </a:r>
            <a:endParaRPr lang="ja-JP" altLang="en-US" sz="1000" dirty="0">
              <a:sym typeface="+mn-lt"/>
            </a:endParaRPr>
          </a:p>
        </p:txBody>
      </p:sp>
      <p:sp>
        <p:nvSpPr>
          <p:cNvPr id="318" name="テキスト プレースホルダ 9">
            <a:extLst>
              <a:ext uri="{FF2B5EF4-FFF2-40B4-BE49-F238E27FC236}">
                <a16:creationId xmlns:a16="http://schemas.microsoft.com/office/drawing/2014/main" id="{273A1A28-58B7-4BE5-94C2-4200E0E92177}"/>
              </a:ext>
            </a:extLst>
          </p:cNvPr>
          <p:cNvSpPr>
            <a:spLocks noGrp="1"/>
          </p:cNvSpPr>
          <p:nvPr>
            <p:custDataLst>
              <p:tags r:id="rId71"/>
            </p:custDataLst>
          </p:nvPr>
        </p:nvSpPr>
        <p:spPr bwMode="gray">
          <a:xfrm>
            <a:off x="6969224" y="557832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07</a:t>
            </a:r>
            <a:endParaRPr lang="ja-JP" altLang="en-US" sz="1000" dirty="0">
              <a:sym typeface="+mn-lt"/>
            </a:endParaRPr>
          </a:p>
        </p:txBody>
      </p:sp>
      <p:sp>
        <p:nvSpPr>
          <p:cNvPr id="298" name="テキスト プレースホルダ 9">
            <a:extLst>
              <a:ext uri="{FF2B5EF4-FFF2-40B4-BE49-F238E27FC236}">
                <a16:creationId xmlns:a16="http://schemas.microsoft.com/office/drawing/2014/main" id="{95F11F55-E2F4-4A34-ACF5-2FD1F52942E4}"/>
              </a:ext>
            </a:extLst>
          </p:cNvPr>
          <p:cNvSpPr>
            <a:spLocks noGrp="1"/>
          </p:cNvSpPr>
          <p:nvPr>
            <p:custDataLst>
              <p:tags r:id="rId72"/>
            </p:custDataLst>
          </p:nvPr>
        </p:nvSpPr>
        <p:spPr bwMode="gray">
          <a:xfrm>
            <a:off x="5279083" y="5024437"/>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16</a:t>
            </a:r>
            <a:endParaRPr lang="ja-JP" altLang="en-US" sz="1000" dirty="0">
              <a:sym typeface="+mn-lt"/>
            </a:endParaRPr>
          </a:p>
        </p:txBody>
      </p:sp>
      <p:sp>
        <p:nvSpPr>
          <p:cNvPr id="300" name="テキスト プレースホルダ 9">
            <a:extLst>
              <a:ext uri="{FF2B5EF4-FFF2-40B4-BE49-F238E27FC236}">
                <a16:creationId xmlns:a16="http://schemas.microsoft.com/office/drawing/2014/main" id="{7A5026A0-3177-4288-8819-6048C26CD1AD}"/>
              </a:ext>
            </a:extLst>
          </p:cNvPr>
          <p:cNvSpPr>
            <a:spLocks noGrp="1"/>
          </p:cNvSpPr>
          <p:nvPr>
            <p:custDataLst>
              <p:tags r:id="rId73"/>
            </p:custDataLst>
          </p:nvPr>
        </p:nvSpPr>
        <p:spPr bwMode="gray">
          <a:xfrm>
            <a:off x="5299710" y="5605842"/>
            <a:ext cx="222250"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38</a:t>
            </a:r>
            <a:endParaRPr lang="ja-JP" altLang="en-US" sz="1000" dirty="0">
              <a:sym typeface="+mn-lt"/>
            </a:endParaRPr>
          </a:p>
        </p:txBody>
      </p:sp>
      <p:sp>
        <p:nvSpPr>
          <p:cNvPr id="282" name="テキスト プレースホルダ 9">
            <a:extLst>
              <a:ext uri="{FF2B5EF4-FFF2-40B4-BE49-F238E27FC236}">
                <a16:creationId xmlns:a16="http://schemas.microsoft.com/office/drawing/2014/main" id="{7849AFB3-7D8B-4768-BF8C-E277B9FDB309}"/>
              </a:ext>
            </a:extLst>
          </p:cNvPr>
          <p:cNvSpPr>
            <a:spLocks noGrp="1"/>
          </p:cNvSpPr>
          <p:nvPr>
            <p:custDataLst>
              <p:tags r:id="rId74"/>
            </p:custDataLst>
          </p:nvPr>
        </p:nvSpPr>
        <p:spPr bwMode="gray">
          <a:xfrm>
            <a:off x="3941763" y="566087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12</a:t>
            </a:r>
            <a:endParaRPr lang="ja-JP" altLang="en-US" sz="1000" dirty="0">
              <a:sym typeface="+mn-lt"/>
            </a:endParaRPr>
          </a:p>
        </p:txBody>
      </p:sp>
      <p:sp>
        <p:nvSpPr>
          <p:cNvPr id="303" name="テキスト プレースホルダ 9">
            <a:extLst>
              <a:ext uri="{FF2B5EF4-FFF2-40B4-BE49-F238E27FC236}">
                <a16:creationId xmlns:a16="http://schemas.microsoft.com/office/drawing/2014/main" id="{EB1478D9-C380-4BE6-9ECF-55E6252CF2F3}"/>
              </a:ext>
            </a:extLst>
          </p:cNvPr>
          <p:cNvSpPr>
            <a:spLocks noGrp="1"/>
          </p:cNvSpPr>
          <p:nvPr>
            <p:custDataLst>
              <p:tags r:id="rId75"/>
            </p:custDataLst>
          </p:nvPr>
        </p:nvSpPr>
        <p:spPr bwMode="gray">
          <a:xfrm>
            <a:off x="5625284" y="5604167"/>
            <a:ext cx="222250"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08</a:t>
            </a:r>
            <a:endParaRPr lang="ja-JP" altLang="en-US" sz="1000" dirty="0">
              <a:sym typeface="+mn-lt"/>
            </a:endParaRPr>
          </a:p>
        </p:txBody>
      </p:sp>
      <p:sp>
        <p:nvSpPr>
          <p:cNvPr id="304" name="テキスト プレースホルダ 9">
            <a:extLst>
              <a:ext uri="{FF2B5EF4-FFF2-40B4-BE49-F238E27FC236}">
                <a16:creationId xmlns:a16="http://schemas.microsoft.com/office/drawing/2014/main" id="{3ABD04A5-E34A-4376-BB10-018024FE4831}"/>
              </a:ext>
            </a:extLst>
          </p:cNvPr>
          <p:cNvSpPr>
            <a:spLocks noGrp="1"/>
          </p:cNvSpPr>
          <p:nvPr>
            <p:custDataLst>
              <p:tags r:id="rId76"/>
            </p:custDataLst>
          </p:nvPr>
        </p:nvSpPr>
        <p:spPr bwMode="gray">
          <a:xfrm>
            <a:off x="5948610" y="5018067"/>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43</a:t>
            </a:r>
            <a:endParaRPr lang="ja-JP" altLang="en-US" sz="1000" dirty="0">
              <a:sym typeface="+mn-lt"/>
            </a:endParaRPr>
          </a:p>
        </p:txBody>
      </p:sp>
      <p:sp>
        <p:nvSpPr>
          <p:cNvPr id="306" name="テキスト プレースホルダ 9">
            <a:extLst>
              <a:ext uri="{FF2B5EF4-FFF2-40B4-BE49-F238E27FC236}">
                <a16:creationId xmlns:a16="http://schemas.microsoft.com/office/drawing/2014/main" id="{C02379CD-41C3-4D6E-8961-32123FF5BBB7}"/>
              </a:ext>
            </a:extLst>
          </p:cNvPr>
          <p:cNvSpPr>
            <a:spLocks noGrp="1"/>
          </p:cNvSpPr>
          <p:nvPr>
            <p:custDataLst>
              <p:tags r:id="rId77"/>
            </p:custDataLst>
          </p:nvPr>
        </p:nvSpPr>
        <p:spPr bwMode="gray">
          <a:xfrm>
            <a:off x="5961112" y="5598363"/>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04</a:t>
            </a:r>
            <a:endParaRPr lang="ja-JP" altLang="en-US" sz="1000" dirty="0">
              <a:sym typeface="+mn-lt"/>
            </a:endParaRPr>
          </a:p>
        </p:txBody>
      </p:sp>
      <p:sp>
        <p:nvSpPr>
          <p:cNvPr id="307" name="テキスト プレースホルダ 9">
            <a:extLst>
              <a:ext uri="{FF2B5EF4-FFF2-40B4-BE49-F238E27FC236}">
                <a16:creationId xmlns:a16="http://schemas.microsoft.com/office/drawing/2014/main" id="{A314B879-93EE-4F0A-B19C-92F5C0C34B83}"/>
              </a:ext>
            </a:extLst>
          </p:cNvPr>
          <p:cNvSpPr>
            <a:spLocks noGrp="1"/>
          </p:cNvSpPr>
          <p:nvPr>
            <p:custDataLst>
              <p:tags r:id="rId78"/>
            </p:custDataLst>
          </p:nvPr>
        </p:nvSpPr>
        <p:spPr bwMode="gray">
          <a:xfrm>
            <a:off x="6292701" y="5131345"/>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14</a:t>
            </a:r>
            <a:endParaRPr lang="ja-JP" altLang="en-US" sz="1000" dirty="0">
              <a:sym typeface="+mn-lt"/>
            </a:endParaRPr>
          </a:p>
        </p:txBody>
      </p:sp>
      <p:sp>
        <p:nvSpPr>
          <p:cNvPr id="311" name="テキスト プレースホルダ 9">
            <a:extLst>
              <a:ext uri="{FF2B5EF4-FFF2-40B4-BE49-F238E27FC236}">
                <a16:creationId xmlns:a16="http://schemas.microsoft.com/office/drawing/2014/main" id="{43E218CD-2E6A-42C0-AFF6-288E9BDFDF24}"/>
              </a:ext>
            </a:extLst>
          </p:cNvPr>
          <p:cNvSpPr>
            <a:spLocks noGrp="1"/>
          </p:cNvSpPr>
          <p:nvPr>
            <p:custDataLst>
              <p:tags r:id="rId79"/>
            </p:custDataLst>
          </p:nvPr>
        </p:nvSpPr>
        <p:spPr bwMode="gray">
          <a:xfrm>
            <a:off x="6652741" y="514245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01</a:t>
            </a:r>
            <a:endParaRPr lang="ja-JP" altLang="en-US" sz="1000" dirty="0">
              <a:sym typeface="+mn-lt"/>
            </a:endParaRPr>
          </a:p>
        </p:txBody>
      </p:sp>
      <p:sp>
        <p:nvSpPr>
          <p:cNvPr id="315" name="テキスト プレースホルダ 9">
            <a:extLst>
              <a:ext uri="{FF2B5EF4-FFF2-40B4-BE49-F238E27FC236}">
                <a16:creationId xmlns:a16="http://schemas.microsoft.com/office/drawing/2014/main" id="{E218C00A-3E54-463F-9A71-C27F73B7DD3C}"/>
              </a:ext>
            </a:extLst>
          </p:cNvPr>
          <p:cNvSpPr>
            <a:spLocks noGrp="1"/>
          </p:cNvSpPr>
          <p:nvPr>
            <p:custDataLst>
              <p:tags r:id="rId80"/>
            </p:custDataLst>
          </p:nvPr>
        </p:nvSpPr>
        <p:spPr bwMode="gray">
          <a:xfrm>
            <a:off x="6609184" y="557674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62</a:t>
            </a:r>
            <a:endParaRPr lang="ja-JP" altLang="en-US" sz="1000" dirty="0">
              <a:sym typeface="+mn-lt"/>
            </a:endParaRPr>
          </a:p>
        </p:txBody>
      </p:sp>
      <p:sp>
        <p:nvSpPr>
          <p:cNvPr id="317" name="テキスト プレースホルダ 9">
            <a:extLst>
              <a:ext uri="{FF2B5EF4-FFF2-40B4-BE49-F238E27FC236}">
                <a16:creationId xmlns:a16="http://schemas.microsoft.com/office/drawing/2014/main" id="{C539DE43-C88E-42E8-B434-2CD57F8F0068}"/>
              </a:ext>
            </a:extLst>
          </p:cNvPr>
          <p:cNvSpPr>
            <a:spLocks noGrp="1"/>
          </p:cNvSpPr>
          <p:nvPr>
            <p:custDataLst>
              <p:tags r:id="rId81"/>
            </p:custDataLst>
          </p:nvPr>
        </p:nvSpPr>
        <p:spPr bwMode="gray">
          <a:xfrm>
            <a:off x="6969224" y="514880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30</a:t>
            </a:r>
            <a:endParaRPr lang="ja-JP" altLang="en-US" sz="1000" dirty="0">
              <a:sym typeface="+mn-lt"/>
            </a:endParaRPr>
          </a:p>
        </p:txBody>
      </p:sp>
      <p:sp>
        <p:nvSpPr>
          <p:cNvPr id="319" name="テキスト プレースホルダ 9">
            <a:extLst>
              <a:ext uri="{FF2B5EF4-FFF2-40B4-BE49-F238E27FC236}">
                <a16:creationId xmlns:a16="http://schemas.microsoft.com/office/drawing/2014/main" id="{59EBEF73-1BF5-4A89-9AC3-7D7C31EC95B2}"/>
              </a:ext>
            </a:extLst>
          </p:cNvPr>
          <p:cNvSpPr>
            <a:spLocks noGrp="1"/>
          </p:cNvSpPr>
          <p:nvPr>
            <p:custDataLst>
              <p:tags r:id="rId82"/>
            </p:custDataLst>
          </p:nvPr>
        </p:nvSpPr>
        <p:spPr bwMode="gray">
          <a:xfrm>
            <a:off x="7293255" y="5147350"/>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44</a:t>
            </a:r>
            <a:endParaRPr lang="ja-JP" altLang="en-US" sz="1000" dirty="0">
              <a:sym typeface="+mn-lt"/>
            </a:endParaRPr>
          </a:p>
        </p:txBody>
      </p:sp>
      <p:sp>
        <p:nvSpPr>
          <p:cNvPr id="322" name="テキスト プレースホルダ 9">
            <a:extLst>
              <a:ext uri="{FF2B5EF4-FFF2-40B4-BE49-F238E27FC236}">
                <a16:creationId xmlns:a16="http://schemas.microsoft.com/office/drawing/2014/main" id="{C6FE1C8C-53B8-42DD-BAAD-2E897EBB3085}"/>
              </a:ext>
            </a:extLst>
          </p:cNvPr>
          <p:cNvSpPr>
            <a:spLocks noGrp="1"/>
          </p:cNvSpPr>
          <p:nvPr>
            <p:custDataLst>
              <p:tags r:id="rId83"/>
            </p:custDataLst>
          </p:nvPr>
        </p:nvSpPr>
        <p:spPr bwMode="gray">
          <a:xfrm>
            <a:off x="7648141" y="555927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22</a:t>
            </a:r>
            <a:endParaRPr lang="ja-JP" altLang="en-US" sz="1000" dirty="0">
              <a:sym typeface="+mn-lt"/>
            </a:endParaRPr>
          </a:p>
        </p:txBody>
      </p:sp>
      <p:sp>
        <p:nvSpPr>
          <p:cNvPr id="301" name="テキスト プレースホルダ 9">
            <a:extLst>
              <a:ext uri="{FF2B5EF4-FFF2-40B4-BE49-F238E27FC236}">
                <a16:creationId xmlns:a16="http://schemas.microsoft.com/office/drawing/2014/main" id="{0862E86F-07DF-4209-92CF-CE276FBE45DA}"/>
              </a:ext>
            </a:extLst>
          </p:cNvPr>
          <p:cNvSpPr>
            <a:spLocks noGrp="1"/>
          </p:cNvSpPr>
          <p:nvPr>
            <p:custDataLst>
              <p:tags r:id="rId84"/>
            </p:custDataLst>
          </p:nvPr>
        </p:nvSpPr>
        <p:spPr bwMode="gray">
          <a:xfrm>
            <a:off x="5627489" y="5016353"/>
            <a:ext cx="244475" cy="149225"/>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294</a:t>
            </a:r>
            <a:endParaRPr lang="ja-JP" altLang="en-US" sz="1000" dirty="0">
              <a:sym typeface="+mn-lt"/>
            </a:endParaRPr>
          </a:p>
        </p:txBody>
      </p:sp>
      <p:sp>
        <p:nvSpPr>
          <p:cNvPr id="278" name="Rectangle 277"/>
          <p:cNvSpPr/>
          <p:nvPr>
            <p:custDataLst>
              <p:tags r:id="rId85"/>
            </p:custDataLst>
          </p:nvPr>
        </p:nvSpPr>
        <p:spPr bwMode="gray">
          <a:xfrm>
            <a:off x="8930356" y="4765146"/>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86"/>
            </p:custDataLst>
          </p:nvPr>
        </p:nvSpPr>
        <p:spPr bwMode="gray">
          <a:xfrm>
            <a:off x="8930356" y="4968346"/>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6" name="テキスト プレースホルダ 9"/>
          <p:cNvSpPr>
            <a:spLocks noGrp="1"/>
          </p:cNvSpPr>
          <p:nvPr>
            <p:custDataLst>
              <p:tags r:id="rId87"/>
            </p:custDataLst>
          </p:nvPr>
        </p:nvSpPr>
        <p:spPr bwMode="auto">
          <a:xfrm>
            <a:off x="9176840" y="4967141"/>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sp>
        <p:nvSpPr>
          <p:cNvPr id="277" name="テキスト プレースホルダ 9"/>
          <p:cNvSpPr>
            <a:spLocks noGrp="1"/>
          </p:cNvSpPr>
          <p:nvPr>
            <p:custDataLst>
              <p:tags r:id="rId88"/>
            </p:custDataLst>
          </p:nvPr>
        </p:nvSpPr>
        <p:spPr bwMode="auto">
          <a:xfrm>
            <a:off x="9160544" y="47675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337" name="テキスト ボックス 6"/>
          <p:cNvSpPr txBox="1"/>
          <p:nvPr/>
        </p:nvSpPr>
        <p:spPr>
          <a:xfrm>
            <a:off x="5745088" y="6229350"/>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固定価格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88318" y="1124813"/>
            <a:ext cx="9361038"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なっているが、増加分のほとんどは政府負担で、政府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ている。</a:t>
            </a:r>
          </a:p>
        </p:txBody>
      </p:sp>
      <p:sp>
        <p:nvSpPr>
          <p:cNvPr id="309" name="Rectangle 308">
            <a:extLst>
              <a:ext uri="{FF2B5EF4-FFF2-40B4-BE49-F238E27FC236}">
                <a16:creationId xmlns:a16="http://schemas.microsoft.com/office/drawing/2014/main" id="{B8537B9C-8966-4CBA-87B9-B86AD8A15D60}"/>
              </a:ext>
            </a:extLst>
          </p:cNvPr>
          <p:cNvSpPr/>
          <p:nvPr>
            <p:custDataLst>
              <p:tags r:id="rId89"/>
            </p:custDataLst>
          </p:nvPr>
        </p:nvSpPr>
        <p:spPr bwMode="gray">
          <a:xfrm>
            <a:off x="8248650" y="2403475"/>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6" name="Rectangle 65">
            <a:extLst>
              <a:ext uri="{FF2B5EF4-FFF2-40B4-BE49-F238E27FC236}">
                <a16:creationId xmlns:a16="http://schemas.microsoft.com/office/drawing/2014/main" id="{84012B64-F1D0-48FF-A9FC-521AEEC889C9}"/>
              </a:ext>
            </a:extLst>
          </p:cNvPr>
          <p:cNvSpPr/>
          <p:nvPr>
            <p:custDataLst>
              <p:tags r:id="rId90"/>
            </p:custDataLst>
          </p:nvPr>
        </p:nvSpPr>
        <p:spPr bwMode="auto">
          <a:xfrm>
            <a:off x="8248650" y="2606675"/>
            <a:ext cx="179388" cy="133350"/>
          </a:xfrm>
          <a:prstGeom prst="rect">
            <a:avLst/>
          </a:prstGeom>
          <a:solidFill>
            <a:srgbClr val="C0E6F4"/>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21" name="テキスト プレースホルダ 9">
            <a:extLst>
              <a:ext uri="{FF2B5EF4-FFF2-40B4-BE49-F238E27FC236}">
                <a16:creationId xmlns:a16="http://schemas.microsoft.com/office/drawing/2014/main" id="{986385B7-F94F-4FDB-A94B-13F7EE4370BB}"/>
              </a:ext>
            </a:extLst>
          </p:cNvPr>
          <p:cNvSpPr>
            <a:spLocks noGrp="1"/>
          </p:cNvSpPr>
          <p:nvPr>
            <p:custDataLst>
              <p:tags r:id="rId91"/>
            </p:custDataLst>
          </p:nvPr>
        </p:nvSpPr>
        <p:spPr bwMode="auto">
          <a:xfrm>
            <a:off x="8478838" y="2601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BA99204-B66F-4FED-9529-361E2888B005}" type="datetime'''''''''''''''''''''政''''''府'''">
              <a:rPr kumimoji="0" lang="ja-JP" altLang="en-US" sz="1000" smtClean="0"/>
              <a:pPr/>
              <a:t>政府</a:t>
            </a:fld>
            <a:endParaRPr kumimoji="0" lang="ja-JP" altLang="en-US" sz="1000" dirty="0">
              <a:sym typeface="+mn-lt"/>
            </a:endParaRPr>
          </a:p>
        </p:txBody>
      </p:sp>
      <p:sp>
        <p:nvSpPr>
          <p:cNvPr id="316" name="テキスト プレースホルダ 9">
            <a:extLst>
              <a:ext uri="{FF2B5EF4-FFF2-40B4-BE49-F238E27FC236}">
                <a16:creationId xmlns:a16="http://schemas.microsoft.com/office/drawing/2014/main" id="{CA67C098-9B62-41D1-80CC-3B72955607FF}"/>
              </a:ext>
            </a:extLst>
          </p:cNvPr>
          <p:cNvSpPr>
            <a:spLocks noGrp="1"/>
          </p:cNvSpPr>
          <p:nvPr>
            <p:custDataLst>
              <p:tags r:id="rId92"/>
            </p:custDataLst>
          </p:nvPr>
        </p:nvSpPr>
        <p:spPr bwMode="auto">
          <a:xfrm>
            <a:off x="8478838" y="23987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09587B8-8857-4C6B-A269-1EDDC60DD3CA}" type="datetime'''''''政''''''府''''''''''''''''''''''''''''''''以外'''''''''">
              <a:rPr kumimoji="0" lang="zh-TW" altLang="en-US" sz="1000" smtClean="0"/>
              <a:pPr/>
              <a:t>政府以外</a:t>
            </a:fld>
            <a:endParaRPr kumimoji="0" lang="ja-JP" altLang="en-US" sz="1000" dirty="0">
              <a:sym typeface="+mn-lt"/>
            </a:endParaRPr>
          </a:p>
        </p:txBody>
      </p:sp>
      <p:sp>
        <p:nvSpPr>
          <p:cNvPr id="448" name="テキスト ボックス 15">
            <a:extLst>
              <a:ext uri="{FF2B5EF4-FFF2-40B4-BE49-F238E27FC236}">
                <a16:creationId xmlns:a16="http://schemas.microsoft.com/office/drawing/2014/main" id="{6308DD9E-4DE0-4488-8D56-F75A9C2E8BC1}"/>
              </a:ext>
            </a:extLst>
          </p:cNvPr>
          <p:cNvSpPr txBox="1"/>
          <p:nvPr/>
        </p:nvSpPr>
        <p:spPr>
          <a:xfrm>
            <a:off x="839788" y="2063750"/>
            <a:ext cx="827088"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49" name="テキスト ボックス 23">
            <a:extLst>
              <a:ext uri="{FF2B5EF4-FFF2-40B4-BE49-F238E27FC236}">
                <a16:creationId xmlns:a16="http://schemas.microsoft.com/office/drawing/2014/main" id="{E63BCA38-9671-4020-9F2E-7A32DBB2468C}"/>
              </a:ext>
            </a:extLst>
          </p:cNvPr>
          <p:cNvSpPr txBox="1"/>
          <p:nvPr/>
        </p:nvSpPr>
        <p:spPr>
          <a:xfrm>
            <a:off x="7823200" y="2063750"/>
            <a:ext cx="433388" cy="144463"/>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55" name="Straight Connector 454">
            <a:extLst>
              <a:ext uri="{FF2B5EF4-FFF2-40B4-BE49-F238E27FC236}">
                <a16:creationId xmlns:a16="http://schemas.microsoft.com/office/drawing/2014/main" id="{0CCA9872-A274-4464-BAF0-C5A5D6E33346}"/>
              </a:ext>
            </a:extLst>
          </p:cNvPr>
          <p:cNvCxnSpPr/>
          <p:nvPr>
            <p:custDataLst>
              <p:tags r:id="rId93"/>
            </p:custDataLst>
          </p:nvPr>
        </p:nvCxnSpPr>
        <p:spPr bwMode="gray">
          <a:xfrm>
            <a:off x="8228249" y="2161043"/>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456" name="Oval 455">
            <a:extLst>
              <a:ext uri="{FF2B5EF4-FFF2-40B4-BE49-F238E27FC236}">
                <a16:creationId xmlns:a16="http://schemas.microsoft.com/office/drawing/2014/main" id="{44080F51-A47E-4359-87F5-F01084BBCD2D}"/>
              </a:ext>
            </a:extLst>
          </p:cNvPr>
          <p:cNvSpPr/>
          <p:nvPr>
            <p:custDataLst>
              <p:tags r:id="rId94"/>
            </p:custDataLst>
          </p:nvPr>
        </p:nvSpPr>
        <p:spPr bwMode="gray">
          <a:xfrm>
            <a:off x="8299687" y="212294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7" name="テキスト プレースホルダ 9">
            <a:extLst>
              <a:ext uri="{FF2B5EF4-FFF2-40B4-BE49-F238E27FC236}">
                <a16:creationId xmlns:a16="http://schemas.microsoft.com/office/drawing/2014/main" id="{B7FBCA43-793E-453D-93ED-3090CFD1A486}"/>
              </a:ext>
            </a:extLst>
          </p:cNvPr>
          <p:cNvSpPr>
            <a:spLocks noGrp="1"/>
          </p:cNvSpPr>
          <p:nvPr>
            <p:custDataLst>
              <p:tags r:id="rId95"/>
            </p:custDataLst>
          </p:nvPr>
        </p:nvSpPr>
        <p:spPr bwMode="auto">
          <a:xfrm>
            <a:off x="8502887" y="210389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E48BE8A-5F48-4665-A95E-01E9747264D8}" type="datetime'医療費''''支''''''出総''額に''おけ''''''る''&#10;政''府の''''負担''''''''''''割合'">
              <a:rPr lang="ja-JP" altLang="en-US" sz="800" smtClean="0"/>
              <a:pPr/>
              <a:t>医療費支出総額における
政府の負担割合</a:t>
            </a:fld>
            <a:endParaRPr kumimoji="0" lang="ja-JP" altLang="en-US" sz="800" dirty="0">
              <a:sym typeface="+mn-lt"/>
            </a:endParaRPr>
          </a:p>
        </p:txBody>
      </p:sp>
      <p:graphicFrame>
        <p:nvGraphicFramePr>
          <p:cNvPr id="2" name="Chart 449">
            <a:extLst>
              <a:ext uri="{FF2B5EF4-FFF2-40B4-BE49-F238E27FC236}">
                <a16:creationId xmlns:a16="http://schemas.microsoft.com/office/drawing/2014/main" id="{3FA6611F-ED95-E3B6-D980-30A5263484AF}"/>
              </a:ext>
            </a:extLst>
          </p:cNvPr>
          <p:cNvGraphicFramePr/>
          <p:nvPr>
            <p:custDataLst>
              <p:tags r:id="rId96"/>
            </p:custDataLst>
            <p:extLst>
              <p:ext uri="{D42A27DB-BD31-4B8C-83A1-F6EECF244321}">
                <p14:modId xmlns:p14="http://schemas.microsoft.com/office/powerpoint/2010/main" val="3775129508"/>
              </p:ext>
            </p:extLst>
          </p:nvPr>
        </p:nvGraphicFramePr>
        <p:xfrm>
          <a:off x="1080077" y="2539189"/>
          <a:ext cx="7132637" cy="1414462"/>
        </p:xfrm>
        <a:graphic>
          <a:graphicData uri="http://schemas.openxmlformats.org/drawingml/2006/chart">
            <c:chart xmlns:c="http://schemas.openxmlformats.org/drawingml/2006/chart" xmlns:r="http://schemas.openxmlformats.org/officeDocument/2006/relationships" r:id="rId200"/>
          </a:graphicData>
        </a:graphic>
      </p:graphicFrame>
      <p:sp>
        <p:nvSpPr>
          <p:cNvPr id="5" name="テキスト プレースホルダ 9">
            <a:extLst>
              <a:ext uri="{FF2B5EF4-FFF2-40B4-BE49-F238E27FC236}">
                <a16:creationId xmlns:a16="http://schemas.microsoft.com/office/drawing/2014/main" id="{DDD11452-EFC1-AD51-0EF7-87041FA9A97C}"/>
              </a:ext>
            </a:extLst>
          </p:cNvPr>
          <p:cNvSpPr>
            <a:spLocks noGrp="1"/>
          </p:cNvSpPr>
          <p:nvPr>
            <p:custDataLst>
              <p:tags r:id="rId97"/>
            </p:custDataLst>
          </p:nvPr>
        </p:nvSpPr>
        <p:spPr bwMode="gray">
          <a:xfrm>
            <a:off x="964189" y="3794901"/>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145848B-15F2-447C-868A-E46CF8C7A0A2}" type="datetime'''''''''''''''''''''''0'''''''''''''''''">
              <a:rPr lang="ja-JP" altLang="en-US" sz="1000" smtClean="0"/>
              <a:pPr marL="0" indent="0" algn="r">
                <a:spcBef>
                  <a:spcPct val="0"/>
                </a:spcBef>
                <a:buNone/>
              </a:pPr>
              <a:t>0</a:t>
            </a:fld>
            <a:endParaRPr lang="ja-JP" altLang="en-US" sz="800" dirty="0">
              <a:sym typeface="+mn-lt"/>
            </a:endParaRPr>
          </a:p>
        </p:txBody>
      </p:sp>
      <p:sp>
        <p:nvSpPr>
          <p:cNvPr id="6" name="テキスト プレースホルダ 9">
            <a:extLst>
              <a:ext uri="{FF2B5EF4-FFF2-40B4-BE49-F238E27FC236}">
                <a16:creationId xmlns:a16="http://schemas.microsoft.com/office/drawing/2014/main" id="{318CBBEB-0C79-085B-D583-B0FCF74B4466}"/>
              </a:ext>
            </a:extLst>
          </p:cNvPr>
          <p:cNvSpPr>
            <a:spLocks noGrp="1"/>
          </p:cNvSpPr>
          <p:nvPr>
            <p:custDataLst>
              <p:tags r:id="rId98"/>
            </p:custDataLst>
          </p:nvPr>
        </p:nvSpPr>
        <p:spPr bwMode="gray">
          <a:xfrm>
            <a:off x="824489" y="2858276"/>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1854FF9-BED1-429E-BF16-C81AB38F89EE}" type="datetime'''''''''''''''''''''''''''3''''''''''''00'''''''''''''''''''">
              <a:rPr lang="ja-JP" altLang="en-US" sz="1000" smtClean="0"/>
              <a:pPr marL="0" indent="0" algn="r">
                <a:spcBef>
                  <a:spcPct val="0"/>
                </a:spcBef>
                <a:buNone/>
              </a:pPr>
              <a:t>300</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3A86B9CF-6698-FEBA-D4E8-D85F91862D4D}"/>
              </a:ext>
            </a:extLst>
          </p:cNvPr>
          <p:cNvSpPr>
            <a:spLocks noGrp="1"/>
          </p:cNvSpPr>
          <p:nvPr>
            <p:custDataLst>
              <p:tags r:id="rId99"/>
            </p:custDataLst>
          </p:nvPr>
        </p:nvSpPr>
        <p:spPr bwMode="gray">
          <a:xfrm>
            <a:off x="824489" y="3482164"/>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3D9FBD6-18DF-4C23-84B8-6C37C573FA00}" type="datetime'''''''''''''''1''''''''''''''''''''''''0''0'''''''">
              <a:rPr lang="ja-JP" altLang="en-US" sz="1000" smtClean="0"/>
              <a:pPr marL="0" indent="0" algn="r">
                <a:spcBef>
                  <a:spcPct val="0"/>
                </a:spcBef>
                <a:buNone/>
              </a:pPr>
              <a:t>100</a:t>
            </a:fld>
            <a:endParaRPr lang="ja-JP" altLang="en-US" sz="800" dirty="0">
              <a:sym typeface="+mn-lt"/>
            </a:endParaRPr>
          </a:p>
        </p:txBody>
      </p:sp>
      <p:sp>
        <p:nvSpPr>
          <p:cNvPr id="10" name="テキスト プレースホルダ 9">
            <a:extLst>
              <a:ext uri="{FF2B5EF4-FFF2-40B4-BE49-F238E27FC236}">
                <a16:creationId xmlns:a16="http://schemas.microsoft.com/office/drawing/2014/main" id="{88B61677-6AE6-1F69-14AA-1F351E4503AC}"/>
              </a:ext>
            </a:extLst>
          </p:cNvPr>
          <p:cNvSpPr>
            <a:spLocks noGrp="1"/>
          </p:cNvSpPr>
          <p:nvPr>
            <p:custDataLst>
              <p:tags r:id="rId100"/>
            </p:custDataLst>
          </p:nvPr>
        </p:nvSpPr>
        <p:spPr bwMode="gray">
          <a:xfrm>
            <a:off x="824489" y="2545539"/>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85731A6-A897-4913-A3AB-4DB1DE455737}" type="datetime'''''40''0'''''''">
              <a:rPr lang="ja-JP" altLang="en-US" sz="1000" smtClean="0"/>
              <a:pPr marL="0" indent="0" algn="r">
                <a:spcBef>
                  <a:spcPct val="0"/>
                </a:spcBef>
                <a:buNone/>
              </a:pPr>
              <a:t>400</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0CD6E321-53B6-63F2-2EE9-D7FA0E0407DF}"/>
              </a:ext>
            </a:extLst>
          </p:cNvPr>
          <p:cNvSpPr>
            <a:spLocks noGrp="1"/>
          </p:cNvSpPr>
          <p:nvPr>
            <p:custDataLst>
              <p:tags r:id="rId101"/>
            </p:custDataLst>
          </p:nvPr>
        </p:nvSpPr>
        <p:spPr bwMode="gray">
          <a:xfrm>
            <a:off x="824489" y="3171014"/>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4487062-7762-47E2-9734-B8E6352B2469}" type="datetime'''''''''''''''''20''''''''''0'''''''''''''''''''">
              <a:rPr lang="ja-JP" altLang="en-US" sz="1000" smtClean="0"/>
              <a:pPr marL="0" indent="0" algn="r">
                <a:spcBef>
                  <a:spcPct val="0"/>
                </a:spcBef>
                <a:buNone/>
              </a:pPr>
              <a:t>200</a:t>
            </a:fld>
            <a:endParaRPr lang="ja-JP" altLang="en-US" sz="800" dirty="0">
              <a:sym typeface="+mn-lt"/>
            </a:endParaRPr>
          </a:p>
        </p:txBody>
      </p:sp>
      <p:sp>
        <p:nvSpPr>
          <p:cNvPr id="12" name="Text Placeholder 12">
            <a:extLst>
              <a:ext uri="{FF2B5EF4-FFF2-40B4-BE49-F238E27FC236}">
                <a16:creationId xmlns:a16="http://schemas.microsoft.com/office/drawing/2014/main" id="{AA85562A-C480-AFB2-5934-E5A94C190B40}"/>
              </a:ext>
            </a:extLst>
          </p:cNvPr>
          <p:cNvSpPr>
            <a:spLocks noGrp="1"/>
          </p:cNvSpPr>
          <p:nvPr>
            <p:custDataLst>
              <p:tags r:id="rId102"/>
            </p:custDataLst>
          </p:nvPr>
        </p:nvSpPr>
        <p:spPr bwMode="auto">
          <a:xfrm>
            <a:off x="3906059" y="38942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AC43B6-31CB-4541-A370-A115FB97AEB6}" type="datetime'''''''''''''''''''''''''''''''''''0''''''''8'''''''''''">
              <a:rPr lang="ja-JP" altLang="en-US" sz="1000" b="0" smtClean="0"/>
              <a:pPr/>
              <a:t>08</a:t>
            </a:fld>
            <a:endParaRPr kumimoji="0" lang="ja-JP" altLang="en-US" sz="800" b="0" dirty="0">
              <a:sym typeface="+mn-lt"/>
            </a:endParaRPr>
          </a:p>
        </p:txBody>
      </p:sp>
      <p:sp>
        <p:nvSpPr>
          <p:cNvPr id="13" name="テキスト プレースホルダ 9">
            <a:extLst>
              <a:ext uri="{FF2B5EF4-FFF2-40B4-BE49-F238E27FC236}">
                <a16:creationId xmlns:a16="http://schemas.microsoft.com/office/drawing/2014/main" id="{2BD92820-3681-A150-9F15-6CE652277EDB}"/>
              </a:ext>
            </a:extLst>
          </p:cNvPr>
          <p:cNvSpPr>
            <a:spLocks noGrp="1"/>
          </p:cNvSpPr>
          <p:nvPr>
            <p:custDataLst>
              <p:tags r:id="rId103"/>
            </p:custDataLst>
          </p:nvPr>
        </p:nvSpPr>
        <p:spPr bwMode="gray">
          <a:xfrm>
            <a:off x="3857262" y="3645676"/>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4</a:t>
            </a:r>
            <a:endParaRPr lang="ja-JP" altLang="en-US" sz="800" dirty="0">
              <a:sym typeface="+mn-lt"/>
            </a:endParaRPr>
          </a:p>
        </p:txBody>
      </p:sp>
      <p:sp>
        <p:nvSpPr>
          <p:cNvPr id="14" name="テキスト プレースホルダ 9">
            <a:extLst>
              <a:ext uri="{FF2B5EF4-FFF2-40B4-BE49-F238E27FC236}">
                <a16:creationId xmlns:a16="http://schemas.microsoft.com/office/drawing/2014/main" id="{A45C8D6E-35D5-2996-9EFA-70727B6F3226}"/>
              </a:ext>
            </a:extLst>
          </p:cNvPr>
          <p:cNvSpPr>
            <a:spLocks noGrp="1"/>
          </p:cNvSpPr>
          <p:nvPr>
            <p:custDataLst>
              <p:tags r:id="rId104"/>
            </p:custDataLst>
          </p:nvPr>
        </p:nvSpPr>
        <p:spPr bwMode="gray">
          <a:xfrm>
            <a:off x="1548687" y="3422416"/>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6</a:t>
            </a:r>
            <a:endParaRPr lang="ja-JP" altLang="en-US" sz="800" dirty="0">
              <a:sym typeface="+mn-lt"/>
            </a:endParaRPr>
          </a:p>
        </p:txBody>
      </p:sp>
      <p:sp>
        <p:nvSpPr>
          <p:cNvPr id="15" name="テキスト プレースホルダ 9">
            <a:extLst>
              <a:ext uri="{FF2B5EF4-FFF2-40B4-BE49-F238E27FC236}">
                <a16:creationId xmlns:a16="http://schemas.microsoft.com/office/drawing/2014/main" id="{4840AF68-1DDF-6D1B-2C96-F44E82611E74}"/>
              </a:ext>
            </a:extLst>
          </p:cNvPr>
          <p:cNvSpPr>
            <a:spLocks noGrp="1"/>
          </p:cNvSpPr>
          <p:nvPr>
            <p:custDataLst>
              <p:tags r:id="rId105"/>
            </p:custDataLst>
          </p:nvPr>
        </p:nvSpPr>
        <p:spPr bwMode="gray">
          <a:xfrm>
            <a:off x="4512251" y="3205650"/>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0</a:t>
            </a:r>
            <a:endParaRPr lang="ja-JP" altLang="en-US" sz="800" dirty="0">
              <a:sym typeface="+mn-lt"/>
            </a:endParaRPr>
          </a:p>
        </p:txBody>
      </p:sp>
      <p:sp>
        <p:nvSpPr>
          <p:cNvPr id="16" name="Text Placeholder 12">
            <a:extLst>
              <a:ext uri="{FF2B5EF4-FFF2-40B4-BE49-F238E27FC236}">
                <a16:creationId xmlns:a16="http://schemas.microsoft.com/office/drawing/2014/main" id="{676DF34A-D9D8-5F58-4C55-01438AF15892}"/>
              </a:ext>
            </a:extLst>
          </p:cNvPr>
          <p:cNvSpPr>
            <a:spLocks noGrp="1"/>
          </p:cNvSpPr>
          <p:nvPr>
            <p:custDataLst>
              <p:tags r:id="rId106"/>
            </p:custDataLst>
          </p:nvPr>
        </p:nvSpPr>
        <p:spPr bwMode="auto">
          <a:xfrm>
            <a:off x="1580726" y="389967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8BC9A0B-4E7B-4645-A334-DFCB4410D691}" type="datetime'''0''''''''''''''1'''''''''''">
              <a:rPr lang="ja-JP" altLang="en-US" sz="1000" b="0" smtClean="0"/>
              <a:pPr/>
              <a:t>01</a:t>
            </a:fld>
            <a:endParaRPr kumimoji="0" lang="ja-JP" altLang="en-US" sz="800" b="0" dirty="0">
              <a:sym typeface="+mn-lt"/>
            </a:endParaRPr>
          </a:p>
        </p:txBody>
      </p:sp>
      <p:sp>
        <p:nvSpPr>
          <p:cNvPr id="17" name="テキスト プレースホルダ 9">
            <a:extLst>
              <a:ext uri="{FF2B5EF4-FFF2-40B4-BE49-F238E27FC236}">
                <a16:creationId xmlns:a16="http://schemas.microsoft.com/office/drawing/2014/main" id="{87A0CED9-56CF-6EF6-E8C8-0F1A97A61ED8}"/>
              </a:ext>
            </a:extLst>
          </p:cNvPr>
          <p:cNvSpPr>
            <a:spLocks noGrp="1"/>
          </p:cNvSpPr>
          <p:nvPr>
            <p:custDataLst>
              <p:tags r:id="rId107"/>
            </p:custDataLst>
          </p:nvPr>
        </p:nvSpPr>
        <p:spPr bwMode="gray">
          <a:xfrm>
            <a:off x="1213427" y="341548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2</a:t>
            </a:r>
            <a:endParaRPr lang="ja-JP" altLang="en-US" sz="800" dirty="0">
              <a:sym typeface="+mn-lt"/>
            </a:endParaRPr>
          </a:p>
        </p:txBody>
      </p:sp>
      <p:sp>
        <p:nvSpPr>
          <p:cNvPr id="18" name="Text Placeholder 12">
            <a:extLst>
              <a:ext uri="{FF2B5EF4-FFF2-40B4-BE49-F238E27FC236}">
                <a16:creationId xmlns:a16="http://schemas.microsoft.com/office/drawing/2014/main" id="{685BEEFD-A1AD-6D99-7AB4-6251C454E305}"/>
              </a:ext>
            </a:extLst>
          </p:cNvPr>
          <p:cNvSpPr>
            <a:spLocks noGrp="1"/>
          </p:cNvSpPr>
          <p:nvPr>
            <p:custDataLst>
              <p:tags r:id="rId108"/>
            </p:custDataLst>
          </p:nvPr>
        </p:nvSpPr>
        <p:spPr bwMode="auto">
          <a:xfrm>
            <a:off x="1162627" y="390189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0C0E55-1A13-4BFF-A30C-CBDCFD1E3A41}" type="datetime'''''''''''''''''''2''''''''''0''00'''''''''''''''''">
              <a:rPr lang="ja-JP" altLang="en-US" sz="1000" b="0" smtClean="0"/>
              <a:pPr/>
              <a:t>2000</a:t>
            </a:fld>
            <a:endParaRPr kumimoji="0" lang="ja-JP" altLang="en-US" sz="800" b="0" dirty="0">
              <a:sym typeface="+mn-lt"/>
            </a:endParaRPr>
          </a:p>
        </p:txBody>
      </p:sp>
      <p:sp>
        <p:nvSpPr>
          <p:cNvPr id="20" name="Text Placeholder 12">
            <a:extLst>
              <a:ext uri="{FF2B5EF4-FFF2-40B4-BE49-F238E27FC236}">
                <a16:creationId xmlns:a16="http://schemas.microsoft.com/office/drawing/2014/main" id="{5D64DCE9-A7A2-5231-3F9E-E123FADCE548}"/>
              </a:ext>
            </a:extLst>
          </p:cNvPr>
          <p:cNvSpPr>
            <a:spLocks noGrp="1"/>
          </p:cNvSpPr>
          <p:nvPr>
            <p:custDataLst>
              <p:tags r:id="rId109"/>
            </p:custDataLst>
          </p:nvPr>
        </p:nvSpPr>
        <p:spPr bwMode="auto">
          <a:xfrm>
            <a:off x="6537161" y="39152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9D8044A-2E0D-4E14-A59A-9627609E088D}" type="datetime'''''''''''''''''''''''''''''''''''''''''''''16'''''">
              <a:rPr lang="ja-JP" altLang="en-US" sz="1000" b="0" smtClean="0"/>
              <a:pPr/>
              <a:t>16</a:t>
            </a:fld>
            <a:endParaRPr kumimoji="0" lang="ja-JP" altLang="en-US" sz="800" b="0" dirty="0">
              <a:sym typeface="+mn-lt"/>
            </a:endParaRPr>
          </a:p>
        </p:txBody>
      </p:sp>
      <p:sp>
        <p:nvSpPr>
          <p:cNvPr id="21" name="テキスト プレースホルダ 9">
            <a:extLst>
              <a:ext uri="{FF2B5EF4-FFF2-40B4-BE49-F238E27FC236}">
                <a16:creationId xmlns:a16="http://schemas.microsoft.com/office/drawing/2014/main" id="{52FF93D4-290F-3CEC-8B05-7F9A33DF7F15}"/>
              </a:ext>
            </a:extLst>
          </p:cNvPr>
          <p:cNvSpPr>
            <a:spLocks noGrp="1"/>
          </p:cNvSpPr>
          <p:nvPr>
            <p:custDataLst>
              <p:tags r:id="rId110"/>
            </p:custDataLst>
          </p:nvPr>
        </p:nvSpPr>
        <p:spPr bwMode="gray">
          <a:xfrm>
            <a:off x="3864910" y="327327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8</a:t>
            </a:r>
            <a:endParaRPr lang="ja-JP" altLang="en-US" sz="800" dirty="0">
              <a:sym typeface="+mn-lt"/>
            </a:endParaRPr>
          </a:p>
        </p:txBody>
      </p:sp>
      <p:sp>
        <p:nvSpPr>
          <p:cNvPr id="22" name="テキスト プレースホルダ 9">
            <a:extLst>
              <a:ext uri="{FF2B5EF4-FFF2-40B4-BE49-F238E27FC236}">
                <a16:creationId xmlns:a16="http://schemas.microsoft.com/office/drawing/2014/main" id="{1D00359E-C91A-B8D7-F047-96536B0482A3}"/>
              </a:ext>
            </a:extLst>
          </p:cNvPr>
          <p:cNvSpPr>
            <a:spLocks noGrp="1"/>
          </p:cNvSpPr>
          <p:nvPr>
            <p:custDataLst>
              <p:tags r:id="rId111"/>
            </p:custDataLst>
          </p:nvPr>
        </p:nvSpPr>
        <p:spPr bwMode="gray">
          <a:xfrm>
            <a:off x="1248352" y="3693301"/>
            <a:ext cx="17462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9</a:t>
            </a:r>
            <a:endParaRPr lang="ja-JP" altLang="en-US" sz="800" dirty="0">
              <a:sym typeface="+mn-lt"/>
            </a:endParaRPr>
          </a:p>
        </p:txBody>
      </p:sp>
      <p:sp>
        <p:nvSpPr>
          <p:cNvPr id="23" name="テキスト プレースホルダ 9">
            <a:extLst>
              <a:ext uri="{FF2B5EF4-FFF2-40B4-BE49-F238E27FC236}">
                <a16:creationId xmlns:a16="http://schemas.microsoft.com/office/drawing/2014/main" id="{64E3F365-F937-8CC4-6DBD-BF71F781E322}"/>
              </a:ext>
            </a:extLst>
          </p:cNvPr>
          <p:cNvSpPr>
            <a:spLocks noGrp="1"/>
          </p:cNvSpPr>
          <p:nvPr>
            <p:custDataLst>
              <p:tags r:id="rId112"/>
            </p:custDataLst>
          </p:nvPr>
        </p:nvSpPr>
        <p:spPr bwMode="gray">
          <a:xfrm>
            <a:off x="1597602" y="3701239"/>
            <a:ext cx="17462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a:t>
            </a:r>
            <a:endParaRPr lang="ja-JP" altLang="en-US" sz="800" dirty="0">
              <a:sym typeface="+mn-lt"/>
            </a:endParaRPr>
          </a:p>
        </p:txBody>
      </p:sp>
      <p:sp>
        <p:nvSpPr>
          <p:cNvPr id="24" name="テキスト プレースホルダ 9">
            <a:extLst>
              <a:ext uri="{FF2B5EF4-FFF2-40B4-BE49-F238E27FC236}">
                <a16:creationId xmlns:a16="http://schemas.microsoft.com/office/drawing/2014/main" id="{17A22BEE-09CD-346D-4A2B-653DCB22CF3A}"/>
              </a:ext>
            </a:extLst>
          </p:cNvPr>
          <p:cNvSpPr>
            <a:spLocks noGrp="1"/>
          </p:cNvSpPr>
          <p:nvPr>
            <p:custDataLst>
              <p:tags r:id="rId113"/>
            </p:custDataLst>
          </p:nvPr>
        </p:nvSpPr>
        <p:spPr bwMode="gray">
          <a:xfrm>
            <a:off x="6853522" y="3057652"/>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7</a:t>
            </a:r>
            <a:endParaRPr lang="ja-JP" altLang="en-US" sz="800" dirty="0">
              <a:sym typeface="+mn-lt"/>
            </a:endParaRPr>
          </a:p>
        </p:txBody>
      </p:sp>
      <p:sp>
        <p:nvSpPr>
          <p:cNvPr id="25" name="テキスト プレースホルダ 9">
            <a:extLst>
              <a:ext uri="{FF2B5EF4-FFF2-40B4-BE49-F238E27FC236}">
                <a16:creationId xmlns:a16="http://schemas.microsoft.com/office/drawing/2014/main" id="{1988B616-78F5-772B-9BB5-A588FD305F2B}"/>
              </a:ext>
            </a:extLst>
          </p:cNvPr>
          <p:cNvSpPr>
            <a:spLocks noGrp="1"/>
          </p:cNvSpPr>
          <p:nvPr>
            <p:custDataLst>
              <p:tags r:id="rId114"/>
            </p:custDataLst>
          </p:nvPr>
        </p:nvSpPr>
        <p:spPr bwMode="gray">
          <a:xfrm>
            <a:off x="1877448" y="3429776"/>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2</a:t>
            </a:r>
            <a:endParaRPr lang="ja-JP" altLang="en-US" sz="800" dirty="0">
              <a:sym typeface="+mn-lt"/>
            </a:endParaRPr>
          </a:p>
        </p:txBody>
      </p:sp>
      <p:sp>
        <p:nvSpPr>
          <p:cNvPr id="26" name="テキスト プレースホルダ 9">
            <a:extLst>
              <a:ext uri="{FF2B5EF4-FFF2-40B4-BE49-F238E27FC236}">
                <a16:creationId xmlns:a16="http://schemas.microsoft.com/office/drawing/2014/main" id="{2AE8811A-8573-BF0A-67FA-711937BD6752}"/>
              </a:ext>
            </a:extLst>
          </p:cNvPr>
          <p:cNvSpPr>
            <a:spLocks noGrp="1"/>
          </p:cNvSpPr>
          <p:nvPr>
            <p:custDataLst>
              <p:tags r:id="rId115"/>
            </p:custDataLst>
          </p:nvPr>
        </p:nvSpPr>
        <p:spPr bwMode="gray">
          <a:xfrm>
            <a:off x="1902691" y="3708187"/>
            <a:ext cx="17462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4</a:t>
            </a:r>
            <a:endParaRPr lang="ja-JP" altLang="en-US" sz="800" dirty="0">
              <a:sym typeface="+mn-lt"/>
            </a:endParaRPr>
          </a:p>
        </p:txBody>
      </p:sp>
      <p:sp>
        <p:nvSpPr>
          <p:cNvPr id="27" name="Text Placeholder 12">
            <a:extLst>
              <a:ext uri="{FF2B5EF4-FFF2-40B4-BE49-F238E27FC236}">
                <a16:creationId xmlns:a16="http://schemas.microsoft.com/office/drawing/2014/main" id="{AE0747CB-23CC-42DA-EA3D-E40401B934E5}"/>
              </a:ext>
            </a:extLst>
          </p:cNvPr>
          <p:cNvSpPr>
            <a:spLocks noGrp="1"/>
          </p:cNvSpPr>
          <p:nvPr>
            <p:custDataLst>
              <p:tags r:id="rId116"/>
            </p:custDataLst>
          </p:nvPr>
        </p:nvSpPr>
        <p:spPr bwMode="auto">
          <a:xfrm>
            <a:off x="1923485" y="38942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F4256D9-F4E7-4C71-B885-771FE7F78BF0}" type="datetime'''0''''''''''''''''''''''''2'''''''''''''''''''''''''">
              <a:rPr lang="ja-JP" altLang="en-US" sz="1000" b="0" smtClean="0"/>
              <a:pPr/>
              <a:t>02</a:t>
            </a:fld>
            <a:endParaRPr kumimoji="0" lang="ja-JP" altLang="en-US" sz="800" b="0" dirty="0">
              <a:sym typeface="+mn-lt"/>
            </a:endParaRPr>
          </a:p>
        </p:txBody>
      </p:sp>
      <p:sp>
        <p:nvSpPr>
          <p:cNvPr id="31" name="Text Placeholder 12">
            <a:extLst>
              <a:ext uri="{FF2B5EF4-FFF2-40B4-BE49-F238E27FC236}">
                <a16:creationId xmlns:a16="http://schemas.microsoft.com/office/drawing/2014/main" id="{4CFEBF74-7725-1724-7CA7-3CF46F79348F}"/>
              </a:ext>
            </a:extLst>
          </p:cNvPr>
          <p:cNvSpPr>
            <a:spLocks noGrp="1"/>
          </p:cNvSpPr>
          <p:nvPr>
            <p:custDataLst>
              <p:tags r:id="rId117"/>
            </p:custDataLst>
          </p:nvPr>
        </p:nvSpPr>
        <p:spPr bwMode="auto">
          <a:xfrm>
            <a:off x="5567575" y="39014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E038D1C-7373-40AB-AE2E-57B14C70E8E6}" type="datetime'''''''''''''''''''''''''''''''''''''''''13'''">
              <a:rPr lang="ja-JP" altLang="en-US" sz="1000" b="0" smtClean="0"/>
              <a:pPr/>
              <a:t>13</a:t>
            </a:fld>
            <a:endParaRPr kumimoji="0" lang="ja-JP" altLang="en-US" sz="800" b="0" dirty="0">
              <a:sym typeface="+mn-lt"/>
            </a:endParaRPr>
          </a:p>
        </p:txBody>
      </p:sp>
      <p:sp>
        <p:nvSpPr>
          <p:cNvPr id="36" name="Text Placeholder 12">
            <a:extLst>
              <a:ext uri="{FF2B5EF4-FFF2-40B4-BE49-F238E27FC236}">
                <a16:creationId xmlns:a16="http://schemas.microsoft.com/office/drawing/2014/main" id="{D07FAD52-00C5-D9ED-FCC6-65E45E70CDA1}"/>
              </a:ext>
            </a:extLst>
          </p:cNvPr>
          <p:cNvSpPr>
            <a:spLocks noGrp="1"/>
          </p:cNvSpPr>
          <p:nvPr>
            <p:custDataLst>
              <p:tags r:id="rId118"/>
            </p:custDataLst>
          </p:nvPr>
        </p:nvSpPr>
        <p:spPr bwMode="auto">
          <a:xfrm>
            <a:off x="2261897" y="38942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20588F9-E437-46B3-98D7-06D7C58248FD}" type="datetime'''''''''0''''''''''''''''''''''''''''''3'''''''''''''''''">
              <a:rPr lang="ja-JP" altLang="en-US" sz="1000" b="0" smtClean="0"/>
              <a:pPr/>
              <a:t>03</a:t>
            </a:fld>
            <a:endParaRPr kumimoji="0" lang="ja-JP" altLang="en-US" sz="800" b="0" dirty="0">
              <a:sym typeface="+mn-lt"/>
            </a:endParaRPr>
          </a:p>
        </p:txBody>
      </p:sp>
      <p:sp>
        <p:nvSpPr>
          <p:cNvPr id="37" name="テキスト プレースホルダ 9">
            <a:extLst>
              <a:ext uri="{FF2B5EF4-FFF2-40B4-BE49-F238E27FC236}">
                <a16:creationId xmlns:a16="http://schemas.microsoft.com/office/drawing/2014/main" id="{6864F5DC-3151-5928-B447-3F98AFB4F443}"/>
              </a:ext>
            </a:extLst>
          </p:cNvPr>
          <p:cNvSpPr>
            <a:spLocks noGrp="1"/>
          </p:cNvSpPr>
          <p:nvPr>
            <p:custDataLst>
              <p:tags r:id="rId119"/>
            </p:custDataLst>
          </p:nvPr>
        </p:nvSpPr>
        <p:spPr bwMode="gray">
          <a:xfrm>
            <a:off x="2198397" y="338850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3</a:t>
            </a:r>
            <a:endParaRPr lang="ja-JP" altLang="en-US" sz="800" dirty="0">
              <a:sym typeface="+mn-lt"/>
            </a:endParaRPr>
          </a:p>
        </p:txBody>
      </p:sp>
      <p:sp>
        <p:nvSpPr>
          <p:cNvPr id="38" name="テキスト プレースホルダ 9">
            <a:extLst>
              <a:ext uri="{FF2B5EF4-FFF2-40B4-BE49-F238E27FC236}">
                <a16:creationId xmlns:a16="http://schemas.microsoft.com/office/drawing/2014/main" id="{05131A12-7A31-6D9B-58C4-B810AC3C89C1}"/>
              </a:ext>
            </a:extLst>
          </p:cNvPr>
          <p:cNvSpPr>
            <a:spLocks noGrp="1"/>
          </p:cNvSpPr>
          <p:nvPr>
            <p:custDataLst>
              <p:tags r:id="rId120"/>
            </p:custDataLst>
          </p:nvPr>
        </p:nvSpPr>
        <p:spPr bwMode="gray">
          <a:xfrm>
            <a:off x="2249775" y="3679014"/>
            <a:ext cx="17462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8</a:t>
            </a:r>
            <a:endParaRPr lang="ja-JP" altLang="en-US" sz="800" dirty="0">
              <a:sym typeface="+mn-lt"/>
            </a:endParaRPr>
          </a:p>
        </p:txBody>
      </p:sp>
      <p:sp>
        <p:nvSpPr>
          <p:cNvPr id="39" name="テキスト プレースホルダ 9">
            <a:extLst>
              <a:ext uri="{FF2B5EF4-FFF2-40B4-BE49-F238E27FC236}">
                <a16:creationId xmlns:a16="http://schemas.microsoft.com/office/drawing/2014/main" id="{AC503CDF-A429-4FCC-79BA-45BD4DC84549}"/>
              </a:ext>
            </a:extLst>
          </p:cNvPr>
          <p:cNvSpPr>
            <a:spLocks noGrp="1"/>
          </p:cNvSpPr>
          <p:nvPr>
            <p:custDataLst>
              <p:tags r:id="rId121"/>
            </p:custDataLst>
          </p:nvPr>
        </p:nvSpPr>
        <p:spPr bwMode="gray">
          <a:xfrm>
            <a:off x="3193471" y="365366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1</a:t>
            </a:r>
            <a:endParaRPr lang="ja-JP" altLang="en-US" sz="800" dirty="0">
              <a:sym typeface="+mn-lt"/>
            </a:endParaRPr>
          </a:p>
        </p:txBody>
      </p:sp>
      <p:sp>
        <p:nvSpPr>
          <p:cNvPr id="40" name="テキスト プレースホルダ 9">
            <a:extLst>
              <a:ext uri="{FF2B5EF4-FFF2-40B4-BE49-F238E27FC236}">
                <a16:creationId xmlns:a16="http://schemas.microsoft.com/office/drawing/2014/main" id="{393BF11C-4596-F707-5904-11BFA6240862}"/>
              </a:ext>
            </a:extLst>
          </p:cNvPr>
          <p:cNvSpPr>
            <a:spLocks noGrp="1"/>
          </p:cNvSpPr>
          <p:nvPr>
            <p:custDataLst>
              <p:tags r:id="rId122"/>
            </p:custDataLst>
          </p:nvPr>
        </p:nvSpPr>
        <p:spPr bwMode="gray">
          <a:xfrm>
            <a:off x="2552483" y="337161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7</a:t>
            </a:r>
            <a:endParaRPr lang="ja-JP" altLang="en-US" sz="800" dirty="0">
              <a:sym typeface="+mn-lt"/>
            </a:endParaRPr>
          </a:p>
        </p:txBody>
      </p:sp>
      <p:sp>
        <p:nvSpPr>
          <p:cNvPr id="41" name="テキスト プレースホルダ 9">
            <a:extLst>
              <a:ext uri="{FF2B5EF4-FFF2-40B4-BE49-F238E27FC236}">
                <a16:creationId xmlns:a16="http://schemas.microsoft.com/office/drawing/2014/main" id="{794C270D-52D5-033E-33D7-3E0590554CDC}"/>
              </a:ext>
            </a:extLst>
          </p:cNvPr>
          <p:cNvSpPr>
            <a:spLocks noGrp="1"/>
          </p:cNvSpPr>
          <p:nvPr>
            <p:custDataLst>
              <p:tags r:id="rId123"/>
            </p:custDataLst>
          </p:nvPr>
        </p:nvSpPr>
        <p:spPr bwMode="gray">
          <a:xfrm>
            <a:off x="6510441" y="2803509"/>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77</a:t>
            </a:r>
            <a:endParaRPr lang="ja-JP" altLang="en-US" sz="800" dirty="0">
              <a:sym typeface="+mn-lt"/>
            </a:endParaRPr>
          </a:p>
        </p:txBody>
      </p:sp>
      <p:sp>
        <p:nvSpPr>
          <p:cNvPr id="42" name="テキスト プレースホルダ 9">
            <a:extLst>
              <a:ext uri="{FF2B5EF4-FFF2-40B4-BE49-F238E27FC236}">
                <a16:creationId xmlns:a16="http://schemas.microsoft.com/office/drawing/2014/main" id="{CFC271E9-E341-CD07-BC77-FC32F8307E03}"/>
              </a:ext>
            </a:extLst>
          </p:cNvPr>
          <p:cNvSpPr>
            <a:spLocks noGrp="1"/>
          </p:cNvSpPr>
          <p:nvPr>
            <p:custDataLst>
              <p:tags r:id="rId124"/>
            </p:custDataLst>
          </p:nvPr>
        </p:nvSpPr>
        <p:spPr bwMode="gray">
          <a:xfrm>
            <a:off x="7166411" y="3039537"/>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20</a:t>
            </a:r>
            <a:endParaRPr lang="ja-JP" altLang="en-US" sz="800" dirty="0">
              <a:sym typeface="+mn-lt"/>
            </a:endParaRPr>
          </a:p>
        </p:txBody>
      </p:sp>
      <p:sp>
        <p:nvSpPr>
          <p:cNvPr id="43" name="テキスト プレースホルダ 9">
            <a:extLst>
              <a:ext uri="{FF2B5EF4-FFF2-40B4-BE49-F238E27FC236}">
                <a16:creationId xmlns:a16="http://schemas.microsoft.com/office/drawing/2014/main" id="{F795C235-B106-F4C2-0732-A7BDB47D1B61}"/>
              </a:ext>
            </a:extLst>
          </p:cNvPr>
          <p:cNvSpPr>
            <a:spLocks noGrp="1"/>
          </p:cNvSpPr>
          <p:nvPr>
            <p:custDataLst>
              <p:tags r:id="rId125"/>
            </p:custDataLst>
          </p:nvPr>
        </p:nvSpPr>
        <p:spPr bwMode="gray">
          <a:xfrm>
            <a:off x="4202400" y="322816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7</a:t>
            </a:r>
            <a:endParaRPr lang="ja-JP" altLang="en-US" sz="800" dirty="0">
              <a:sym typeface="+mn-lt"/>
            </a:endParaRPr>
          </a:p>
        </p:txBody>
      </p:sp>
      <p:sp>
        <p:nvSpPr>
          <p:cNvPr id="44" name="テキスト プレースホルダ 9">
            <a:extLst>
              <a:ext uri="{FF2B5EF4-FFF2-40B4-BE49-F238E27FC236}">
                <a16:creationId xmlns:a16="http://schemas.microsoft.com/office/drawing/2014/main" id="{21CC2EF6-B430-5F6C-7EB5-4D1D4FBB0FC5}"/>
              </a:ext>
            </a:extLst>
          </p:cNvPr>
          <p:cNvSpPr>
            <a:spLocks noGrp="1"/>
          </p:cNvSpPr>
          <p:nvPr>
            <p:custDataLst>
              <p:tags r:id="rId126"/>
            </p:custDataLst>
          </p:nvPr>
        </p:nvSpPr>
        <p:spPr bwMode="gray">
          <a:xfrm>
            <a:off x="2580265" y="3675956"/>
            <a:ext cx="17462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9</a:t>
            </a:r>
            <a:endParaRPr lang="ja-JP" altLang="en-US" sz="800" dirty="0">
              <a:sym typeface="+mn-lt"/>
            </a:endParaRPr>
          </a:p>
        </p:txBody>
      </p:sp>
      <p:sp>
        <p:nvSpPr>
          <p:cNvPr id="45" name="テキスト プレースホルダ 9">
            <a:extLst>
              <a:ext uri="{FF2B5EF4-FFF2-40B4-BE49-F238E27FC236}">
                <a16:creationId xmlns:a16="http://schemas.microsoft.com/office/drawing/2014/main" id="{DBAED6BA-CEAE-5341-4A9B-45AEBDF4E0C8}"/>
              </a:ext>
            </a:extLst>
          </p:cNvPr>
          <p:cNvSpPr>
            <a:spLocks noGrp="1"/>
          </p:cNvSpPr>
          <p:nvPr>
            <p:custDataLst>
              <p:tags r:id="rId127"/>
            </p:custDataLst>
          </p:nvPr>
        </p:nvSpPr>
        <p:spPr bwMode="gray">
          <a:xfrm>
            <a:off x="7136389" y="352343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5</a:t>
            </a:r>
            <a:endParaRPr lang="ja-JP" altLang="en-US" sz="800" dirty="0">
              <a:sym typeface="+mn-lt"/>
            </a:endParaRPr>
          </a:p>
        </p:txBody>
      </p:sp>
      <p:sp>
        <p:nvSpPr>
          <p:cNvPr id="46" name="Text Placeholder 12">
            <a:extLst>
              <a:ext uri="{FF2B5EF4-FFF2-40B4-BE49-F238E27FC236}">
                <a16:creationId xmlns:a16="http://schemas.microsoft.com/office/drawing/2014/main" id="{056C5C71-A441-DCBC-7C4B-2E95FEA3FF6B}"/>
              </a:ext>
            </a:extLst>
          </p:cNvPr>
          <p:cNvSpPr>
            <a:spLocks noGrp="1"/>
          </p:cNvSpPr>
          <p:nvPr>
            <p:custDataLst>
              <p:tags r:id="rId128"/>
            </p:custDataLst>
          </p:nvPr>
        </p:nvSpPr>
        <p:spPr bwMode="auto">
          <a:xfrm>
            <a:off x="2591377" y="38942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254132-8B6F-4437-B061-DB09C340671F}" type="datetime'''''''''0''''4'''''''''''''''''''''''''''''''''''''">
              <a:rPr lang="ja-JP" altLang="en-US" sz="1000" b="0" smtClean="0"/>
              <a:pPr/>
              <a:t>04</a:t>
            </a:fld>
            <a:endParaRPr kumimoji="0" lang="ja-JP" altLang="en-US" sz="800" b="0" dirty="0">
              <a:sym typeface="+mn-lt"/>
            </a:endParaRPr>
          </a:p>
        </p:txBody>
      </p:sp>
      <p:sp>
        <p:nvSpPr>
          <p:cNvPr id="47" name="テキスト プレースホルダ 9">
            <a:extLst>
              <a:ext uri="{FF2B5EF4-FFF2-40B4-BE49-F238E27FC236}">
                <a16:creationId xmlns:a16="http://schemas.microsoft.com/office/drawing/2014/main" id="{B3836294-CD4E-F2AC-679A-59121B9DF9F4}"/>
              </a:ext>
            </a:extLst>
          </p:cNvPr>
          <p:cNvSpPr>
            <a:spLocks noGrp="1"/>
          </p:cNvSpPr>
          <p:nvPr>
            <p:custDataLst>
              <p:tags r:id="rId129"/>
            </p:custDataLst>
          </p:nvPr>
        </p:nvSpPr>
        <p:spPr bwMode="gray">
          <a:xfrm>
            <a:off x="3529588" y="3281053"/>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2</a:t>
            </a:r>
            <a:endParaRPr lang="ja-JP" altLang="en-US" sz="800" dirty="0">
              <a:sym typeface="+mn-lt"/>
            </a:endParaRPr>
          </a:p>
        </p:txBody>
      </p:sp>
      <p:sp>
        <p:nvSpPr>
          <p:cNvPr id="48" name="テキスト プレースホルダ 9">
            <a:extLst>
              <a:ext uri="{FF2B5EF4-FFF2-40B4-BE49-F238E27FC236}">
                <a16:creationId xmlns:a16="http://schemas.microsoft.com/office/drawing/2014/main" id="{B10925CF-6801-FF5C-5CCA-A7EF966A9F16}"/>
              </a:ext>
            </a:extLst>
          </p:cNvPr>
          <p:cNvSpPr>
            <a:spLocks noGrp="1"/>
          </p:cNvSpPr>
          <p:nvPr>
            <p:custDataLst>
              <p:tags r:id="rId130"/>
            </p:custDataLst>
          </p:nvPr>
        </p:nvSpPr>
        <p:spPr bwMode="gray">
          <a:xfrm>
            <a:off x="2880301" y="335833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88</a:t>
            </a:r>
            <a:endParaRPr lang="ja-JP" altLang="en-US" sz="800" dirty="0">
              <a:sym typeface="+mn-lt"/>
            </a:endParaRPr>
          </a:p>
        </p:txBody>
      </p:sp>
      <p:sp>
        <p:nvSpPr>
          <p:cNvPr id="49" name="テキスト プレースホルダ 9">
            <a:extLst>
              <a:ext uri="{FF2B5EF4-FFF2-40B4-BE49-F238E27FC236}">
                <a16:creationId xmlns:a16="http://schemas.microsoft.com/office/drawing/2014/main" id="{68395EDE-1402-81AB-094D-99D8BE01153A}"/>
              </a:ext>
            </a:extLst>
          </p:cNvPr>
          <p:cNvSpPr>
            <a:spLocks noGrp="1"/>
          </p:cNvSpPr>
          <p:nvPr>
            <p:custDataLst>
              <p:tags r:id="rId131"/>
            </p:custDataLst>
          </p:nvPr>
        </p:nvSpPr>
        <p:spPr bwMode="gray">
          <a:xfrm>
            <a:off x="5521539" y="356884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40</a:t>
            </a:r>
            <a:endParaRPr lang="ja-JP" altLang="en-US" sz="800" dirty="0">
              <a:sym typeface="+mn-lt"/>
            </a:endParaRPr>
          </a:p>
        </p:txBody>
      </p:sp>
      <p:sp>
        <p:nvSpPr>
          <p:cNvPr id="50" name="Text Placeholder 12">
            <a:extLst>
              <a:ext uri="{FF2B5EF4-FFF2-40B4-BE49-F238E27FC236}">
                <a16:creationId xmlns:a16="http://schemas.microsoft.com/office/drawing/2014/main" id="{85C6251F-38D3-D0E0-0D29-6F1971B08377}"/>
              </a:ext>
            </a:extLst>
          </p:cNvPr>
          <p:cNvSpPr>
            <a:spLocks noGrp="1"/>
          </p:cNvSpPr>
          <p:nvPr>
            <p:custDataLst>
              <p:tags r:id="rId132"/>
            </p:custDataLst>
          </p:nvPr>
        </p:nvSpPr>
        <p:spPr bwMode="auto">
          <a:xfrm>
            <a:off x="3574595" y="389429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97A15AF-C516-4358-9D2B-4F005743B2E1}" type="datetime'''''''''''''''''0''''''7'''''">
              <a:rPr lang="ja-JP" altLang="en-US" sz="1000" b="0" smtClean="0"/>
              <a:pPr/>
              <a:t>07</a:t>
            </a:fld>
            <a:endParaRPr kumimoji="0" lang="ja-JP" altLang="en-US" sz="800" b="0" dirty="0">
              <a:sym typeface="+mn-lt"/>
            </a:endParaRPr>
          </a:p>
        </p:txBody>
      </p:sp>
      <p:sp>
        <p:nvSpPr>
          <p:cNvPr id="51" name="テキスト プレースホルダ 9">
            <a:extLst>
              <a:ext uri="{FF2B5EF4-FFF2-40B4-BE49-F238E27FC236}">
                <a16:creationId xmlns:a16="http://schemas.microsoft.com/office/drawing/2014/main" id="{925BC16C-A85D-0F06-9F86-7A577E246B1C}"/>
              </a:ext>
            </a:extLst>
          </p:cNvPr>
          <p:cNvSpPr>
            <a:spLocks noGrp="1"/>
          </p:cNvSpPr>
          <p:nvPr>
            <p:custDataLst>
              <p:tags r:id="rId133"/>
            </p:custDataLst>
          </p:nvPr>
        </p:nvSpPr>
        <p:spPr bwMode="gray">
          <a:xfrm>
            <a:off x="2901948" y="3688538"/>
            <a:ext cx="17462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3</a:t>
            </a:r>
            <a:endParaRPr lang="ja-JP" altLang="en-US" sz="800" dirty="0">
              <a:sym typeface="+mn-lt"/>
            </a:endParaRPr>
          </a:p>
        </p:txBody>
      </p:sp>
      <p:sp>
        <p:nvSpPr>
          <p:cNvPr id="52" name="Text Placeholder 12">
            <a:extLst>
              <a:ext uri="{FF2B5EF4-FFF2-40B4-BE49-F238E27FC236}">
                <a16:creationId xmlns:a16="http://schemas.microsoft.com/office/drawing/2014/main" id="{9106B81D-3310-0552-0CEB-FF1E327C0AC2}"/>
              </a:ext>
            </a:extLst>
          </p:cNvPr>
          <p:cNvSpPr>
            <a:spLocks noGrp="1"/>
          </p:cNvSpPr>
          <p:nvPr>
            <p:custDataLst>
              <p:tags r:id="rId134"/>
            </p:custDataLst>
          </p:nvPr>
        </p:nvSpPr>
        <p:spPr bwMode="auto">
          <a:xfrm>
            <a:off x="4251354" y="390194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A69D414-513F-4E71-A567-A02E55A62EED}" type="datetime'''''''''''''''''''''''0''''''''''''''''''''''9'''''''''''''">
              <a:rPr lang="ja-JP" altLang="en-US" sz="1000" b="0" smtClean="0"/>
              <a:pPr/>
              <a:t>09</a:t>
            </a:fld>
            <a:endParaRPr kumimoji="0" lang="ja-JP" altLang="en-US" sz="800" b="0" dirty="0">
              <a:sym typeface="+mn-lt"/>
            </a:endParaRPr>
          </a:p>
        </p:txBody>
      </p:sp>
      <p:sp>
        <p:nvSpPr>
          <p:cNvPr id="53" name="Text Placeholder 12">
            <a:extLst>
              <a:ext uri="{FF2B5EF4-FFF2-40B4-BE49-F238E27FC236}">
                <a16:creationId xmlns:a16="http://schemas.microsoft.com/office/drawing/2014/main" id="{45AA4A6E-CA9C-3937-B249-46D1E3DA941D}"/>
              </a:ext>
            </a:extLst>
          </p:cNvPr>
          <p:cNvSpPr>
            <a:spLocks noGrp="1"/>
          </p:cNvSpPr>
          <p:nvPr>
            <p:custDataLst>
              <p:tags r:id="rId135"/>
            </p:custDataLst>
          </p:nvPr>
        </p:nvSpPr>
        <p:spPr bwMode="auto">
          <a:xfrm>
            <a:off x="2919403" y="390181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7000DC-8F71-4255-A50C-16AE08DEF6B4}" type="datetime'''''''''''''''''''''0''''5'">
              <a:rPr lang="ja-JP" altLang="en-US" sz="1000" b="0" smtClean="0"/>
              <a:pPr/>
              <a:t>05</a:t>
            </a:fld>
            <a:endParaRPr kumimoji="0" lang="ja-JP" altLang="en-US" sz="800" b="0" dirty="0">
              <a:sym typeface="+mn-lt"/>
            </a:endParaRPr>
          </a:p>
        </p:txBody>
      </p:sp>
      <p:sp>
        <p:nvSpPr>
          <p:cNvPr id="54" name="テキスト プレースホルダ 9">
            <a:extLst>
              <a:ext uri="{FF2B5EF4-FFF2-40B4-BE49-F238E27FC236}">
                <a16:creationId xmlns:a16="http://schemas.microsoft.com/office/drawing/2014/main" id="{34E319BC-FCFF-A32C-397A-3DD423294D6E}"/>
              </a:ext>
            </a:extLst>
          </p:cNvPr>
          <p:cNvSpPr>
            <a:spLocks noGrp="1"/>
          </p:cNvSpPr>
          <p:nvPr>
            <p:custDataLst>
              <p:tags r:id="rId136"/>
            </p:custDataLst>
          </p:nvPr>
        </p:nvSpPr>
        <p:spPr bwMode="gray">
          <a:xfrm>
            <a:off x="3193471" y="332341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0</a:t>
            </a:r>
            <a:endParaRPr lang="ja-JP" altLang="en-US" sz="800" dirty="0">
              <a:sym typeface="+mn-lt"/>
            </a:endParaRPr>
          </a:p>
        </p:txBody>
      </p:sp>
      <p:sp>
        <p:nvSpPr>
          <p:cNvPr id="55" name="Text Placeholder 12">
            <a:extLst>
              <a:ext uri="{FF2B5EF4-FFF2-40B4-BE49-F238E27FC236}">
                <a16:creationId xmlns:a16="http://schemas.microsoft.com/office/drawing/2014/main" id="{ACDB32B2-13DF-2003-A5C6-60F1DB279B42}"/>
              </a:ext>
            </a:extLst>
          </p:cNvPr>
          <p:cNvSpPr>
            <a:spLocks noGrp="1"/>
          </p:cNvSpPr>
          <p:nvPr>
            <p:custDataLst>
              <p:tags r:id="rId137"/>
            </p:custDataLst>
          </p:nvPr>
        </p:nvSpPr>
        <p:spPr bwMode="auto">
          <a:xfrm>
            <a:off x="3223712" y="39014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695D836-E5FA-413D-AEB0-8BC1487E8D01}" type="datetime'0''''''''''6'''''''''''''''''''''''''''''''''''''''''''''''''">
              <a:rPr lang="ja-JP" altLang="en-US" sz="1000" b="0" smtClean="0"/>
              <a:pPr/>
              <a:t>06</a:t>
            </a:fld>
            <a:endParaRPr kumimoji="0" lang="ja-JP" altLang="en-US" sz="800" b="0" dirty="0">
              <a:sym typeface="+mn-lt"/>
            </a:endParaRPr>
          </a:p>
        </p:txBody>
      </p:sp>
      <p:sp>
        <p:nvSpPr>
          <p:cNvPr id="56" name="テキスト プレースホルダ 9">
            <a:extLst>
              <a:ext uri="{FF2B5EF4-FFF2-40B4-BE49-F238E27FC236}">
                <a16:creationId xmlns:a16="http://schemas.microsoft.com/office/drawing/2014/main" id="{B6D0A02B-8E43-E9FC-75A7-0F5C27470170}"/>
              </a:ext>
            </a:extLst>
          </p:cNvPr>
          <p:cNvSpPr>
            <a:spLocks noGrp="1"/>
          </p:cNvSpPr>
          <p:nvPr>
            <p:custDataLst>
              <p:tags r:id="rId138"/>
            </p:custDataLst>
          </p:nvPr>
        </p:nvSpPr>
        <p:spPr bwMode="gray">
          <a:xfrm>
            <a:off x="3522662" y="365366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98</a:t>
            </a:r>
            <a:endParaRPr lang="ja-JP" altLang="en-US" sz="800" dirty="0">
              <a:sym typeface="+mn-lt"/>
            </a:endParaRPr>
          </a:p>
        </p:txBody>
      </p:sp>
      <p:sp>
        <p:nvSpPr>
          <p:cNvPr id="57" name="テキスト プレースホルダ 9">
            <a:extLst>
              <a:ext uri="{FF2B5EF4-FFF2-40B4-BE49-F238E27FC236}">
                <a16:creationId xmlns:a16="http://schemas.microsoft.com/office/drawing/2014/main" id="{4754E135-508C-08BA-0689-A90534DC199B}"/>
              </a:ext>
            </a:extLst>
          </p:cNvPr>
          <p:cNvSpPr>
            <a:spLocks noGrp="1"/>
          </p:cNvSpPr>
          <p:nvPr>
            <p:custDataLst>
              <p:tags r:id="rId139"/>
            </p:custDataLst>
          </p:nvPr>
        </p:nvSpPr>
        <p:spPr bwMode="gray">
          <a:xfrm>
            <a:off x="4178876" y="361234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5</a:t>
            </a:r>
            <a:endParaRPr lang="ja-JP" altLang="en-US" sz="800" dirty="0">
              <a:sym typeface="+mn-lt"/>
            </a:endParaRPr>
          </a:p>
        </p:txBody>
      </p:sp>
      <p:sp>
        <p:nvSpPr>
          <p:cNvPr id="58" name="テキスト プレースホルダ 9">
            <a:extLst>
              <a:ext uri="{FF2B5EF4-FFF2-40B4-BE49-F238E27FC236}">
                <a16:creationId xmlns:a16="http://schemas.microsoft.com/office/drawing/2014/main" id="{A66249C2-DCB1-DF8F-1682-FA0D0C255B51}"/>
              </a:ext>
            </a:extLst>
          </p:cNvPr>
          <p:cNvSpPr>
            <a:spLocks noGrp="1"/>
          </p:cNvSpPr>
          <p:nvPr>
            <p:custDataLst>
              <p:tags r:id="rId140"/>
            </p:custDataLst>
          </p:nvPr>
        </p:nvSpPr>
        <p:spPr bwMode="gray">
          <a:xfrm>
            <a:off x="5197184" y="312815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0</a:t>
            </a:r>
            <a:endParaRPr lang="ja-JP" altLang="en-US" sz="800" dirty="0">
              <a:sym typeface="+mn-lt"/>
            </a:endParaRPr>
          </a:p>
        </p:txBody>
      </p:sp>
      <p:sp>
        <p:nvSpPr>
          <p:cNvPr id="59" name="テキスト プレースホルダ 9">
            <a:extLst>
              <a:ext uri="{FF2B5EF4-FFF2-40B4-BE49-F238E27FC236}">
                <a16:creationId xmlns:a16="http://schemas.microsoft.com/office/drawing/2014/main" id="{A1EE34AF-1778-FD42-CBDE-4B8077B41DE8}"/>
              </a:ext>
            </a:extLst>
          </p:cNvPr>
          <p:cNvSpPr>
            <a:spLocks noGrp="1"/>
          </p:cNvSpPr>
          <p:nvPr>
            <p:custDataLst>
              <p:tags r:id="rId141"/>
            </p:custDataLst>
          </p:nvPr>
        </p:nvSpPr>
        <p:spPr bwMode="gray">
          <a:xfrm>
            <a:off x="4517518" y="3596175"/>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25</a:t>
            </a:r>
            <a:endParaRPr lang="ja-JP" altLang="en-US" sz="800" dirty="0">
              <a:sym typeface="+mn-lt"/>
            </a:endParaRPr>
          </a:p>
        </p:txBody>
      </p:sp>
      <p:sp>
        <p:nvSpPr>
          <p:cNvPr id="60" name="Text Placeholder 12">
            <a:extLst>
              <a:ext uri="{FF2B5EF4-FFF2-40B4-BE49-F238E27FC236}">
                <a16:creationId xmlns:a16="http://schemas.microsoft.com/office/drawing/2014/main" id="{91D43662-2F3F-0C9B-B186-99768CC45038}"/>
              </a:ext>
            </a:extLst>
          </p:cNvPr>
          <p:cNvSpPr>
            <a:spLocks noGrp="1"/>
          </p:cNvSpPr>
          <p:nvPr>
            <p:custDataLst>
              <p:tags r:id="rId142"/>
            </p:custDataLst>
          </p:nvPr>
        </p:nvSpPr>
        <p:spPr bwMode="auto">
          <a:xfrm>
            <a:off x="4582818" y="3901441"/>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D352BDF-BC7E-4777-8751-7941456BE0DE}" type="datetime'''''1''''''''''''''0'''''''''''''''''''">
              <a:rPr lang="ja-JP" altLang="en-US" sz="1000" b="0" smtClean="0"/>
              <a:pPr/>
              <a:t>10</a:t>
            </a:fld>
            <a:endParaRPr kumimoji="0" lang="ja-JP" altLang="en-US" sz="800" b="0" dirty="0">
              <a:sym typeface="+mn-lt"/>
            </a:endParaRPr>
          </a:p>
        </p:txBody>
      </p:sp>
      <p:sp>
        <p:nvSpPr>
          <p:cNvPr id="61" name="テキスト プレースホルダ 9">
            <a:extLst>
              <a:ext uri="{FF2B5EF4-FFF2-40B4-BE49-F238E27FC236}">
                <a16:creationId xmlns:a16="http://schemas.microsoft.com/office/drawing/2014/main" id="{CD3E3541-5F1E-8A84-8355-6E2C64134E84}"/>
              </a:ext>
            </a:extLst>
          </p:cNvPr>
          <p:cNvSpPr>
            <a:spLocks noGrp="1"/>
          </p:cNvSpPr>
          <p:nvPr>
            <p:custDataLst>
              <p:tags r:id="rId143"/>
            </p:custDataLst>
          </p:nvPr>
        </p:nvSpPr>
        <p:spPr bwMode="gray">
          <a:xfrm>
            <a:off x="6515676" y="3505976"/>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0</a:t>
            </a:r>
            <a:endParaRPr lang="ja-JP" altLang="en-US" sz="800" dirty="0">
              <a:sym typeface="+mn-lt"/>
            </a:endParaRPr>
          </a:p>
        </p:txBody>
      </p:sp>
      <p:sp>
        <p:nvSpPr>
          <p:cNvPr id="62" name="テキスト プレースホルダ 9">
            <a:extLst>
              <a:ext uri="{FF2B5EF4-FFF2-40B4-BE49-F238E27FC236}">
                <a16:creationId xmlns:a16="http://schemas.microsoft.com/office/drawing/2014/main" id="{B778315C-6B8D-59F4-18B0-8CF74C8EB71A}"/>
              </a:ext>
            </a:extLst>
          </p:cNvPr>
          <p:cNvSpPr>
            <a:spLocks noGrp="1"/>
          </p:cNvSpPr>
          <p:nvPr>
            <p:custDataLst>
              <p:tags r:id="rId144"/>
            </p:custDataLst>
          </p:nvPr>
        </p:nvSpPr>
        <p:spPr bwMode="gray">
          <a:xfrm>
            <a:off x="4847213" y="3151170"/>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5</a:t>
            </a:r>
            <a:endParaRPr lang="ja-JP" altLang="en-US" sz="800" dirty="0">
              <a:sym typeface="+mn-lt"/>
            </a:endParaRPr>
          </a:p>
        </p:txBody>
      </p:sp>
      <p:sp>
        <p:nvSpPr>
          <p:cNvPr id="63" name="テキスト プレースホルダ 9">
            <a:extLst>
              <a:ext uri="{FF2B5EF4-FFF2-40B4-BE49-F238E27FC236}">
                <a16:creationId xmlns:a16="http://schemas.microsoft.com/office/drawing/2014/main" id="{7E42DF1C-99F9-5DC8-7D14-C8EFA9083332}"/>
              </a:ext>
            </a:extLst>
          </p:cNvPr>
          <p:cNvSpPr>
            <a:spLocks noGrp="1"/>
          </p:cNvSpPr>
          <p:nvPr>
            <p:custDataLst>
              <p:tags r:id="rId145"/>
            </p:custDataLst>
          </p:nvPr>
        </p:nvSpPr>
        <p:spPr bwMode="gray">
          <a:xfrm>
            <a:off x="5189824" y="3564715"/>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36</a:t>
            </a:r>
            <a:endParaRPr lang="ja-JP" altLang="en-US" sz="800" dirty="0">
              <a:sym typeface="+mn-lt"/>
            </a:endParaRPr>
          </a:p>
        </p:txBody>
      </p:sp>
      <p:sp>
        <p:nvSpPr>
          <p:cNvPr id="451" name="テキスト プレースホルダ 9">
            <a:extLst>
              <a:ext uri="{FF2B5EF4-FFF2-40B4-BE49-F238E27FC236}">
                <a16:creationId xmlns:a16="http://schemas.microsoft.com/office/drawing/2014/main" id="{E53A0A22-0D12-6F92-C844-561BAAB13DEE}"/>
              </a:ext>
            </a:extLst>
          </p:cNvPr>
          <p:cNvSpPr>
            <a:spLocks noGrp="1"/>
          </p:cNvSpPr>
          <p:nvPr>
            <p:custDataLst>
              <p:tags r:id="rId146"/>
            </p:custDataLst>
          </p:nvPr>
        </p:nvSpPr>
        <p:spPr bwMode="gray">
          <a:xfrm>
            <a:off x="4850677" y="360281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32</a:t>
            </a:r>
            <a:endParaRPr lang="ja-JP" altLang="en-US" sz="800" dirty="0">
              <a:sym typeface="+mn-lt"/>
            </a:endParaRPr>
          </a:p>
        </p:txBody>
      </p:sp>
      <p:sp>
        <p:nvSpPr>
          <p:cNvPr id="452" name="テキスト プレースホルダ 9">
            <a:extLst>
              <a:ext uri="{FF2B5EF4-FFF2-40B4-BE49-F238E27FC236}">
                <a16:creationId xmlns:a16="http://schemas.microsoft.com/office/drawing/2014/main" id="{AEA14B15-C9CB-EBC3-9D11-E5404EBC3743}"/>
              </a:ext>
            </a:extLst>
          </p:cNvPr>
          <p:cNvSpPr>
            <a:spLocks noGrp="1"/>
          </p:cNvSpPr>
          <p:nvPr>
            <p:custDataLst>
              <p:tags r:id="rId147"/>
            </p:custDataLst>
          </p:nvPr>
        </p:nvSpPr>
        <p:spPr bwMode="gray">
          <a:xfrm>
            <a:off x="7504541" y="300778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9</a:t>
            </a:r>
            <a:endParaRPr lang="ja-JP" altLang="en-US" sz="800" dirty="0">
              <a:sym typeface="+mn-lt"/>
            </a:endParaRPr>
          </a:p>
        </p:txBody>
      </p:sp>
      <p:sp>
        <p:nvSpPr>
          <p:cNvPr id="453" name="Text Placeholder 12">
            <a:extLst>
              <a:ext uri="{FF2B5EF4-FFF2-40B4-BE49-F238E27FC236}">
                <a16:creationId xmlns:a16="http://schemas.microsoft.com/office/drawing/2014/main" id="{C168694B-EADB-F2DF-16DF-83BB6F779FA9}"/>
              </a:ext>
            </a:extLst>
          </p:cNvPr>
          <p:cNvSpPr>
            <a:spLocks noGrp="1"/>
          </p:cNvSpPr>
          <p:nvPr>
            <p:custDataLst>
              <p:tags r:id="rId148"/>
            </p:custDataLst>
          </p:nvPr>
        </p:nvSpPr>
        <p:spPr bwMode="auto">
          <a:xfrm>
            <a:off x="4914282" y="390761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64FEC9D-CACB-4EE3-B827-F56E6D074296}" type="datetime'''1''''''''''''''''''''''''''''''''1'''''''''">
              <a:rPr lang="ja-JP" altLang="en-US" sz="1000" b="0" smtClean="0"/>
              <a:pPr/>
              <a:t>11</a:t>
            </a:fld>
            <a:endParaRPr kumimoji="0" lang="ja-JP" altLang="en-US" sz="800" b="0" dirty="0">
              <a:sym typeface="+mn-lt"/>
            </a:endParaRPr>
          </a:p>
        </p:txBody>
      </p:sp>
      <p:sp>
        <p:nvSpPr>
          <p:cNvPr id="454" name="Text Placeholder 12">
            <a:extLst>
              <a:ext uri="{FF2B5EF4-FFF2-40B4-BE49-F238E27FC236}">
                <a16:creationId xmlns:a16="http://schemas.microsoft.com/office/drawing/2014/main" id="{4A0362F8-B9DA-CF80-DDDD-B2544B2C57C7}"/>
              </a:ext>
            </a:extLst>
          </p:cNvPr>
          <p:cNvSpPr>
            <a:spLocks noGrp="1"/>
          </p:cNvSpPr>
          <p:nvPr>
            <p:custDataLst>
              <p:tags r:id="rId149"/>
            </p:custDataLst>
          </p:nvPr>
        </p:nvSpPr>
        <p:spPr bwMode="auto">
          <a:xfrm>
            <a:off x="5238010" y="390305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DA9584-0A7A-4ABD-8B20-ECD8CE1CB7E4}" type="datetime'''''''''''''''''''''''1''2'''">
              <a:rPr lang="ja-JP" altLang="en-US" sz="1000" b="0" smtClean="0"/>
              <a:pPr/>
              <a:t>12</a:t>
            </a:fld>
            <a:endParaRPr kumimoji="0" lang="ja-JP" altLang="en-US" sz="800" b="0" dirty="0">
              <a:sym typeface="+mn-lt"/>
            </a:endParaRPr>
          </a:p>
        </p:txBody>
      </p:sp>
      <p:sp>
        <p:nvSpPr>
          <p:cNvPr id="458" name="テキスト プレースホルダ 9">
            <a:extLst>
              <a:ext uri="{FF2B5EF4-FFF2-40B4-BE49-F238E27FC236}">
                <a16:creationId xmlns:a16="http://schemas.microsoft.com/office/drawing/2014/main" id="{1DC5313A-9CE3-4B38-B589-DB0CE868D2B5}"/>
              </a:ext>
            </a:extLst>
          </p:cNvPr>
          <p:cNvSpPr>
            <a:spLocks noGrp="1"/>
          </p:cNvSpPr>
          <p:nvPr>
            <p:custDataLst>
              <p:tags r:id="rId150"/>
            </p:custDataLst>
          </p:nvPr>
        </p:nvSpPr>
        <p:spPr bwMode="gray">
          <a:xfrm>
            <a:off x="6182301" y="3094016"/>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5</a:t>
            </a:r>
            <a:endParaRPr lang="ja-JP" altLang="en-US" sz="800" dirty="0">
              <a:sym typeface="+mn-lt"/>
            </a:endParaRPr>
          </a:p>
        </p:txBody>
      </p:sp>
      <p:sp>
        <p:nvSpPr>
          <p:cNvPr id="459" name="テキスト プレースホルダ 9">
            <a:extLst>
              <a:ext uri="{FF2B5EF4-FFF2-40B4-BE49-F238E27FC236}">
                <a16:creationId xmlns:a16="http://schemas.microsoft.com/office/drawing/2014/main" id="{BC470934-0A21-C7D1-6B99-F19269431287}"/>
              </a:ext>
            </a:extLst>
          </p:cNvPr>
          <p:cNvSpPr>
            <a:spLocks noGrp="1"/>
          </p:cNvSpPr>
          <p:nvPr>
            <p:custDataLst>
              <p:tags r:id="rId151"/>
            </p:custDataLst>
          </p:nvPr>
        </p:nvSpPr>
        <p:spPr bwMode="gray">
          <a:xfrm>
            <a:off x="5521539" y="310116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5</a:t>
            </a:r>
            <a:endParaRPr lang="ja-JP" altLang="en-US" sz="800" dirty="0">
              <a:sym typeface="+mn-lt"/>
            </a:endParaRPr>
          </a:p>
        </p:txBody>
      </p:sp>
      <p:sp>
        <p:nvSpPr>
          <p:cNvPr id="460" name="テキスト プレースホルダ 9">
            <a:extLst>
              <a:ext uri="{FF2B5EF4-FFF2-40B4-BE49-F238E27FC236}">
                <a16:creationId xmlns:a16="http://schemas.microsoft.com/office/drawing/2014/main" id="{21D28D3B-7FD6-80D0-F9E9-C41DD2F34087}"/>
              </a:ext>
            </a:extLst>
          </p:cNvPr>
          <p:cNvSpPr>
            <a:spLocks noGrp="1"/>
          </p:cNvSpPr>
          <p:nvPr>
            <p:custDataLst>
              <p:tags r:id="rId152"/>
            </p:custDataLst>
          </p:nvPr>
        </p:nvSpPr>
        <p:spPr bwMode="gray">
          <a:xfrm>
            <a:off x="6166930" y="350835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0</a:t>
            </a:r>
            <a:endParaRPr lang="ja-JP" altLang="en-US" sz="800" dirty="0">
              <a:sym typeface="+mn-lt"/>
            </a:endParaRPr>
          </a:p>
        </p:txBody>
      </p:sp>
      <p:sp>
        <p:nvSpPr>
          <p:cNvPr id="461" name="テキスト プレースホルダ 9">
            <a:extLst>
              <a:ext uri="{FF2B5EF4-FFF2-40B4-BE49-F238E27FC236}">
                <a16:creationId xmlns:a16="http://schemas.microsoft.com/office/drawing/2014/main" id="{62D62422-6068-0B03-1F70-040F6AED7D5F}"/>
              </a:ext>
            </a:extLst>
          </p:cNvPr>
          <p:cNvSpPr>
            <a:spLocks noGrp="1"/>
          </p:cNvSpPr>
          <p:nvPr>
            <p:custDataLst>
              <p:tags r:id="rId153"/>
            </p:custDataLst>
          </p:nvPr>
        </p:nvSpPr>
        <p:spPr bwMode="gray">
          <a:xfrm>
            <a:off x="5839258" y="309306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5</a:t>
            </a:r>
            <a:endParaRPr lang="ja-JP" altLang="en-US" sz="800" dirty="0">
              <a:sym typeface="+mn-lt"/>
            </a:endParaRPr>
          </a:p>
        </p:txBody>
      </p:sp>
      <p:sp>
        <p:nvSpPr>
          <p:cNvPr id="462" name="テキスト プレースホルダ 9">
            <a:extLst>
              <a:ext uri="{FF2B5EF4-FFF2-40B4-BE49-F238E27FC236}">
                <a16:creationId xmlns:a16="http://schemas.microsoft.com/office/drawing/2014/main" id="{B31C1401-DC11-672A-FA64-90011F5BAA8C}"/>
              </a:ext>
            </a:extLst>
          </p:cNvPr>
          <p:cNvSpPr>
            <a:spLocks noGrp="1"/>
          </p:cNvSpPr>
          <p:nvPr>
            <p:custDataLst>
              <p:tags r:id="rId154"/>
            </p:custDataLst>
          </p:nvPr>
        </p:nvSpPr>
        <p:spPr bwMode="gray">
          <a:xfrm>
            <a:off x="7520064" y="2776037"/>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91</a:t>
            </a:r>
            <a:endParaRPr lang="ja-JP" altLang="en-US" sz="800" dirty="0">
              <a:sym typeface="+mn-lt"/>
            </a:endParaRPr>
          </a:p>
        </p:txBody>
      </p:sp>
      <p:sp>
        <p:nvSpPr>
          <p:cNvPr id="463" name="Text Placeholder 12">
            <a:extLst>
              <a:ext uri="{FF2B5EF4-FFF2-40B4-BE49-F238E27FC236}">
                <a16:creationId xmlns:a16="http://schemas.microsoft.com/office/drawing/2014/main" id="{0595D280-4118-9173-AB3A-4DF029E506D5}"/>
              </a:ext>
            </a:extLst>
          </p:cNvPr>
          <p:cNvSpPr>
            <a:spLocks noGrp="1"/>
          </p:cNvSpPr>
          <p:nvPr>
            <p:custDataLst>
              <p:tags r:id="rId155"/>
            </p:custDataLst>
          </p:nvPr>
        </p:nvSpPr>
        <p:spPr bwMode="auto">
          <a:xfrm>
            <a:off x="5902684" y="390785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CE6794C-AE80-40AC-9383-3A4209B3A429}" type="datetime'''''''''''''''1''''''''''''''''''''''''''''''''''4'''''''''''">
              <a:rPr lang="ja-JP" altLang="en-US" sz="1000" b="0" smtClean="0"/>
              <a:pPr/>
              <a:t>14</a:t>
            </a:fld>
            <a:endParaRPr kumimoji="0" lang="ja-JP" altLang="en-US" sz="800" b="0" dirty="0">
              <a:sym typeface="+mn-lt"/>
            </a:endParaRPr>
          </a:p>
        </p:txBody>
      </p:sp>
      <p:sp>
        <p:nvSpPr>
          <p:cNvPr id="464" name="Text Placeholder 12">
            <a:extLst>
              <a:ext uri="{FF2B5EF4-FFF2-40B4-BE49-F238E27FC236}">
                <a16:creationId xmlns:a16="http://schemas.microsoft.com/office/drawing/2014/main" id="{E2A21C77-1DD2-4EEA-C1BB-1035D55AD446}"/>
              </a:ext>
            </a:extLst>
          </p:cNvPr>
          <p:cNvSpPr>
            <a:spLocks noGrp="1"/>
          </p:cNvSpPr>
          <p:nvPr>
            <p:custDataLst>
              <p:tags r:id="rId156"/>
            </p:custDataLst>
          </p:nvPr>
        </p:nvSpPr>
        <p:spPr bwMode="auto">
          <a:xfrm>
            <a:off x="6215059" y="3915279"/>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6AAD57-38F7-4B5C-B965-6A1EDD9E2256}" type="datetime'''''''''''''''''''''''''''''''''''''''''''''''''1''''''5'''''">
              <a:rPr lang="ja-JP" altLang="en-US" sz="1000" b="0" smtClean="0"/>
              <a:pPr/>
              <a:t>15</a:t>
            </a:fld>
            <a:endParaRPr kumimoji="0" lang="ja-JP" altLang="en-US" sz="800" b="0" dirty="0">
              <a:sym typeface="+mn-lt"/>
            </a:endParaRPr>
          </a:p>
        </p:txBody>
      </p:sp>
      <p:sp>
        <p:nvSpPr>
          <p:cNvPr id="465" name="テキスト プレースホルダ 9">
            <a:extLst>
              <a:ext uri="{FF2B5EF4-FFF2-40B4-BE49-F238E27FC236}">
                <a16:creationId xmlns:a16="http://schemas.microsoft.com/office/drawing/2014/main" id="{39E04494-AD1F-C0B9-0989-2BAA6FE506FE}"/>
              </a:ext>
            </a:extLst>
          </p:cNvPr>
          <p:cNvSpPr>
            <a:spLocks noGrp="1"/>
          </p:cNvSpPr>
          <p:nvPr>
            <p:custDataLst>
              <p:tags r:id="rId157"/>
            </p:custDataLst>
          </p:nvPr>
        </p:nvSpPr>
        <p:spPr bwMode="gray">
          <a:xfrm>
            <a:off x="6513078" y="306759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17</a:t>
            </a:r>
            <a:endParaRPr lang="ja-JP" altLang="en-US" sz="800" dirty="0">
              <a:sym typeface="+mn-lt"/>
            </a:endParaRPr>
          </a:p>
        </p:txBody>
      </p:sp>
      <p:sp>
        <p:nvSpPr>
          <p:cNvPr id="466" name="テキスト プレースホルダ 9">
            <a:extLst>
              <a:ext uri="{FF2B5EF4-FFF2-40B4-BE49-F238E27FC236}">
                <a16:creationId xmlns:a16="http://schemas.microsoft.com/office/drawing/2014/main" id="{EAD30770-B8E4-9F20-F90B-DB200B9988E5}"/>
              </a:ext>
            </a:extLst>
          </p:cNvPr>
          <p:cNvSpPr>
            <a:spLocks noGrp="1"/>
          </p:cNvSpPr>
          <p:nvPr>
            <p:custDataLst>
              <p:tags r:id="rId158"/>
            </p:custDataLst>
          </p:nvPr>
        </p:nvSpPr>
        <p:spPr bwMode="gray">
          <a:xfrm>
            <a:off x="6837507" y="3498616"/>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0</a:t>
            </a:r>
            <a:endParaRPr lang="ja-JP" altLang="en-US" sz="800" dirty="0">
              <a:sym typeface="+mn-lt"/>
            </a:endParaRPr>
          </a:p>
        </p:txBody>
      </p:sp>
      <p:sp>
        <p:nvSpPr>
          <p:cNvPr id="467" name="Text Placeholder 12">
            <a:extLst>
              <a:ext uri="{FF2B5EF4-FFF2-40B4-BE49-F238E27FC236}">
                <a16:creationId xmlns:a16="http://schemas.microsoft.com/office/drawing/2014/main" id="{B9736DF0-E4EE-0953-6B87-4E9AFF9A0441}"/>
              </a:ext>
            </a:extLst>
          </p:cNvPr>
          <p:cNvSpPr>
            <a:spLocks noGrp="1"/>
          </p:cNvSpPr>
          <p:nvPr>
            <p:custDataLst>
              <p:tags r:id="rId159"/>
            </p:custDataLst>
          </p:nvPr>
        </p:nvSpPr>
        <p:spPr bwMode="auto">
          <a:xfrm>
            <a:off x="6883544" y="390785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6C2BDAB-A23E-4235-A8B1-E33DB7C8991A}" type="datetime'''''''1''7'">
              <a:rPr lang="ja-JP" altLang="en-US" sz="1000" b="0" smtClean="0"/>
              <a:pPr/>
              <a:t>17</a:t>
            </a:fld>
            <a:endParaRPr kumimoji="0" lang="ja-JP" altLang="en-US" sz="800" b="0" dirty="0">
              <a:sym typeface="+mn-lt"/>
            </a:endParaRPr>
          </a:p>
        </p:txBody>
      </p:sp>
      <p:sp>
        <p:nvSpPr>
          <p:cNvPr id="468" name="テキスト プレースホルダ 9">
            <a:extLst>
              <a:ext uri="{FF2B5EF4-FFF2-40B4-BE49-F238E27FC236}">
                <a16:creationId xmlns:a16="http://schemas.microsoft.com/office/drawing/2014/main" id="{505ADFF7-C5E4-53E7-897D-FD84DB73B244}"/>
              </a:ext>
            </a:extLst>
          </p:cNvPr>
          <p:cNvSpPr>
            <a:spLocks noGrp="1"/>
          </p:cNvSpPr>
          <p:nvPr>
            <p:custDataLst>
              <p:tags r:id="rId160"/>
            </p:custDataLst>
          </p:nvPr>
        </p:nvSpPr>
        <p:spPr bwMode="gray">
          <a:xfrm>
            <a:off x="7504541" y="3451804"/>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72</a:t>
            </a:r>
            <a:endParaRPr lang="ja-JP" altLang="en-US" sz="800" dirty="0">
              <a:sym typeface="+mn-lt"/>
            </a:endParaRPr>
          </a:p>
        </p:txBody>
      </p:sp>
      <p:sp>
        <p:nvSpPr>
          <p:cNvPr id="469" name="Text Placeholder 12">
            <a:extLst>
              <a:ext uri="{FF2B5EF4-FFF2-40B4-BE49-F238E27FC236}">
                <a16:creationId xmlns:a16="http://schemas.microsoft.com/office/drawing/2014/main" id="{B0A6A712-0D7C-62C9-E434-358AC9D59B49}"/>
              </a:ext>
            </a:extLst>
          </p:cNvPr>
          <p:cNvSpPr>
            <a:spLocks noGrp="1"/>
          </p:cNvSpPr>
          <p:nvPr>
            <p:custDataLst>
              <p:tags r:id="rId161"/>
            </p:custDataLst>
          </p:nvPr>
        </p:nvSpPr>
        <p:spPr bwMode="auto">
          <a:xfrm>
            <a:off x="7217126" y="3907854"/>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D746D79-3457-4EF1-BEA6-CCCA8143B5BF}" type="datetime'''''''''1''''''''''''''''''''''''''''''''''''8'">
              <a:rPr kumimoji="0" lang="ja-JP" altLang="en-US" sz="1000" b="0" smtClean="0"/>
              <a:pPr/>
              <a:t>18</a:t>
            </a:fld>
            <a:endParaRPr kumimoji="0" lang="ja-JP" altLang="en-US" sz="800" b="0" dirty="0">
              <a:sym typeface="+mn-lt"/>
            </a:endParaRPr>
          </a:p>
        </p:txBody>
      </p:sp>
      <p:sp>
        <p:nvSpPr>
          <p:cNvPr id="470" name="テキスト プレースホルダ 9">
            <a:extLst>
              <a:ext uri="{FF2B5EF4-FFF2-40B4-BE49-F238E27FC236}">
                <a16:creationId xmlns:a16="http://schemas.microsoft.com/office/drawing/2014/main" id="{84E877C2-6845-0B02-83D2-64F861221601}"/>
              </a:ext>
            </a:extLst>
          </p:cNvPr>
          <p:cNvSpPr>
            <a:spLocks noGrp="1"/>
          </p:cNvSpPr>
          <p:nvPr>
            <p:custDataLst>
              <p:tags r:id="rId162"/>
            </p:custDataLst>
          </p:nvPr>
        </p:nvSpPr>
        <p:spPr bwMode="gray">
          <a:xfrm>
            <a:off x="7833302" y="3382151"/>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78</a:t>
            </a:r>
            <a:endParaRPr lang="ja-JP" altLang="en-US" sz="800" dirty="0">
              <a:sym typeface="+mn-lt"/>
            </a:endParaRPr>
          </a:p>
        </p:txBody>
      </p:sp>
      <p:sp>
        <p:nvSpPr>
          <p:cNvPr id="471" name="Text Placeholder 12">
            <a:extLst>
              <a:ext uri="{FF2B5EF4-FFF2-40B4-BE49-F238E27FC236}">
                <a16:creationId xmlns:a16="http://schemas.microsoft.com/office/drawing/2014/main" id="{880F8DAF-80F1-D60B-30C9-D76A61205593}"/>
              </a:ext>
            </a:extLst>
          </p:cNvPr>
          <p:cNvSpPr>
            <a:spLocks noGrp="1"/>
          </p:cNvSpPr>
          <p:nvPr>
            <p:custDataLst>
              <p:tags r:id="rId163"/>
            </p:custDataLst>
          </p:nvPr>
        </p:nvSpPr>
        <p:spPr bwMode="auto">
          <a:xfrm>
            <a:off x="7478279" y="3907614"/>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t>19</a:t>
            </a:r>
            <a:endParaRPr kumimoji="0" lang="ja-JP" altLang="en-US" sz="800" b="0" dirty="0">
              <a:sym typeface="+mn-lt"/>
            </a:endParaRPr>
          </a:p>
        </p:txBody>
      </p:sp>
      <p:sp>
        <p:nvSpPr>
          <p:cNvPr id="472" name="テキスト プレースホルダ 9">
            <a:extLst>
              <a:ext uri="{FF2B5EF4-FFF2-40B4-BE49-F238E27FC236}">
                <a16:creationId xmlns:a16="http://schemas.microsoft.com/office/drawing/2014/main" id="{99B606AC-CA68-C01A-5EA9-64A30E71EB58}"/>
              </a:ext>
            </a:extLst>
          </p:cNvPr>
          <p:cNvSpPr>
            <a:spLocks noGrp="1"/>
          </p:cNvSpPr>
          <p:nvPr>
            <p:custDataLst>
              <p:tags r:id="rId164"/>
            </p:custDataLst>
          </p:nvPr>
        </p:nvSpPr>
        <p:spPr bwMode="gray">
          <a:xfrm>
            <a:off x="2538196" y="3143249"/>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6</a:t>
            </a:r>
            <a:endParaRPr lang="ja-JP" altLang="en-US" sz="800" dirty="0">
              <a:sym typeface="+mn-lt"/>
            </a:endParaRPr>
          </a:p>
        </p:txBody>
      </p:sp>
      <p:sp>
        <p:nvSpPr>
          <p:cNvPr id="473" name="テキスト プレースホルダ 9">
            <a:extLst>
              <a:ext uri="{FF2B5EF4-FFF2-40B4-BE49-F238E27FC236}">
                <a16:creationId xmlns:a16="http://schemas.microsoft.com/office/drawing/2014/main" id="{B42F816F-B813-039A-DCA1-1568492426AE}"/>
              </a:ext>
            </a:extLst>
          </p:cNvPr>
          <p:cNvSpPr>
            <a:spLocks noGrp="1"/>
          </p:cNvSpPr>
          <p:nvPr>
            <p:custDataLst>
              <p:tags r:id="rId165"/>
            </p:custDataLst>
          </p:nvPr>
        </p:nvSpPr>
        <p:spPr bwMode="gray">
          <a:xfrm>
            <a:off x="1205202" y="3203581"/>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1</a:t>
            </a:r>
            <a:endParaRPr lang="ja-JP" altLang="en-US" sz="800" dirty="0">
              <a:sym typeface="+mn-lt"/>
            </a:endParaRPr>
          </a:p>
        </p:txBody>
      </p:sp>
      <p:sp>
        <p:nvSpPr>
          <p:cNvPr id="474" name="テキスト プレースホルダ 9">
            <a:extLst>
              <a:ext uri="{FF2B5EF4-FFF2-40B4-BE49-F238E27FC236}">
                <a16:creationId xmlns:a16="http://schemas.microsoft.com/office/drawing/2014/main" id="{26855969-04D5-A3B4-F530-73CFC82D9FDE}"/>
              </a:ext>
            </a:extLst>
          </p:cNvPr>
          <p:cNvSpPr>
            <a:spLocks noGrp="1"/>
          </p:cNvSpPr>
          <p:nvPr>
            <p:custDataLst>
              <p:tags r:id="rId166"/>
            </p:custDataLst>
          </p:nvPr>
        </p:nvSpPr>
        <p:spPr bwMode="gray">
          <a:xfrm>
            <a:off x="1554452" y="3203581"/>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1</a:t>
            </a:r>
            <a:endParaRPr lang="ja-JP" altLang="en-US" sz="800" dirty="0">
              <a:sym typeface="+mn-lt"/>
            </a:endParaRPr>
          </a:p>
        </p:txBody>
      </p:sp>
      <p:sp>
        <p:nvSpPr>
          <p:cNvPr id="475" name="テキスト プレースホルダ 9">
            <a:extLst>
              <a:ext uri="{FF2B5EF4-FFF2-40B4-BE49-F238E27FC236}">
                <a16:creationId xmlns:a16="http://schemas.microsoft.com/office/drawing/2014/main" id="{EF860B4D-81E2-7938-DD64-046B7E9D33B1}"/>
              </a:ext>
            </a:extLst>
          </p:cNvPr>
          <p:cNvSpPr>
            <a:spLocks noGrp="1"/>
          </p:cNvSpPr>
          <p:nvPr>
            <p:custDataLst>
              <p:tags r:id="rId167"/>
            </p:custDataLst>
          </p:nvPr>
        </p:nvSpPr>
        <p:spPr bwMode="gray">
          <a:xfrm>
            <a:off x="1869063" y="3179687"/>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56</a:t>
            </a:r>
            <a:endParaRPr lang="ja-JP" altLang="en-US" sz="800" dirty="0">
              <a:sym typeface="+mn-lt"/>
            </a:endParaRPr>
          </a:p>
        </p:txBody>
      </p:sp>
      <p:sp>
        <p:nvSpPr>
          <p:cNvPr id="476" name="テキスト プレースホルダ 9">
            <a:extLst>
              <a:ext uri="{FF2B5EF4-FFF2-40B4-BE49-F238E27FC236}">
                <a16:creationId xmlns:a16="http://schemas.microsoft.com/office/drawing/2014/main" id="{D649E1FA-79FB-99B5-8C4B-8EDAA6E9CC8F}"/>
              </a:ext>
            </a:extLst>
          </p:cNvPr>
          <p:cNvSpPr>
            <a:spLocks noGrp="1"/>
          </p:cNvSpPr>
          <p:nvPr>
            <p:custDataLst>
              <p:tags r:id="rId168"/>
            </p:custDataLst>
          </p:nvPr>
        </p:nvSpPr>
        <p:spPr bwMode="gray">
          <a:xfrm>
            <a:off x="2218313" y="3150304"/>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1</a:t>
            </a:r>
            <a:endParaRPr lang="ja-JP" altLang="en-US" sz="800" dirty="0">
              <a:sym typeface="+mn-lt"/>
            </a:endParaRPr>
          </a:p>
        </p:txBody>
      </p:sp>
      <p:sp>
        <p:nvSpPr>
          <p:cNvPr id="477" name="テキスト プレースホルダ 9">
            <a:extLst>
              <a:ext uri="{FF2B5EF4-FFF2-40B4-BE49-F238E27FC236}">
                <a16:creationId xmlns:a16="http://schemas.microsoft.com/office/drawing/2014/main" id="{08F97BD2-7D41-4B31-186A-5D411AF069C6}"/>
              </a:ext>
            </a:extLst>
          </p:cNvPr>
          <p:cNvSpPr>
            <a:spLocks noGrp="1"/>
          </p:cNvSpPr>
          <p:nvPr>
            <p:custDataLst>
              <p:tags r:id="rId169"/>
            </p:custDataLst>
          </p:nvPr>
        </p:nvSpPr>
        <p:spPr bwMode="gray">
          <a:xfrm>
            <a:off x="2867028" y="3137676"/>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64</a:t>
            </a:r>
            <a:endParaRPr lang="ja-JP" altLang="en-US" sz="800" dirty="0">
              <a:sym typeface="+mn-lt"/>
            </a:endParaRPr>
          </a:p>
        </p:txBody>
      </p:sp>
      <p:sp>
        <p:nvSpPr>
          <p:cNvPr id="478" name="テキスト プレースホルダ 9">
            <a:extLst>
              <a:ext uri="{FF2B5EF4-FFF2-40B4-BE49-F238E27FC236}">
                <a16:creationId xmlns:a16="http://schemas.microsoft.com/office/drawing/2014/main" id="{BB9E4B7C-5FD7-02A2-1BFE-92BF73628007}"/>
              </a:ext>
            </a:extLst>
          </p:cNvPr>
          <p:cNvSpPr>
            <a:spLocks noGrp="1"/>
          </p:cNvSpPr>
          <p:nvPr>
            <p:custDataLst>
              <p:tags r:id="rId170"/>
            </p:custDataLst>
          </p:nvPr>
        </p:nvSpPr>
        <p:spPr bwMode="gray">
          <a:xfrm>
            <a:off x="3166771" y="3108210"/>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81</a:t>
            </a:r>
            <a:endParaRPr lang="ja-JP" altLang="en-US" sz="800" dirty="0">
              <a:sym typeface="+mn-lt"/>
            </a:endParaRPr>
          </a:p>
        </p:txBody>
      </p:sp>
      <p:sp>
        <p:nvSpPr>
          <p:cNvPr id="479" name="テキスト プレースホルダ 9">
            <a:extLst>
              <a:ext uri="{FF2B5EF4-FFF2-40B4-BE49-F238E27FC236}">
                <a16:creationId xmlns:a16="http://schemas.microsoft.com/office/drawing/2014/main" id="{4C3A2405-92FF-0391-EA65-6F356B58E723}"/>
              </a:ext>
            </a:extLst>
          </p:cNvPr>
          <p:cNvSpPr>
            <a:spLocks noGrp="1"/>
          </p:cNvSpPr>
          <p:nvPr>
            <p:custDataLst>
              <p:tags r:id="rId171"/>
            </p:custDataLst>
          </p:nvPr>
        </p:nvSpPr>
        <p:spPr bwMode="gray">
          <a:xfrm>
            <a:off x="3529587" y="3073091"/>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90</a:t>
            </a:r>
            <a:endParaRPr lang="ja-JP" altLang="en-US" sz="800" dirty="0">
              <a:sym typeface="+mn-lt"/>
            </a:endParaRPr>
          </a:p>
        </p:txBody>
      </p:sp>
      <p:sp>
        <p:nvSpPr>
          <p:cNvPr id="480" name="テキスト プレースホルダ 9">
            <a:extLst>
              <a:ext uri="{FF2B5EF4-FFF2-40B4-BE49-F238E27FC236}">
                <a16:creationId xmlns:a16="http://schemas.microsoft.com/office/drawing/2014/main" id="{9976FF6A-C13B-0663-7158-CB18EB3167A8}"/>
              </a:ext>
            </a:extLst>
          </p:cNvPr>
          <p:cNvSpPr>
            <a:spLocks noGrp="1"/>
          </p:cNvSpPr>
          <p:nvPr>
            <p:custDataLst>
              <p:tags r:id="rId172"/>
            </p:custDataLst>
          </p:nvPr>
        </p:nvSpPr>
        <p:spPr bwMode="gray">
          <a:xfrm>
            <a:off x="3864585" y="3061134"/>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a:t>
            </a:r>
            <a:endParaRPr lang="ja-JP" altLang="en-US" sz="800" dirty="0">
              <a:sym typeface="+mn-lt"/>
            </a:endParaRPr>
          </a:p>
        </p:txBody>
      </p:sp>
      <p:sp>
        <p:nvSpPr>
          <p:cNvPr id="481" name="テキスト プレースホルダ 9">
            <a:extLst>
              <a:ext uri="{FF2B5EF4-FFF2-40B4-BE49-F238E27FC236}">
                <a16:creationId xmlns:a16="http://schemas.microsoft.com/office/drawing/2014/main" id="{9F5851E8-C3E2-8976-F7CE-71A49152D6BE}"/>
              </a:ext>
            </a:extLst>
          </p:cNvPr>
          <p:cNvSpPr>
            <a:spLocks noGrp="1"/>
          </p:cNvSpPr>
          <p:nvPr>
            <p:custDataLst>
              <p:tags r:id="rId173"/>
            </p:custDataLst>
          </p:nvPr>
        </p:nvSpPr>
        <p:spPr bwMode="gray">
          <a:xfrm>
            <a:off x="4206186" y="2990994"/>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12</a:t>
            </a:r>
            <a:endParaRPr lang="ja-JP" altLang="en-US" sz="800" dirty="0">
              <a:sym typeface="+mn-lt"/>
            </a:endParaRPr>
          </a:p>
        </p:txBody>
      </p:sp>
      <p:sp>
        <p:nvSpPr>
          <p:cNvPr id="482" name="テキスト プレースホルダ 9">
            <a:extLst>
              <a:ext uri="{FF2B5EF4-FFF2-40B4-BE49-F238E27FC236}">
                <a16:creationId xmlns:a16="http://schemas.microsoft.com/office/drawing/2014/main" id="{4FBF0254-DA75-4AE6-38F6-7B11B60CE19F}"/>
              </a:ext>
            </a:extLst>
          </p:cNvPr>
          <p:cNvSpPr>
            <a:spLocks noGrp="1"/>
          </p:cNvSpPr>
          <p:nvPr>
            <p:custDataLst>
              <p:tags r:id="rId174"/>
            </p:custDataLst>
          </p:nvPr>
        </p:nvSpPr>
        <p:spPr bwMode="gray">
          <a:xfrm>
            <a:off x="4524157" y="2960670"/>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225</a:t>
            </a:r>
            <a:endParaRPr lang="ja-JP" altLang="en-US" sz="800" dirty="0">
              <a:sym typeface="+mn-lt"/>
            </a:endParaRPr>
          </a:p>
        </p:txBody>
      </p:sp>
      <p:sp>
        <p:nvSpPr>
          <p:cNvPr id="483" name="テキスト プレースホルダ 9">
            <a:extLst>
              <a:ext uri="{FF2B5EF4-FFF2-40B4-BE49-F238E27FC236}">
                <a16:creationId xmlns:a16="http://schemas.microsoft.com/office/drawing/2014/main" id="{C98F602A-8F88-36E2-1F1B-3CA48A9687DB}"/>
              </a:ext>
            </a:extLst>
          </p:cNvPr>
          <p:cNvSpPr>
            <a:spLocks noGrp="1"/>
          </p:cNvSpPr>
          <p:nvPr>
            <p:custDataLst>
              <p:tags r:id="rId175"/>
            </p:custDataLst>
          </p:nvPr>
        </p:nvSpPr>
        <p:spPr bwMode="gray">
          <a:xfrm>
            <a:off x="4846600" y="2928126"/>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37</a:t>
            </a:r>
            <a:endParaRPr lang="ja-JP" altLang="en-US" sz="800" dirty="0">
              <a:sym typeface="+mn-lt"/>
            </a:endParaRPr>
          </a:p>
        </p:txBody>
      </p:sp>
      <p:sp>
        <p:nvSpPr>
          <p:cNvPr id="484" name="テキスト プレースホルダ 9">
            <a:extLst>
              <a:ext uri="{FF2B5EF4-FFF2-40B4-BE49-F238E27FC236}">
                <a16:creationId xmlns:a16="http://schemas.microsoft.com/office/drawing/2014/main" id="{57587059-7C06-EF64-30F2-2358B64927F7}"/>
              </a:ext>
            </a:extLst>
          </p:cNvPr>
          <p:cNvSpPr>
            <a:spLocks noGrp="1"/>
          </p:cNvSpPr>
          <p:nvPr>
            <p:custDataLst>
              <p:tags r:id="rId176"/>
            </p:custDataLst>
          </p:nvPr>
        </p:nvSpPr>
        <p:spPr bwMode="gray">
          <a:xfrm>
            <a:off x="5181714" y="291095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46</a:t>
            </a:r>
            <a:endParaRPr lang="ja-JP" altLang="en-US" sz="800" dirty="0">
              <a:sym typeface="+mn-lt"/>
            </a:endParaRPr>
          </a:p>
        </p:txBody>
      </p:sp>
      <p:sp>
        <p:nvSpPr>
          <p:cNvPr id="485" name="テキスト プレースホルダ 9">
            <a:extLst>
              <a:ext uri="{FF2B5EF4-FFF2-40B4-BE49-F238E27FC236}">
                <a16:creationId xmlns:a16="http://schemas.microsoft.com/office/drawing/2014/main" id="{EF52CFA3-2C84-3887-2758-B9287472939B}"/>
              </a:ext>
            </a:extLst>
          </p:cNvPr>
          <p:cNvSpPr>
            <a:spLocks noGrp="1"/>
          </p:cNvSpPr>
          <p:nvPr>
            <p:custDataLst>
              <p:tags r:id="rId177"/>
            </p:custDataLst>
          </p:nvPr>
        </p:nvSpPr>
        <p:spPr bwMode="gray">
          <a:xfrm>
            <a:off x="5521538" y="2887576"/>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55</a:t>
            </a:r>
            <a:endParaRPr lang="ja-JP" altLang="en-US" sz="800" dirty="0">
              <a:sym typeface="+mn-lt"/>
            </a:endParaRPr>
          </a:p>
        </p:txBody>
      </p:sp>
      <p:sp>
        <p:nvSpPr>
          <p:cNvPr id="486" name="テキスト プレースホルダ 9">
            <a:extLst>
              <a:ext uri="{FF2B5EF4-FFF2-40B4-BE49-F238E27FC236}">
                <a16:creationId xmlns:a16="http://schemas.microsoft.com/office/drawing/2014/main" id="{E8F4049D-7A7F-AFED-88FC-82F81CD51E1E}"/>
              </a:ext>
            </a:extLst>
          </p:cNvPr>
          <p:cNvSpPr>
            <a:spLocks noGrp="1"/>
          </p:cNvSpPr>
          <p:nvPr>
            <p:custDataLst>
              <p:tags r:id="rId178"/>
            </p:custDataLst>
          </p:nvPr>
        </p:nvSpPr>
        <p:spPr bwMode="gray">
          <a:xfrm>
            <a:off x="5847396" y="28525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65</a:t>
            </a:r>
            <a:endParaRPr lang="ja-JP" altLang="en-US" sz="800" dirty="0">
              <a:sym typeface="+mn-lt"/>
            </a:endParaRPr>
          </a:p>
        </p:txBody>
      </p:sp>
      <p:sp>
        <p:nvSpPr>
          <p:cNvPr id="487" name="テキスト プレースホルダ 9">
            <a:extLst>
              <a:ext uri="{FF2B5EF4-FFF2-40B4-BE49-F238E27FC236}">
                <a16:creationId xmlns:a16="http://schemas.microsoft.com/office/drawing/2014/main" id="{7281D329-F3FA-AA7D-59D0-96DAA366E156}"/>
              </a:ext>
            </a:extLst>
          </p:cNvPr>
          <p:cNvSpPr>
            <a:spLocks noGrp="1"/>
          </p:cNvSpPr>
          <p:nvPr>
            <p:custDataLst>
              <p:tags r:id="rId179"/>
            </p:custDataLst>
          </p:nvPr>
        </p:nvSpPr>
        <p:spPr bwMode="gray">
          <a:xfrm>
            <a:off x="6202939" y="2831289"/>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75</a:t>
            </a:r>
            <a:endParaRPr lang="ja-JP" altLang="en-US" sz="800" dirty="0">
              <a:sym typeface="+mn-lt"/>
            </a:endParaRPr>
          </a:p>
        </p:txBody>
      </p:sp>
      <p:sp>
        <p:nvSpPr>
          <p:cNvPr id="488" name="テキスト プレースホルダ 9">
            <a:extLst>
              <a:ext uri="{FF2B5EF4-FFF2-40B4-BE49-F238E27FC236}">
                <a16:creationId xmlns:a16="http://schemas.microsoft.com/office/drawing/2014/main" id="{577BD9BA-325E-15D7-9FDA-C5459F30977B}"/>
              </a:ext>
            </a:extLst>
          </p:cNvPr>
          <p:cNvSpPr>
            <a:spLocks noGrp="1"/>
          </p:cNvSpPr>
          <p:nvPr>
            <p:custDataLst>
              <p:tags r:id="rId180"/>
            </p:custDataLst>
          </p:nvPr>
        </p:nvSpPr>
        <p:spPr bwMode="gray">
          <a:xfrm>
            <a:off x="6850913" y="2807621"/>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77</a:t>
            </a:r>
            <a:endParaRPr lang="ja-JP" altLang="en-US" sz="800" dirty="0">
              <a:sym typeface="+mn-lt"/>
            </a:endParaRPr>
          </a:p>
        </p:txBody>
      </p:sp>
      <p:sp>
        <p:nvSpPr>
          <p:cNvPr id="489" name="テキスト プレースホルダ 9">
            <a:extLst>
              <a:ext uri="{FF2B5EF4-FFF2-40B4-BE49-F238E27FC236}">
                <a16:creationId xmlns:a16="http://schemas.microsoft.com/office/drawing/2014/main" id="{A18B1D0C-B3C6-464F-5D22-19FB50E6E7B9}"/>
              </a:ext>
            </a:extLst>
          </p:cNvPr>
          <p:cNvSpPr>
            <a:spLocks noGrp="1"/>
          </p:cNvSpPr>
          <p:nvPr>
            <p:custDataLst>
              <p:tags r:id="rId181"/>
            </p:custDataLst>
          </p:nvPr>
        </p:nvSpPr>
        <p:spPr bwMode="gray">
          <a:xfrm>
            <a:off x="7165311" y="2776392"/>
            <a:ext cx="244475"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85</a:t>
            </a:r>
            <a:endParaRPr lang="ja-JP" altLang="en-US" sz="800" dirty="0">
              <a:sym typeface="+mn-lt"/>
            </a:endParaRPr>
          </a:p>
        </p:txBody>
      </p:sp>
      <p:sp>
        <p:nvSpPr>
          <p:cNvPr id="490" name="テキスト プレースホルダ 9">
            <a:extLst>
              <a:ext uri="{FF2B5EF4-FFF2-40B4-BE49-F238E27FC236}">
                <a16:creationId xmlns:a16="http://schemas.microsoft.com/office/drawing/2014/main" id="{2676502C-F037-D244-BA96-6EEB7DB2345F}"/>
              </a:ext>
            </a:extLst>
          </p:cNvPr>
          <p:cNvSpPr>
            <a:spLocks noGrp="1"/>
          </p:cNvSpPr>
          <p:nvPr>
            <p:custDataLst>
              <p:tags r:id="rId182"/>
            </p:custDataLst>
          </p:nvPr>
        </p:nvSpPr>
        <p:spPr bwMode="gray">
          <a:xfrm>
            <a:off x="5839258" y="3545952"/>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50</a:t>
            </a:r>
            <a:endParaRPr lang="ja-JP" altLang="en-US" sz="800" dirty="0">
              <a:sym typeface="+mn-lt"/>
            </a:endParaRPr>
          </a:p>
        </p:txBody>
      </p:sp>
      <p:sp>
        <p:nvSpPr>
          <p:cNvPr id="491" name="テキスト プレースホルダ 9">
            <a:extLst>
              <a:ext uri="{FF2B5EF4-FFF2-40B4-BE49-F238E27FC236}">
                <a16:creationId xmlns:a16="http://schemas.microsoft.com/office/drawing/2014/main" id="{A5F7433E-924C-7938-2830-93ED22884E7C}"/>
              </a:ext>
            </a:extLst>
          </p:cNvPr>
          <p:cNvSpPr>
            <a:spLocks noGrp="1"/>
          </p:cNvSpPr>
          <p:nvPr>
            <p:custDataLst>
              <p:tags r:id="rId183"/>
            </p:custDataLst>
          </p:nvPr>
        </p:nvSpPr>
        <p:spPr bwMode="gray">
          <a:xfrm>
            <a:off x="7831714" y="3007789"/>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105</a:t>
            </a:r>
            <a:endParaRPr lang="ja-JP" altLang="en-US" sz="800" dirty="0">
              <a:sym typeface="+mn-lt"/>
            </a:endParaRPr>
          </a:p>
        </p:txBody>
      </p:sp>
      <p:sp>
        <p:nvSpPr>
          <p:cNvPr id="492" name="テキスト プレースホルダ 9">
            <a:extLst>
              <a:ext uri="{FF2B5EF4-FFF2-40B4-BE49-F238E27FC236}">
                <a16:creationId xmlns:a16="http://schemas.microsoft.com/office/drawing/2014/main" id="{5E32E38F-3DA4-884F-AFD1-6F751ED5D588}"/>
              </a:ext>
            </a:extLst>
          </p:cNvPr>
          <p:cNvSpPr>
            <a:spLocks noGrp="1"/>
          </p:cNvSpPr>
          <p:nvPr>
            <p:custDataLst>
              <p:tags r:id="rId184"/>
            </p:custDataLst>
          </p:nvPr>
        </p:nvSpPr>
        <p:spPr bwMode="gray">
          <a:xfrm>
            <a:off x="7849177" y="282522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83</a:t>
            </a:r>
            <a:endParaRPr lang="ja-JP" altLang="en-US" sz="800" dirty="0">
              <a:sym typeface="+mn-lt"/>
            </a:endParaRPr>
          </a:p>
        </p:txBody>
      </p:sp>
      <p:sp>
        <p:nvSpPr>
          <p:cNvPr id="493" name="Text Placeholder 12">
            <a:extLst>
              <a:ext uri="{FF2B5EF4-FFF2-40B4-BE49-F238E27FC236}">
                <a16:creationId xmlns:a16="http://schemas.microsoft.com/office/drawing/2014/main" id="{B4723985-B9CF-DEFB-642E-3E5EC71D1B88}"/>
              </a:ext>
            </a:extLst>
          </p:cNvPr>
          <p:cNvSpPr>
            <a:spLocks noGrp="1"/>
          </p:cNvSpPr>
          <p:nvPr>
            <p:custDataLst>
              <p:tags r:id="rId185"/>
            </p:custDataLst>
          </p:nvPr>
        </p:nvSpPr>
        <p:spPr bwMode="auto">
          <a:xfrm>
            <a:off x="7811861" y="3907614"/>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t>2020</a:t>
            </a:r>
            <a:endParaRPr kumimoji="0" lang="ja-JP" altLang="en-US" sz="800" b="0" dirty="0">
              <a:sym typeface="+mn-lt"/>
            </a:endParaRPr>
          </a:p>
        </p:txBody>
      </p:sp>
      <p:sp>
        <p:nvSpPr>
          <p:cNvPr id="109" name="テキスト プレースホルダ 9">
            <a:extLst>
              <a:ext uri="{FF2B5EF4-FFF2-40B4-BE49-F238E27FC236}">
                <a16:creationId xmlns:a16="http://schemas.microsoft.com/office/drawing/2014/main" id="{CBC04C98-76D2-87B2-A995-154333F2CE58}"/>
              </a:ext>
            </a:extLst>
          </p:cNvPr>
          <p:cNvSpPr>
            <a:spLocks noGrp="1"/>
          </p:cNvSpPr>
          <p:nvPr>
            <p:custDataLst>
              <p:tags r:id="rId186"/>
            </p:custDataLst>
          </p:nvPr>
        </p:nvSpPr>
        <p:spPr bwMode="auto">
          <a:xfrm>
            <a:off x="7968876" y="6083571"/>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110" name="テキスト プレースホルダ 9">
            <a:extLst>
              <a:ext uri="{FF2B5EF4-FFF2-40B4-BE49-F238E27FC236}">
                <a16:creationId xmlns:a16="http://schemas.microsoft.com/office/drawing/2014/main" id="{6184229D-554B-DC4E-4A34-AC636D5E6C7E}"/>
              </a:ext>
            </a:extLst>
          </p:cNvPr>
          <p:cNvSpPr>
            <a:spLocks noGrp="1"/>
          </p:cNvSpPr>
          <p:nvPr>
            <p:custDataLst>
              <p:tags r:id="rId187"/>
            </p:custDataLst>
          </p:nvPr>
        </p:nvSpPr>
        <p:spPr bwMode="auto">
          <a:xfrm>
            <a:off x="8285163" y="608491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5C527720-F899-0B84-F831-0174235A33FA}"/>
              </a:ext>
            </a:extLst>
          </p:cNvPr>
          <p:cNvSpPr>
            <a:spLocks noGrp="1"/>
          </p:cNvSpPr>
          <p:nvPr>
            <p:custDataLst>
              <p:tags r:id="rId188"/>
            </p:custDataLst>
          </p:nvPr>
        </p:nvSpPr>
        <p:spPr bwMode="gray">
          <a:xfrm>
            <a:off x="7972755" y="555927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04</a:t>
            </a:r>
            <a:endParaRPr lang="ja-JP" altLang="en-US" sz="1000" dirty="0">
              <a:sym typeface="+mn-lt"/>
            </a:endParaRPr>
          </a:p>
        </p:txBody>
      </p:sp>
      <p:sp>
        <p:nvSpPr>
          <p:cNvPr id="112" name="テキスト プレースホルダ 9">
            <a:extLst>
              <a:ext uri="{FF2B5EF4-FFF2-40B4-BE49-F238E27FC236}">
                <a16:creationId xmlns:a16="http://schemas.microsoft.com/office/drawing/2014/main" id="{950BC451-A5A0-2FBB-8C28-7F453F84031E}"/>
              </a:ext>
            </a:extLst>
          </p:cNvPr>
          <p:cNvSpPr>
            <a:spLocks noGrp="1"/>
          </p:cNvSpPr>
          <p:nvPr>
            <p:custDataLst>
              <p:tags r:id="rId189"/>
            </p:custDataLst>
          </p:nvPr>
        </p:nvSpPr>
        <p:spPr bwMode="gray">
          <a:xfrm>
            <a:off x="8305800" y="5559278"/>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sym typeface="+mn-lt"/>
              </a:rPr>
              <a:t>353</a:t>
            </a:r>
            <a:endParaRPr lang="ja-JP" altLang="en-US" sz="1000" dirty="0">
              <a:sym typeface="+mn-lt"/>
            </a:endParaRPr>
          </a:p>
        </p:txBody>
      </p:sp>
      <p:sp>
        <p:nvSpPr>
          <p:cNvPr id="113" name="テキスト プレースホルダ 9">
            <a:extLst>
              <a:ext uri="{FF2B5EF4-FFF2-40B4-BE49-F238E27FC236}">
                <a16:creationId xmlns:a16="http://schemas.microsoft.com/office/drawing/2014/main" id="{3D2E5546-89BA-41A3-B4AF-840E2C6C2366}"/>
              </a:ext>
            </a:extLst>
          </p:cNvPr>
          <p:cNvSpPr>
            <a:spLocks noGrp="1"/>
          </p:cNvSpPr>
          <p:nvPr>
            <p:custDataLst>
              <p:tags r:id="rId190"/>
            </p:custDataLst>
          </p:nvPr>
        </p:nvSpPr>
        <p:spPr bwMode="gray">
          <a:xfrm>
            <a:off x="7978427" y="5069146"/>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188</a:t>
            </a:r>
            <a:endParaRPr lang="ja-JP" altLang="en-US" sz="1000" dirty="0">
              <a:sym typeface="+mn-lt"/>
            </a:endParaRPr>
          </a:p>
        </p:txBody>
      </p:sp>
      <p:sp>
        <p:nvSpPr>
          <p:cNvPr id="114" name="テキスト プレースホルダ 9">
            <a:extLst>
              <a:ext uri="{FF2B5EF4-FFF2-40B4-BE49-F238E27FC236}">
                <a16:creationId xmlns:a16="http://schemas.microsoft.com/office/drawing/2014/main" id="{4126C82F-7C0E-B884-EFAB-0B1330D33359}"/>
              </a:ext>
            </a:extLst>
          </p:cNvPr>
          <p:cNvSpPr>
            <a:spLocks noGrp="1"/>
          </p:cNvSpPr>
          <p:nvPr>
            <p:custDataLst>
              <p:tags r:id="rId191"/>
            </p:custDataLst>
          </p:nvPr>
        </p:nvSpPr>
        <p:spPr bwMode="gray">
          <a:xfrm>
            <a:off x="8326961" y="4932513"/>
            <a:ext cx="2444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effectLst/>
              </a:rPr>
              <a:t>231</a:t>
            </a:r>
            <a:endParaRPr lang="ja-JP" altLang="en-US" sz="1000" dirty="0">
              <a:sym typeface="+mn-lt"/>
            </a:endParaRPr>
          </a:p>
        </p:txBody>
      </p:sp>
      <p:sp>
        <p:nvSpPr>
          <p:cNvPr id="115" name="テキスト プレースホルダ 9">
            <a:extLst>
              <a:ext uri="{FF2B5EF4-FFF2-40B4-BE49-F238E27FC236}">
                <a16:creationId xmlns:a16="http://schemas.microsoft.com/office/drawing/2014/main" id="{309D3A8D-5A07-66ED-EB21-5707E3F14FD1}"/>
              </a:ext>
            </a:extLst>
          </p:cNvPr>
          <p:cNvSpPr>
            <a:spLocks noGrp="1"/>
          </p:cNvSpPr>
          <p:nvPr>
            <p:custDataLst>
              <p:tags r:id="rId192"/>
            </p:custDataLst>
          </p:nvPr>
        </p:nvSpPr>
        <p:spPr bwMode="gray">
          <a:xfrm>
            <a:off x="7981723" y="4867242"/>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492</a:t>
            </a:r>
            <a:endParaRPr lang="ja-JP" altLang="en-US" sz="1000" dirty="0">
              <a:sym typeface="+mn-lt"/>
            </a:endParaRPr>
          </a:p>
        </p:txBody>
      </p:sp>
      <p:sp>
        <p:nvSpPr>
          <p:cNvPr id="116" name="テキスト プレースホルダ 9">
            <a:extLst>
              <a:ext uri="{FF2B5EF4-FFF2-40B4-BE49-F238E27FC236}">
                <a16:creationId xmlns:a16="http://schemas.microsoft.com/office/drawing/2014/main" id="{D1B565E3-20B5-8D23-F283-D9CBF11A7449}"/>
              </a:ext>
            </a:extLst>
          </p:cNvPr>
          <p:cNvSpPr>
            <a:spLocks noGrp="1"/>
          </p:cNvSpPr>
          <p:nvPr>
            <p:custDataLst>
              <p:tags r:id="rId193"/>
            </p:custDataLst>
          </p:nvPr>
        </p:nvSpPr>
        <p:spPr bwMode="gray">
          <a:xfrm>
            <a:off x="8305799" y="4661176"/>
            <a:ext cx="244475"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584</a:t>
            </a:r>
            <a:endParaRPr lang="ja-JP" altLang="en-US" sz="1000" dirty="0">
              <a:sym typeface="+mn-lt"/>
            </a:endParaRPr>
          </a:p>
        </p:txBody>
      </p:sp>
    </p:spTree>
    <p:extLst>
      <p:ext uri="{BB962C8B-B14F-4D97-AF65-F5344CB8AC3E}">
        <p14:creationId xmlns:p14="http://schemas.microsoft.com/office/powerpoint/2010/main" val="1476970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4097687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107" name="Chart 106">
            <a:extLst>
              <a:ext uri="{FF2B5EF4-FFF2-40B4-BE49-F238E27FC236}">
                <a16:creationId xmlns:a16="http://schemas.microsoft.com/office/drawing/2014/main" id="{EB2FC625-E809-49F5-B3B6-A1009398C04D}"/>
              </a:ext>
            </a:extLst>
          </p:cNvPr>
          <p:cNvGraphicFramePr/>
          <p:nvPr>
            <p:custDataLst>
              <p:tags r:id="rId3"/>
            </p:custDataLst>
            <p:extLst>
              <p:ext uri="{D42A27DB-BD31-4B8C-83A1-F6EECF244321}">
                <p14:modId xmlns:p14="http://schemas.microsoft.com/office/powerpoint/2010/main" val="3220140706"/>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27" name="テキスト プレースホルダ 9"/>
          <p:cNvSpPr>
            <a:spLocks noGrp="1"/>
          </p:cNvSpPr>
          <p:nvPr>
            <p:custDataLst>
              <p:tags r:id="rId4"/>
            </p:custDataLst>
          </p:nvPr>
        </p:nvSpPr>
        <p:spPr bwMode="auto">
          <a:xfrm>
            <a:off x="3379788" y="3729038"/>
            <a:ext cx="6842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mtClean="0"/>
              <a:pPr/>
              <a:t>感染症</a:t>
            </a:fld>
            <a:r>
              <a:rPr lang="en-US" altLang="ja-JP" baseline="30000" dirty="0"/>
              <a:t>1</a:t>
            </a:r>
            <a:endParaRPr kumimoji="0" lang="ja-JP" altLang="en-US" baseline="30000" dirty="0">
              <a:sym typeface="+mn-lt"/>
            </a:endParaRPr>
          </a:p>
        </p:txBody>
      </p:sp>
      <p:sp>
        <p:nvSpPr>
          <p:cNvPr id="28" name="テキスト プレースホルダ 9"/>
          <p:cNvSpPr>
            <a:spLocks noGrp="1"/>
          </p:cNvSpPr>
          <p:nvPr>
            <p:custDataLst>
              <p:tags r:id="rId5"/>
            </p:custDataLst>
          </p:nvPr>
        </p:nvSpPr>
        <p:spPr bwMode="auto">
          <a:xfrm>
            <a:off x="1035050" y="31035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B675B4-51C6-44D2-ADCF-5C199B3FCCBF}" type="datetime'''''''''''''''''''''''''''''''''''事''''''故''''''''''等'''''''">
              <a:rPr lang="ja-JP" altLang="en-US">
                <a:sym typeface="+mn-lt"/>
              </a:rPr>
              <a:pPr marL="0" indent="0" algn="r">
                <a:spcBef>
                  <a:spcPct val="0"/>
                </a:spcBef>
                <a:buNone/>
              </a:pPr>
              <a:t>事故等</a:t>
            </a:fld>
            <a:endParaRPr lang="ja-JP" altLang="en-US" dirty="0">
              <a:sym typeface="+mn-lt"/>
            </a:endParaRPr>
          </a:p>
        </p:txBody>
      </p:sp>
      <p:sp>
        <p:nvSpPr>
          <p:cNvPr id="29" name="テキスト プレースホルダ 9"/>
          <p:cNvSpPr>
            <a:spLocks noGrp="1"/>
          </p:cNvSpPr>
          <p:nvPr>
            <p:custDataLst>
              <p:tags r:id="rId6"/>
            </p:custDataLst>
          </p:nvPr>
        </p:nvSpPr>
        <p:spPr bwMode="auto">
          <a:xfrm>
            <a:off x="760797" y="5081529"/>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2ED535-550A-4DCD-968F-2ABC348CFE55}" type="datetime'''''''''''非''''''感染''''''''''''''''''''''''''''''''''''症'''">
              <a:rPr lang="ja-JP" altLang="en-US" smtClean="0"/>
              <a:pPr marL="0" indent="0" algn="r">
                <a:spcBef>
                  <a:spcPct val="0"/>
                </a:spcBef>
                <a:buNone/>
              </a:pPr>
              <a:t>非感染症</a:t>
            </a:fld>
            <a:r>
              <a:rPr lang="ja-JP" altLang="en-US" dirty="0"/>
              <a:t>疾患</a:t>
            </a:r>
            <a:endParaRPr lang="ja-JP" altLang="en-US" dirty="0">
              <a:sym typeface="+mn-lt"/>
            </a:endParaRPr>
          </a:p>
        </p:txBody>
      </p:sp>
      <p:sp>
        <p:nvSpPr>
          <p:cNvPr id="37" name="テキスト ボックス 36"/>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感染症による死亡の占める割合が大きく、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にはま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による死亡が多くは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後半には死者</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時期もあった。その後、</a:t>
            </a:r>
            <a:r>
              <a:rPr lang="ja-JP" altLang="en-US" sz="1400" b="0" i="0" dirty="0">
                <a:solidFill>
                  <a:srgbClr val="333333"/>
                </a:solidFill>
                <a:effectLst/>
                <a:latin typeface="ヒラギノ角ゴ Pro W3"/>
              </a:rPr>
              <a:t>抗レトロウイルス薬の普及などにより、死亡者数は半分以下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19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当時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IV/AID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死者の報告はまだ</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程度にとどまってい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60">
            <a:extLst>
              <a:ext uri="{FF2B5EF4-FFF2-40B4-BE49-F238E27FC236}">
                <a16:creationId xmlns:a16="http://schemas.microsoft.com/office/drawing/2014/main" id="{340B1FB4-0FCE-4633-BC15-B8B9E007EE38}"/>
              </a:ext>
            </a:extLst>
          </p:cNvPr>
          <p:cNvGraphicFramePr/>
          <p:nvPr>
            <p:custDataLst>
              <p:tags r:id="rId7"/>
            </p:custDataLst>
            <p:extLst>
              <p:ext uri="{D42A27DB-BD31-4B8C-83A1-F6EECF244321}">
                <p14:modId xmlns:p14="http://schemas.microsoft.com/office/powerpoint/2010/main" val="1664081394"/>
              </p:ext>
            </p:extLst>
          </p:nvPr>
        </p:nvGraphicFramePr>
        <p:xfrm>
          <a:off x="5497513" y="3092450"/>
          <a:ext cx="3419475" cy="2324100"/>
        </p:xfrm>
        <a:graphic>
          <a:graphicData uri="http://schemas.openxmlformats.org/drawingml/2006/chart">
            <c:chart xmlns:c="http://schemas.openxmlformats.org/drawingml/2006/chart" xmlns:r="http://schemas.openxmlformats.org/officeDocument/2006/relationships" r:id="rId16"/>
          </a:graphicData>
        </a:graphic>
      </p:graphicFrame>
      <p:sp>
        <p:nvSpPr>
          <p:cNvPr id="54" name="テキスト プレースホルダ 9">
            <a:extLst>
              <a:ext uri="{FF2B5EF4-FFF2-40B4-BE49-F238E27FC236}">
                <a16:creationId xmlns:a16="http://schemas.microsoft.com/office/drawing/2014/main" id="{FF12D8CA-8DA4-4FA5-A1B3-919F3BB459AF}"/>
              </a:ext>
            </a:extLst>
          </p:cNvPr>
          <p:cNvSpPr>
            <a:spLocks noGrp="1"/>
          </p:cNvSpPr>
          <p:nvPr>
            <p:custDataLst>
              <p:tags r:id="rId8"/>
            </p:custDataLst>
          </p:nvPr>
        </p:nvSpPr>
        <p:spPr bwMode="auto">
          <a:xfrm>
            <a:off x="8070850" y="3336925"/>
            <a:ext cx="771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6147BD-90D6-471C-ACBA-EE248C2BDDBB}" type="datetime'''''HI''''''''V''''''''''/''''AI''''D''''''''''''''''''''S'''">
              <a:rPr lang="en-US" altLang="en-US" smtClean="0"/>
              <a:pPr/>
              <a:t>HIV/AIDS</a:t>
            </a:fld>
            <a:endParaRPr lang="ja-JP" altLang="en-US" dirty="0"/>
          </a:p>
        </p:txBody>
      </p:sp>
      <p:sp>
        <p:nvSpPr>
          <p:cNvPr id="55" name="テキスト プレースホルダ 9">
            <a:extLst>
              <a:ext uri="{FF2B5EF4-FFF2-40B4-BE49-F238E27FC236}">
                <a16:creationId xmlns:a16="http://schemas.microsoft.com/office/drawing/2014/main" id="{31848952-A41A-4D04-8362-8C5AAA90F502}"/>
              </a:ext>
            </a:extLst>
          </p:cNvPr>
          <p:cNvSpPr>
            <a:spLocks noGrp="1"/>
          </p:cNvSpPr>
          <p:nvPr>
            <p:custDataLst>
              <p:tags r:id="rId9"/>
            </p:custDataLst>
          </p:nvPr>
        </p:nvSpPr>
        <p:spPr bwMode="auto">
          <a:xfrm>
            <a:off x="8056562" y="4975225"/>
            <a:ext cx="1054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D89341-76DC-4420-A0E2-CF1B845F4705}" type="datetime'''''''''そ''''の他感''''''''''''''''染''''症'''''''''''''''''''''">
              <a:rPr lang="ja-JP" altLang="en-US" smtClean="0"/>
              <a:pPr/>
              <a:t>その他感染症</a:t>
            </a:fld>
            <a:endParaRPr lang="ja-JP" altLang="en-US" dirty="0"/>
          </a:p>
        </p:txBody>
      </p:sp>
      <p:sp>
        <p:nvSpPr>
          <p:cNvPr id="56" name="テキスト プレースホルダ 9">
            <a:extLst>
              <a:ext uri="{FF2B5EF4-FFF2-40B4-BE49-F238E27FC236}">
                <a16:creationId xmlns:a16="http://schemas.microsoft.com/office/drawing/2014/main" id="{389C8683-CC1B-412C-8D94-60D574332574}"/>
              </a:ext>
            </a:extLst>
          </p:cNvPr>
          <p:cNvSpPr>
            <a:spLocks noGrp="1"/>
          </p:cNvSpPr>
          <p:nvPr>
            <p:custDataLst>
              <p:tags r:id="rId10"/>
            </p:custDataLst>
          </p:nvPr>
        </p:nvSpPr>
        <p:spPr bwMode="auto">
          <a:xfrm>
            <a:off x="5601072" y="4972050"/>
            <a:ext cx="7112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62D324-5BDF-4308-81E9-D73B57634298}" type="datetime'''''''非''''''''''''''''''''''''''''感''''''染''''''''''''症'">
              <a:rPr lang="ja-JP" altLang="en-US" smtClean="0">
                <a:latin typeface="ＭＳ Ｐゴシック 本文"/>
              </a:rPr>
              <a:pPr/>
              <a:t>非感染症</a:t>
            </a:fld>
            <a:r>
              <a:rPr lang="ja-JP" altLang="en-US" dirty="0"/>
              <a:t>疾患</a:t>
            </a:r>
          </a:p>
        </p:txBody>
      </p:sp>
      <p:sp>
        <p:nvSpPr>
          <p:cNvPr id="57" name="テキスト プレースホルダ 9">
            <a:extLst>
              <a:ext uri="{FF2B5EF4-FFF2-40B4-BE49-F238E27FC236}">
                <a16:creationId xmlns:a16="http://schemas.microsoft.com/office/drawing/2014/main" id="{1C1E31E4-608A-4F5C-A627-3A9A3619BD80}"/>
              </a:ext>
            </a:extLst>
          </p:cNvPr>
          <p:cNvSpPr>
            <a:spLocks noGrp="1"/>
          </p:cNvSpPr>
          <p:nvPr>
            <p:custDataLst>
              <p:tags r:id="rId11"/>
            </p:custDataLst>
          </p:nvPr>
        </p:nvSpPr>
        <p:spPr bwMode="auto">
          <a:xfrm>
            <a:off x="6367463" y="2979738"/>
            <a:ext cx="533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7D2F2D-759E-4D0F-A5ED-428991EEF85E}" type="datetime'事''''''''故''''''''等'''''''''''''''''''''''''''''''''''''''''">
              <a:rPr lang="ja-JP" altLang="en-US" smtClean="0"/>
              <a:pPr/>
              <a:t>事故等</a:t>
            </a:fld>
            <a:endParaRPr lang="ja-JP" altLang="en-US" dirty="0"/>
          </a:p>
        </p:txBody>
      </p:sp>
    </p:spTree>
    <p:extLst>
      <p:ext uri="{BB962C8B-B14F-4D97-AF65-F5344CB8AC3E}">
        <p14:creationId xmlns:p14="http://schemas.microsoft.com/office/powerpoint/2010/main" val="1649513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568277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0" imgW="360" imgH="360" progId="TCLayout.ActiveDocument.1">
                  <p:embed/>
                </p:oleObj>
              </mc:Choice>
              <mc:Fallback>
                <p:oleObj name="think-cell Slide" r:id="rId100" imgW="360" imgH="360" progId="TCLayout.ActiveDocument.1">
                  <p:embed/>
                  <p:pic>
                    <p:nvPicPr>
                      <p:cNvPr id="4" name="Object 3" hidden="1"/>
                      <p:cNvPicPr>
                        <a:picLocks noChangeAspect="1" noChangeArrowheads="1"/>
                      </p:cNvPicPr>
                      <p:nvPr/>
                    </p:nvPicPr>
                    <p:blipFill>
                      <a:blip r:embed="rId10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0025" y="1926551"/>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一時期よりは減少したとはい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での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に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非感染症は心血管疾患と新生物が変わらず多いが、糖尿病・腎臓疾患も比率を高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6" name="Straight Connector 35">
            <a:extLst>
              <a:ext uri="{FF2B5EF4-FFF2-40B4-BE49-F238E27FC236}">
                <a16:creationId xmlns:a16="http://schemas.microsoft.com/office/drawing/2014/main" id="{B2BA652F-2865-4A6F-85DF-D29832CC22A1}"/>
              </a:ext>
            </a:extLst>
          </p:cNvPr>
          <p:cNvCxnSpPr>
            <a:cxnSpLocks/>
          </p:cNvCxnSpPr>
          <p:nvPr>
            <p:custDataLst>
              <p:tags r:id="rId3"/>
            </p:custDataLst>
          </p:nvPr>
        </p:nvCxnSpPr>
        <p:spPr bwMode="auto">
          <a:xfrm flipV="1">
            <a:off x="903288" y="4489450"/>
            <a:ext cx="15875" cy="730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F786749-3690-47BA-B977-254CED27585B}"/>
              </a:ext>
            </a:extLst>
          </p:cNvPr>
          <p:cNvCxnSpPr>
            <a:cxnSpLocks/>
          </p:cNvCxnSpPr>
          <p:nvPr>
            <p:custDataLst>
              <p:tags r:id="rId4"/>
            </p:custDataLst>
          </p:nvPr>
        </p:nvCxnSpPr>
        <p:spPr bwMode="auto">
          <a:xfrm flipV="1">
            <a:off x="903288" y="3094038"/>
            <a:ext cx="358775" cy="1681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374129-958A-4FCE-8CAE-CD556A452F3D}"/>
              </a:ext>
            </a:extLst>
          </p:cNvPr>
          <p:cNvCxnSpPr>
            <a:cxnSpLocks/>
          </p:cNvCxnSpPr>
          <p:nvPr>
            <p:custDataLst>
              <p:tags r:id="rId5"/>
            </p:custDataLst>
          </p:nvPr>
        </p:nvCxnSpPr>
        <p:spPr bwMode="auto">
          <a:xfrm flipV="1">
            <a:off x="903288" y="4489450"/>
            <a:ext cx="19050" cy="809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C04F8A2C-A9E7-42CB-B850-D63AB652E2D3}"/>
              </a:ext>
            </a:extLst>
          </p:cNvPr>
          <p:cNvCxnSpPr/>
          <p:nvPr>
            <p:custDataLst>
              <p:tags r:id="rId6"/>
            </p:custDataLst>
          </p:nvPr>
        </p:nvCxnSpPr>
        <p:spPr bwMode="auto">
          <a:xfrm flipV="1">
            <a:off x="903288" y="4170363"/>
            <a:ext cx="358775" cy="18510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87A1B34E-1C09-4A17-A1C2-117B3F19AB96}"/>
              </a:ext>
            </a:extLst>
          </p:cNvPr>
          <p:cNvCxnSpPr/>
          <p:nvPr>
            <p:custDataLst>
              <p:tags r:id="rId7"/>
            </p:custDataLst>
          </p:nvPr>
        </p:nvCxnSpPr>
        <p:spPr bwMode="auto">
          <a:xfrm flipV="1">
            <a:off x="903288" y="3276600"/>
            <a:ext cx="358775" cy="1809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37E27687-5B59-4454-A121-5F48504A0F22}"/>
              </a:ext>
            </a:extLst>
          </p:cNvPr>
          <p:cNvCxnSpPr>
            <a:cxnSpLocks/>
          </p:cNvCxnSpPr>
          <p:nvPr>
            <p:custDataLst>
              <p:tags r:id="rId8"/>
            </p:custDataLst>
          </p:nvPr>
        </p:nvCxnSpPr>
        <p:spPr bwMode="auto">
          <a:xfrm flipV="1">
            <a:off x="930274" y="2974975"/>
            <a:ext cx="331788" cy="14684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358DA928-767C-4DB3-9EA5-25E087DDCE2B}"/>
              </a:ext>
            </a:extLst>
          </p:cNvPr>
          <p:cNvCxnSpPr/>
          <p:nvPr>
            <p:custDataLst>
              <p:tags r:id="rId9"/>
            </p:custDataLst>
          </p:nvPr>
        </p:nvCxnSpPr>
        <p:spPr bwMode="auto">
          <a:xfrm flipV="1">
            <a:off x="903288" y="3009899"/>
            <a:ext cx="358775" cy="16319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0BEFA9A-98B4-4905-9F23-B5341CDC36AC}"/>
              </a:ext>
            </a:extLst>
          </p:cNvPr>
          <p:cNvCxnSpPr>
            <a:cxnSpLocks/>
          </p:cNvCxnSpPr>
          <p:nvPr>
            <p:custDataLst>
              <p:tags r:id="rId10"/>
            </p:custDataLst>
          </p:nvPr>
        </p:nvCxnSpPr>
        <p:spPr bwMode="auto">
          <a:xfrm flipV="1">
            <a:off x="930274" y="2982913"/>
            <a:ext cx="331788" cy="14684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C1E45C1-670F-474D-BC67-47B98D1C98E0}"/>
              </a:ext>
            </a:extLst>
          </p:cNvPr>
          <p:cNvCxnSpPr/>
          <p:nvPr>
            <p:custDataLst>
              <p:tags r:id="rId11"/>
            </p:custDataLst>
          </p:nvPr>
        </p:nvCxnSpPr>
        <p:spPr bwMode="auto">
          <a:xfrm flipV="1">
            <a:off x="903288" y="3522663"/>
            <a:ext cx="358775" cy="18637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7" name="Chart 166">
            <a:extLst>
              <a:ext uri="{FF2B5EF4-FFF2-40B4-BE49-F238E27FC236}">
                <a16:creationId xmlns:a16="http://schemas.microsoft.com/office/drawing/2014/main" id="{149676C1-E6F8-4549-A2CE-BF28E82E9AF3}"/>
              </a:ext>
            </a:extLst>
          </p:cNvPr>
          <p:cNvGraphicFramePr/>
          <p:nvPr>
            <p:custDataLst>
              <p:tags r:id="rId12"/>
            </p:custDataLst>
            <p:extLst>
              <p:ext uri="{D42A27DB-BD31-4B8C-83A1-F6EECF244321}">
                <p14:modId xmlns:p14="http://schemas.microsoft.com/office/powerpoint/2010/main" val="4016935598"/>
              </p:ext>
            </p:extLst>
          </p:nvPr>
        </p:nvGraphicFramePr>
        <p:xfrm>
          <a:off x="190500" y="2892425"/>
          <a:ext cx="1784350" cy="3298825"/>
        </p:xfrm>
        <a:graphic>
          <a:graphicData uri="http://schemas.openxmlformats.org/drawingml/2006/chart">
            <c:chart xmlns:c="http://schemas.openxmlformats.org/drawingml/2006/chart" xmlns:r="http://schemas.openxmlformats.org/officeDocument/2006/relationships" r:id="rId102"/>
          </a:graphicData>
        </a:graphic>
      </p:graphicFrame>
      <p:cxnSp>
        <p:nvCxnSpPr>
          <p:cNvPr id="42" name="Straight Connector 41">
            <a:extLst>
              <a:ext uri="{FF2B5EF4-FFF2-40B4-BE49-F238E27FC236}">
                <a16:creationId xmlns:a16="http://schemas.microsoft.com/office/drawing/2014/main" id="{40B4888F-AD52-4AB0-9779-AF0AEEA9F0F0}"/>
              </a:ext>
            </a:extLst>
          </p:cNvPr>
          <p:cNvCxnSpPr>
            <a:cxnSpLocks/>
          </p:cNvCxnSpPr>
          <p:nvPr>
            <p:custDataLst>
              <p:tags r:id="rId13"/>
            </p:custDataLst>
          </p:nvPr>
        </p:nvCxnSpPr>
        <p:spPr bwMode="auto">
          <a:xfrm flipH="1" flipV="1">
            <a:off x="1739900" y="3846513"/>
            <a:ext cx="49213" cy="5254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71D94FF8-55D3-45A2-81E4-40C1D5459BD2}"/>
              </a:ext>
            </a:extLst>
          </p:cNvPr>
          <p:cNvCxnSpPr>
            <a:cxnSpLocks/>
          </p:cNvCxnSpPr>
          <p:nvPr>
            <p:custDataLst>
              <p:tags r:id="rId14"/>
            </p:custDataLst>
          </p:nvPr>
        </p:nvCxnSpPr>
        <p:spPr bwMode="auto">
          <a:xfrm flipH="1" flipV="1">
            <a:off x="1739900" y="3398838"/>
            <a:ext cx="49213" cy="7699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D2532A80-447B-4AB2-B9C0-06345E6DE7FE}"/>
              </a:ext>
            </a:extLst>
          </p:cNvPr>
          <p:cNvCxnSpPr>
            <a:cxnSpLocks/>
          </p:cNvCxnSpPr>
          <p:nvPr>
            <p:custDataLst>
              <p:tags r:id="rId15"/>
            </p:custDataLst>
          </p:nvPr>
        </p:nvCxnSpPr>
        <p:spPr bwMode="auto">
          <a:xfrm flipH="1" flipV="1">
            <a:off x="1655763" y="2978150"/>
            <a:ext cx="73025" cy="352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BDA338E-6255-4778-B959-9C2AFA4D6160}"/>
              </a:ext>
            </a:extLst>
          </p:cNvPr>
          <p:cNvCxnSpPr>
            <a:cxnSpLocks/>
          </p:cNvCxnSpPr>
          <p:nvPr>
            <p:custDataLst>
              <p:tags r:id="rId16"/>
            </p:custDataLst>
          </p:nvPr>
        </p:nvCxnSpPr>
        <p:spPr bwMode="auto">
          <a:xfrm flipH="1" flipV="1">
            <a:off x="1739900" y="2978150"/>
            <a:ext cx="49213" cy="149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9BBBD71-2814-4216-B363-BEF0BB4D6B46}"/>
              </a:ext>
            </a:extLst>
          </p:cNvPr>
          <p:cNvCxnSpPr>
            <a:cxnSpLocks/>
          </p:cNvCxnSpPr>
          <p:nvPr>
            <p:custDataLst>
              <p:tags r:id="rId17"/>
            </p:custDataLst>
          </p:nvPr>
        </p:nvCxnSpPr>
        <p:spPr bwMode="auto">
          <a:xfrm flipH="1" flipV="1">
            <a:off x="1739900" y="2995613"/>
            <a:ext cx="49213" cy="563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79C4F78-40DE-4517-B85B-0736481EE124}"/>
              </a:ext>
            </a:extLst>
          </p:cNvPr>
          <p:cNvCxnSpPr>
            <a:cxnSpLocks/>
          </p:cNvCxnSpPr>
          <p:nvPr>
            <p:custDataLst>
              <p:tags r:id="rId18"/>
            </p:custDataLst>
          </p:nvPr>
        </p:nvCxnSpPr>
        <p:spPr bwMode="auto">
          <a:xfrm flipH="1" flipV="1">
            <a:off x="1739900" y="3051175"/>
            <a:ext cx="49213" cy="711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9E3346B-26AE-40B9-A0BD-4DDCA54EB9E7}"/>
              </a:ext>
            </a:extLst>
          </p:cNvPr>
          <p:cNvCxnSpPr>
            <a:cxnSpLocks/>
          </p:cNvCxnSpPr>
          <p:nvPr>
            <p:custDataLst>
              <p:tags r:id="rId19"/>
            </p:custDataLst>
          </p:nvPr>
        </p:nvCxnSpPr>
        <p:spPr bwMode="auto">
          <a:xfrm flipH="1" flipV="1">
            <a:off x="1739900" y="3184525"/>
            <a:ext cx="49213" cy="7810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0" name="テキスト プレースホルダ 9">
            <a:extLst>
              <a:ext uri="{FF2B5EF4-FFF2-40B4-BE49-F238E27FC236}">
                <a16:creationId xmlns:a16="http://schemas.microsoft.com/office/drawing/2014/main" id="{D1E40BBD-4218-4F6E-B601-60A93A864C50}"/>
              </a:ext>
            </a:extLst>
          </p:cNvPr>
          <p:cNvSpPr>
            <a:spLocks noGrp="1"/>
          </p:cNvSpPr>
          <p:nvPr>
            <p:custDataLst>
              <p:tags r:id="rId20"/>
            </p:custDataLst>
          </p:nvPr>
        </p:nvSpPr>
        <p:spPr bwMode="gray">
          <a:xfrm>
            <a:off x="1728788" y="333057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677A9A-82C0-4B05-9B91-56EB3F2E3137}" type="datetime'''''''''''''''''''0''''''''''''''''''''''''''''%'''''''''">
              <a:rPr lang="en-US" altLang="en-US" sz="1000" smtClean="0">
                <a:effectLst/>
              </a:rPr>
              <a:pPr marL="0" indent="0">
                <a:spcBef>
                  <a:spcPct val="0"/>
                </a:spcBef>
                <a:buNone/>
              </a:pPr>
              <a:t>0%</a:t>
            </a:fld>
            <a:endParaRPr lang="ja-JP" altLang="en-US" sz="1000" dirty="0"/>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21"/>
            </p:custDataLst>
          </p:nvPr>
        </p:nvSpPr>
        <p:spPr bwMode="auto">
          <a:xfrm>
            <a:off x="1814513" y="348297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9C223E-090A-4EFC-9E71-C1FDE7F21829}" type="datetime'''''''''栄''''''''''''''養''''''''''''''''''''''''失''''''''''調'">
              <a:rPr lang="ja-JP" altLang="en-US" sz="1000" smtClean="0"/>
              <a:pPr/>
              <a:t>栄養失調</a:t>
            </a:fld>
            <a:endParaRPr lang="ja-JP" altLang="en-US" sz="1000" dirty="0"/>
          </a:p>
        </p:txBody>
      </p:sp>
      <p:sp>
        <p:nvSpPr>
          <p:cNvPr id="81" name="テキスト プレースホルダ 9">
            <a:extLst>
              <a:ext uri="{FF2B5EF4-FFF2-40B4-BE49-F238E27FC236}">
                <a16:creationId xmlns:a16="http://schemas.microsoft.com/office/drawing/2014/main" id="{83E88E3C-81C5-45D0-9E9A-1630A8A6EB91}"/>
              </a:ext>
            </a:extLst>
          </p:cNvPr>
          <p:cNvSpPr>
            <a:spLocks noGrp="1"/>
          </p:cNvSpPr>
          <p:nvPr>
            <p:custDataLst>
              <p:tags r:id="rId22"/>
            </p:custDataLst>
          </p:nvPr>
        </p:nvSpPr>
        <p:spPr bwMode="gray">
          <a:xfrm>
            <a:off x="1266825" y="291941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077714-1B5A-4D34-A624-4DD9F3E3B5FE}" type="datetime'''1''''%'''''''''''''''''''''''''''''''''''''''''''''''''''">
              <a:rPr lang="en-US" altLang="en-US" sz="1000" smtClean="0">
                <a:effectLst/>
              </a:rPr>
              <a:pPr/>
              <a:t>1%</a:t>
            </a:fld>
            <a:endParaRPr lang="ja-JP" altLang="en-US" sz="1000" dirty="0"/>
          </a:p>
        </p:txBody>
      </p:sp>
      <p:sp>
        <p:nvSpPr>
          <p:cNvPr id="83" name="テキスト プレースホルダ 9">
            <a:extLst>
              <a:ext uri="{FF2B5EF4-FFF2-40B4-BE49-F238E27FC236}">
                <a16:creationId xmlns:a16="http://schemas.microsoft.com/office/drawing/2014/main" id="{13652D69-4319-4DA6-AC40-9E9982BD864D}"/>
              </a:ext>
            </a:extLst>
          </p:cNvPr>
          <p:cNvSpPr>
            <a:spLocks noGrp="1"/>
          </p:cNvSpPr>
          <p:nvPr>
            <p:custDataLst>
              <p:tags r:id="rId23"/>
            </p:custDataLst>
          </p:nvPr>
        </p:nvSpPr>
        <p:spPr bwMode="gray">
          <a:xfrm>
            <a:off x="1266825" y="310832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4A0F41-B40F-4E0E-B69B-D81C8E319674}" type="datetime'6''''''''''''''''''''''''%'''''">
              <a:rPr lang="en-US" altLang="en-US" sz="1000" smtClean="0">
                <a:solidFill>
                  <a:schemeClr val="bg1"/>
                </a:solidFill>
              </a:rPr>
              <a:pPr marL="0" indent="0" algn="ctr">
                <a:spcBef>
                  <a:spcPct val="0"/>
                </a:spcBef>
                <a:buNone/>
              </a:pPr>
              <a:t>6%</a:t>
            </a:fld>
            <a:endParaRPr lang="ja-JP" altLang="en-US" sz="1000" dirty="0">
              <a:solidFill>
                <a:schemeClr val="bg1"/>
              </a:solidFill>
            </a:endParaRPr>
          </a:p>
        </p:txBody>
      </p:sp>
      <p:sp>
        <p:nvSpPr>
          <p:cNvPr id="61" name="テキスト プレースホルダ 9">
            <a:extLst>
              <a:ext uri="{FF2B5EF4-FFF2-40B4-BE49-F238E27FC236}">
                <a16:creationId xmlns:a16="http://schemas.microsoft.com/office/drawing/2014/main" id="{703382F1-6E28-4E2F-9B3D-2315EDE0FB51}"/>
              </a:ext>
            </a:extLst>
          </p:cNvPr>
          <p:cNvSpPr>
            <a:spLocks noGrp="1"/>
          </p:cNvSpPr>
          <p:nvPr>
            <p:custDataLst>
              <p:tags r:id="rId24"/>
            </p:custDataLst>
          </p:nvPr>
        </p:nvSpPr>
        <p:spPr bwMode="gray">
          <a:xfrm>
            <a:off x="534988" y="51593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C54178-6B0E-4250-9CDE-017EB5761E72}" type="datetime'''''''''''1''''''''''''''''''''''''9''''''''''''''%'''''''''">
              <a:rPr lang="en-US" altLang="en-US" sz="1000" smtClean="0">
                <a:solidFill>
                  <a:schemeClr val="bg1"/>
                </a:solidFill>
              </a:rPr>
              <a:pPr marL="0" indent="0" algn="ctr">
                <a:spcBef>
                  <a:spcPct val="0"/>
                </a:spcBef>
                <a:buNone/>
              </a:pPr>
              <a:t>19%</a:t>
            </a:fld>
            <a:endParaRPr lang="ja-JP" altLang="en-US" sz="1000" dirty="0">
              <a:solidFill>
                <a:schemeClr val="bg1"/>
              </a:solidFill>
            </a:endParaRPr>
          </a:p>
        </p:txBody>
      </p:sp>
      <p:sp>
        <p:nvSpPr>
          <p:cNvPr id="84" name="テキスト プレースホルダ 9">
            <a:extLst>
              <a:ext uri="{FF2B5EF4-FFF2-40B4-BE49-F238E27FC236}">
                <a16:creationId xmlns:a16="http://schemas.microsoft.com/office/drawing/2014/main" id="{E63D288F-33D3-4A5C-9D54-27DA2A3E4C4C}"/>
              </a:ext>
            </a:extLst>
          </p:cNvPr>
          <p:cNvSpPr>
            <a:spLocks noGrp="1"/>
          </p:cNvSpPr>
          <p:nvPr>
            <p:custDataLst>
              <p:tags r:id="rId25"/>
            </p:custDataLst>
          </p:nvPr>
        </p:nvSpPr>
        <p:spPr bwMode="gray">
          <a:xfrm>
            <a:off x="1379538" y="33226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0A06AB-7BBD-46CB-B1B1-551554F9B301}" type="datetime'''''''''''''8''''''''''''''''''''''''''''%'''''''''''''''''">
              <a:rPr lang="en-US" altLang="en-US" sz="1000" smtClean="0">
                <a:solidFill>
                  <a:schemeClr val="bg1"/>
                </a:solidFill>
              </a:rPr>
              <a:pPr marL="0" indent="0" algn="ctr">
                <a:spcBef>
                  <a:spcPct val="0"/>
                </a:spcBef>
                <a:buNone/>
              </a:pPr>
              <a:t>8%</a:t>
            </a:fld>
            <a:endParaRPr lang="ja-JP" altLang="en-US" sz="1000" dirty="0">
              <a:solidFill>
                <a:schemeClr val="bg1"/>
              </a:solidFill>
            </a:endParaRPr>
          </a:p>
        </p:txBody>
      </p:sp>
      <p:sp>
        <p:nvSpPr>
          <p:cNvPr id="85" name="テキスト プレースホルダ 9">
            <a:extLst>
              <a:ext uri="{FF2B5EF4-FFF2-40B4-BE49-F238E27FC236}">
                <a16:creationId xmlns:a16="http://schemas.microsoft.com/office/drawing/2014/main" id="{580E2BA2-8C66-49F5-A149-3344156A3DF3}"/>
              </a:ext>
            </a:extLst>
          </p:cNvPr>
          <p:cNvSpPr>
            <a:spLocks noGrp="1"/>
          </p:cNvSpPr>
          <p:nvPr>
            <p:custDataLst>
              <p:tags r:id="rId26"/>
            </p:custDataLst>
          </p:nvPr>
        </p:nvSpPr>
        <p:spPr bwMode="gray">
          <a:xfrm>
            <a:off x="1344613" y="37703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6AE0B-41BB-477A-8205-C2CD190D6F54}" type="datetime'''''''''''''''2''''1''''''''''''''''''''''''''''''''''''%'">
              <a:rPr lang="en-US" altLang="en-US" sz="1000" smtClean="0">
                <a:solidFill>
                  <a:schemeClr val="bg1"/>
                </a:solidFill>
              </a:rPr>
              <a:pPr marL="0" indent="0" algn="ctr">
                <a:spcBef>
                  <a:spcPct val="0"/>
                </a:spcBef>
                <a:buNone/>
              </a:pPr>
              <a:t>21%</a:t>
            </a:fld>
            <a:endParaRPr lang="ja-JP" altLang="en-US" sz="1000" dirty="0">
              <a:solidFill>
                <a:schemeClr val="bg1"/>
              </a:solidFill>
            </a:endParaRPr>
          </a:p>
        </p:txBody>
      </p:sp>
      <p:sp>
        <p:nvSpPr>
          <p:cNvPr id="56" name="テキスト プレースホルダ 9">
            <a:extLst>
              <a:ext uri="{FF2B5EF4-FFF2-40B4-BE49-F238E27FC236}">
                <a16:creationId xmlns:a16="http://schemas.microsoft.com/office/drawing/2014/main" id="{250534F1-99F9-4D60-9E09-8428056216FF}"/>
              </a:ext>
            </a:extLst>
          </p:cNvPr>
          <p:cNvSpPr>
            <a:spLocks noGrp="1"/>
          </p:cNvSpPr>
          <p:nvPr>
            <p:custDataLst>
              <p:tags r:id="rId27"/>
            </p:custDataLst>
          </p:nvPr>
        </p:nvSpPr>
        <p:spPr bwMode="gray">
          <a:xfrm>
            <a:off x="457200" y="4489450"/>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DCC7DA-2608-4CB0-9B1A-A0D392965595}" type="datetime'''''''0''''''''''''''%'''''''''''''''''''''''''''''''''''">
              <a:rPr lang="en-US" altLang="en-US" sz="1000" smtClean="0">
                <a:solidFill>
                  <a:schemeClr val="bg1"/>
                </a:solidFill>
              </a:rPr>
              <a:pPr marL="0" indent="0" algn="ctr">
                <a:spcBef>
                  <a:spcPct val="0"/>
                </a:spcBef>
                <a:buNone/>
              </a:pPr>
              <a:t>0%</a:t>
            </a:fld>
            <a:endParaRPr lang="ja-JP" altLang="en-US" sz="1000" dirty="0">
              <a:solidFill>
                <a:schemeClr val="bg1"/>
              </a:solidFill>
            </a:endParaRPr>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28"/>
            </p:custDataLst>
          </p:nvPr>
        </p:nvSpPr>
        <p:spPr bwMode="auto">
          <a:xfrm>
            <a:off x="1341438" y="6183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pPr/>
              <a:t>2019</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29"/>
            </p:custDataLst>
          </p:nvPr>
        </p:nvSpPr>
        <p:spPr bwMode="auto">
          <a:xfrm>
            <a:off x="1814513" y="2974975"/>
            <a:ext cx="9048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1B24BDC-F683-43AA-AB65-52EB1C7352F0}" type="datetime'顧''''''み''''''''られ''''ない''&#10;''''熱帯''病と''''マラ''リ''ア'''''">
              <a:rPr lang="ja-JP" altLang="en-US" sz="1000" smtClean="0"/>
              <a:pPr/>
              <a:t>顧みられない
熱帯病とマラリア</a:t>
            </a:fld>
            <a:endParaRPr lang="ja-JP" altLang="en-US" sz="1000" dirty="0"/>
          </a:p>
        </p:txBody>
      </p:sp>
      <p:sp>
        <p:nvSpPr>
          <p:cNvPr id="63" name="テキスト プレースホルダ 9">
            <a:extLst>
              <a:ext uri="{FF2B5EF4-FFF2-40B4-BE49-F238E27FC236}">
                <a16:creationId xmlns:a16="http://schemas.microsoft.com/office/drawing/2014/main" id="{54B62B2E-D537-4306-9A5A-9272378C70C2}"/>
              </a:ext>
            </a:extLst>
          </p:cNvPr>
          <p:cNvSpPr>
            <a:spLocks noGrp="1"/>
          </p:cNvSpPr>
          <p:nvPr>
            <p:custDataLst>
              <p:tags r:id="rId30"/>
            </p:custDataLst>
          </p:nvPr>
        </p:nvSpPr>
        <p:spPr bwMode="gray">
          <a:xfrm>
            <a:off x="569913" y="5988050"/>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7A1AB0-3E4B-4DE6-B24F-7DCC4B573920}" type="datetime'''''''''''''''''''''''6''%'''''''''''''''">
              <a:rPr lang="en-US" altLang="en-US" sz="1000" smtClean="0">
                <a:solidFill>
                  <a:schemeClr val="bg1"/>
                </a:solidFill>
              </a:rPr>
              <a:pPr marL="0" indent="0" algn="ctr">
                <a:spcBef>
                  <a:spcPct val="0"/>
                </a:spcBef>
                <a:buNone/>
              </a:pPr>
              <a:t>6%</a:t>
            </a:fld>
            <a:endParaRPr lang="ja-JP" altLang="en-US" sz="1000" dirty="0">
              <a:solidFill>
                <a:schemeClr val="bg1"/>
              </a:solidFill>
            </a:endParaRPr>
          </a:p>
        </p:txBody>
      </p:sp>
      <p:sp>
        <p:nvSpPr>
          <p:cNvPr id="58" name="テキスト プレースホルダ 9">
            <a:extLst>
              <a:ext uri="{FF2B5EF4-FFF2-40B4-BE49-F238E27FC236}">
                <a16:creationId xmlns:a16="http://schemas.microsoft.com/office/drawing/2014/main" id="{1DDE3C88-92E8-409E-8C3C-15DFCFB07EF0}"/>
              </a:ext>
            </a:extLst>
          </p:cNvPr>
          <p:cNvSpPr>
            <a:spLocks noGrp="1"/>
          </p:cNvSpPr>
          <p:nvPr>
            <p:custDataLst>
              <p:tags r:id="rId31"/>
            </p:custDataLst>
          </p:nvPr>
        </p:nvSpPr>
        <p:spPr bwMode="gray">
          <a:xfrm>
            <a:off x="682625" y="4529138"/>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E83857-9D9C-4CFB-AA4B-80CEBC8D0068}" type="datetime'''5''''''''''''''''''''%'''">
              <a:rPr lang="en-US" altLang="en-US" sz="1000" smtClean="0"/>
              <a:pPr marL="0" indent="0" algn="ctr">
                <a:spcBef>
                  <a:spcPct val="0"/>
                </a:spcBef>
                <a:buNone/>
              </a:pPr>
              <a:t>5%</a:t>
            </a:fld>
            <a:endParaRPr lang="ja-JP" altLang="en-US" sz="1000" dirty="0"/>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32"/>
            </p:custDataLst>
          </p:nvPr>
        </p:nvSpPr>
        <p:spPr bwMode="auto">
          <a:xfrm>
            <a:off x="1814514" y="3686175"/>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3F8E97-A7F8-4A17-A46C-0E23C4F63743}" type="datetime'''''''''''''そ''''''''''''''の他''''''''の感''''染''''症'''''''''''''">
              <a:rPr lang="ja-JP" altLang="en-US" sz="1000" smtClean="0"/>
              <a:pPr/>
              <a:t>その他の感染症</a:t>
            </a:fld>
            <a:endParaRPr lang="ja-JP" altLang="en-US" sz="1000" dirty="0"/>
          </a:p>
        </p:txBody>
      </p:sp>
      <p:sp>
        <p:nvSpPr>
          <p:cNvPr id="86" name="テキスト プレースホルダ 9">
            <a:extLst>
              <a:ext uri="{FF2B5EF4-FFF2-40B4-BE49-F238E27FC236}">
                <a16:creationId xmlns:a16="http://schemas.microsoft.com/office/drawing/2014/main" id="{3D3C9A16-9E9F-46AB-B94D-FB312DEF4A8C}"/>
              </a:ext>
            </a:extLst>
          </p:cNvPr>
          <p:cNvSpPr>
            <a:spLocks noGrp="1"/>
          </p:cNvSpPr>
          <p:nvPr>
            <p:custDataLst>
              <p:tags r:id="rId33"/>
            </p:custDataLst>
          </p:nvPr>
        </p:nvSpPr>
        <p:spPr bwMode="gray">
          <a:xfrm>
            <a:off x="1344613" y="50625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D695DE-9D0F-431D-A8B8-9B5C11DC080F}" type="datetime'''''''''''''''''''''''''''62''''%'''">
              <a:rPr lang="en-US" altLang="en-US" sz="1000" smtClean="0">
                <a:solidFill>
                  <a:schemeClr val="bg1"/>
                </a:solidFill>
              </a:rPr>
              <a:pPr marL="0" indent="0" algn="ctr">
                <a:spcBef>
                  <a:spcPct val="0"/>
                </a:spcBef>
                <a:buNone/>
              </a:pPr>
              <a:t>62%</a:t>
            </a:fld>
            <a:endParaRPr lang="ja-JP" altLang="en-US" sz="1000" dirty="0">
              <a:solidFill>
                <a:schemeClr val="bg1"/>
              </a:solidFill>
            </a:endParaRPr>
          </a:p>
        </p:txBody>
      </p:sp>
      <p:sp>
        <p:nvSpPr>
          <p:cNvPr id="59" name="テキスト プレースホルダ 9">
            <a:extLst>
              <a:ext uri="{FF2B5EF4-FFF2-40B4-BE49-F238E27FC236}">
                <a16:creationId xmlns:a16="http://schemas.microsoft.com/office/drawing/2014/main" id="{73B62ABA-64C1-4D85-BF34-3F2919D633F0}"/>
              </a:ext>
            </a:extLst>
          </p:cNvPr>
          <p:cNvSpPr>
            <a:spLocks noGrp="1"/>
          </p:cNvSpPr>
          <p:nvPr>
            <p:custDataLst>
              <p:tags r:id="rId34"/>
            </p:custDataLst>
          </p:nvPr>
        </p:nvSpPr>
        <p:spPr bwMode="gray">
          <a:xfrm>
            <a:off x="457200" y="4632325"/>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58985C-F3A2-48BB-9E77-3299049AB0EB}" type="datetime'''9''%'''''''''''''''''''''''''''''''">
              <a:rPr lang="en-US" altLang="en-US" sz="1000" smtClean="0">
                <a:effectLst/>
              </a:rPr>
              <a:pPr marL="0" indent="0" algn="ctr">
                <a:spcBef>
                  <a:spcPct val="0"/>
                </a:spcBef>
                <a:buNone/>
              </a:pPr>
              <a:t>9%</a:t>
            </a:fld>
            <a:endParaRPr lang="ja-JP" altLang="en-US" sz="1000" dirty="0"/>
          </a:p>
        </p:txBody>
      </p:sp>
      <p:sp>
        <p:nvSpPr>
          <p:cNvPr id="62" name="テキスト プレースホルダ 9">
            <a:extLst>
              <a:ext uri="{FF2B5EF4-FFF2-40B4-BE49-F238E27FC236}">
                <a16:creationId xmlns:a16="http://schemas.microsoft.com/office/drawing/2014/main" id="{78FF572F-3382-408A-9A66-D43D333E0D5E}"/>
              </a:ext>
            </a:extLst>
          </p:cNvPr>
          <p:cNvSpPr>
            <a:spLocks noGrp="1"/>
          </p:cNvSpPr>
          <p:nvPr>
            <p:custDataLst>
              <p:tags r:id="rId35"/>
            </p:custDataLst>
          </p:nvPr>
        </p:nvSpPr>
        <p:spPr bwMode="gray">
          <a:xfrm>
            <a:off x="534988" y="56276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287710-4699-4932-8444-475FB7D67B7F}" type="datetime'''''''''''''''''''4''''''''1''%'''''''''''''">
              <a:rPr lang="en-US" altLang="en-US" sz="1000" smtClean="0">
                <a:solidFill>
                  <a:schemeClr val="bg1"/>
                </a:solidFill>
              </a:rPr>
              <a:pPr marL="0" indent="0" algn="ctr">
                <a:spcBef>
                  <a:spcPct val="0"/>
                </a:spcBef>
                <a:buNone/>
              </a:pPr>
              <a:t>41%</a:t>
            </a:fld>
            <a:endParaRPr lang="ja-JP" altLang="en-US" sz="1000" dirty="0">
              <a:solidFill>
                <a:schemeClr val="bg1"/>
              </a:solidFill>
            </a:endParaRPr>
          </a:p>
        </p:txBody>
      </p: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36"/>
            </p:custDataLst>
          </p:nvPr>
        </p:nvSpPr>
        <p:spPr bwMode="auto">
          <a:xfrm>
            <a:off x="1814513" y="38893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AFDF7C-CB5C-4FFA-843D-820D0DF82633}" type="datetime'''''''''''''''''''''腸''管''感''''''''''''''''''''''''''''染症'''''">
              <a:rPr lang="ja-JP" altLang="en-US" sz="1000" smtClean="0"/>
              <a:pPr/>
              <a:t>腸管感染症</a:t>
            </a:fld>
            <a:endParaRPr lang="ja-JP" altLang="en-US" sz="1000" dirty="0"/>
          </a:p>
        </p:txBody>
      </p:sp>
      <p:sp>
        <p:nvSpPr>
          <p:cNvPr id="82" name="テキスト プレースホルダ 9">
            <a:extLst>
              <a:ext uri="{FF2B5EF4-FFF2-40B4-BE49-F238E27FC236}">
                <a16:creationId xmlns:a16="http://schemas.microsoft.com/office/drawing/2014/main" id="{ED54A791-A457-4EE8-91BD-09FEA0C90EAA}"/>
              </a:ext>
            </a:extLst>
          </p:cNvPr>
          <p:cNvSpPr>
            <a:spLocks noGrp="1"/>
          </p:cNvSpPr>
          <p:nvPr>
            <p:custDataLst>
              <p:tags r:id="rId37"/>
            </p:custDataLst>
          </p:nvPr>
        </p:nvSpPr>
        <p:spPr bwMode="gray">
          <a:xfrm>
            <a:off x="1492250" y="2974975"/>
            <a:ext cx="217488"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B81EA2-2225-49D4-BF51-86B9AE7DF248}" type="datetime'''''''''''''''''''''''''''3''''''''''''''%'''''''''">
              <a:rPr lang="en-US" altLang="en-US" sz="1000" smtClean="0">
                <a:effectLst/>
              </a:rPr>
              <a:pPr/>
              <a:t>3%</a:t>
            </a:fld>
            <a:endParaRPr lang="ja-JP" altLang="en-US" sz="1000" dirty="0"/>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38"/>
            </p:custDataLst>
          </p:nvPr>
        </p:nvSpPr>
        <p:spPr bwMode="auto">
          <a:xfrm>
            <a:off x="1814512" y="4295775"/>
            <a:ext cx="1079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D5D63F-15AA-4F17-B66C-DF6C4CF9415F}" type="datetime'呼吸化''''''''感染''''''''''''''''''''''''''症・''''結核'''''''''">
              <a:rPr lang="ja-JP" altLang="en-US" sz="1000" smtClean="0"/>
              <a:pPr/>
              <a:t>呼吸化感染症・結核</a:t>
            </a:fld>
            <a:endParaRPr lang="ja-JP" altLang="en-US" sz="1000" dirty="0"/>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39"/>
            </p:custDataLst>
          </p:nvPr>
        </p:nvSpPr>
        <p:spPr bwMode="auto">
          <a:xfrm>
            <a:off x="1814512" y="4092575"/>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650AB06-70E1-4F07-8D5E-B120159B5FFA}" type="datetime'''妊''''''''産''婦''''・''''新生''''児''''''''''''の''''''''障害'''">
              <a:rPr lang="ja-JP" altLang="en-US" sz="1000" smtClean="0"/>
              <a:pPr/>
              <a:t>妊産婦・新生児の障害</a:t>
            </a:fld>
            <a:endParaRPr lang="ja-JP" altLang="en-US" sz="1000" dirty="0"/>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40"/>
            </p:custDataLst>
          </p:nvPr>
        </p:nvSpPr>
        <p:spPr bwMode="auto">
          <a:xfrm>
            <a:off x="1814513" y="5062538"/>
            <a:ext cx="1158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71DBA5-FB14-4F2D-B538-32AF354D8AA5}" type="datetime'''HIV/''''''エ''''イズ''・''''''''性感''''''染症'''''">
              <a:rPr lang="en-US" altLang="en-US" sz="1000" smtClean="0"/>
              <a:pPr/>
              <a:t>HIV/エイズ・性感染症</a:t>
            </a:fld>
            <a:endParaRPr lang="ja-JP" altLang="en-US" sz="1000" dirty="0"/>
          </a:p>
        </p:txBody>
      </p:sp>
      <p:sp>
        <p:nvSpPr>
          <p:cNvPr id="60" name="テキスト プレースホルダ 9">
            <a:extLst>
              <a:ext uri="{FF2B5EF4-FFF2-40B4-BE49-F238E27FC236}">
                <a16:creationId xmlns:a16="http://schemas.microsoft.com/office/drawing/2014/main" id="{A255BAD8-C868-4991-B674-6CBAD7C596F2}"/>
              </a:ext>
            </a:extLst>
          </p:cNvPr>
          <p:cNvSpPr>
            <a:spLocks noGrp="1"/>
          </p:cNvSpPr>
          <p:nvPr>
            <p:custDataLst>
              <p:tags r:id="rId41"/>
            </p:custDataLst>
          </p:nvPr>
        </p:nvSpPr>
        <p:spPr bwMode="gray">
          <a:xfrm>
            <a:off x="534988" y="4854575"/>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EFC272-384A-4938-85A7-71F97B7C44B5}" type="datetime'''''''''2''''''''''''''''''''0''''''''%'">
              <a:rPr lang="en-US" altLang="en-US" sz="1000" smtClean="0">
                <a:solidFill>
                  <a:schemeClr val="bg1"/>
                </a:solidFill>
                <a:effectLst/>
              </a:rPr>
              <a:pPr/>
              <a:t>20%</a:t>
            </a:fld>
            <a:endParaRPr lang="ja-JP" altLang="en-US" sz="1000" dirty="0">
              <a:solidFill>
                <a:schemeClr val="bg1"/>
              </a:solidFill>
            </a:endParaRPr>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42"/>
            </p:custDataLst>
          </p:nvPr>
        </p:nvSpPr>
        <p:spPr bwMode="auto">
          <a:xfrm>
            <a:off x="531813" y="618331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pPr/>
              <a:t>1990</a:t>
            </a:fld>
            <a:endParaRPr lang="ja-JP" altLang="en-US" sz="1000" dirty="0"/>
          </a:p>
        </p:txBody>
      </p:sp>
      <p:sp>
        <p:nvSpPr>
          <p:cNvPr id="71" name="テキスト プレースホルダ 9">
            <a:extLst>
              <a:ext uri="{FF2B5EF4-FFF2-40B4-BE49-F238E27FC236}">
                <a16:creationId xmlns:a16="http://schemas.microsoft.com/office/drawing/2014/main" id="{FF3E82AE-1204-4F81-9381-14B8BAB6B2A7}"/>
              </a:ext>
            </a:extLst>
          </p:cNvPr>
          <p:cNvSpPr>
            <a:spLocks noGrp="1"/>
          </p:cNvSpPr>
          <p:nvPr>
            <p:custDataLst>
              <p:tags r:id="rId43"/>
            </p:custDataLst>
          </p:nvPr>
        </p:nvSpPr>
        <p:spPr bwMode="gray">
          <a:xfrm>
            <a:off x="433388" y="433705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FD5658-4253-4DEE-9EA7-A218EF3AF2BB}" type="datetime'1''''''''''''''''1''6'''''''',''''''''''''''''''''''6''19'''">
              <a:rPr lang="ja-JP" altLang="en-US" sz="1000" smtClean="0"/>
              <a:pPr/>
              <a:t>116,619</a:t>
            </a:fld>
            <a:endParaRPr lang="ja-JP" altLang="en-US" sz="1000" dirty="0"/>
          </a:p>
        </p:txBody>
      </p:sp>
      <p:sp>
        <p:nvSpPr>
          <p:cNvPr id="72" name="テキスト プレースホルダ 9">
            <a:extLst>
              <a:ext uri="{FF2B5EF4-FFF2-40B4-BE49-F238E27FC236}">
                <a16:creationId xmlns:a16="http://schemas.microsoft.com/office/drawing/2014/main" id="{7975A8EE-1D87-405D-AC16-07F2746C485B}"/>
              </a:ext>
            </a:extLst>
          </p:cNvPr>
          <p:cNvSpPr>
            <a:spLocks noGrp="1"/>
          </p:cNvSpPr>
          <p:nvPr>
            <p:custDataLst>
              <p:tags r:id="rId44"/>
            </p:custDataLst>
          </p:nvPr>
        </p:nvSpPr>
        <p:spPr bwMode="gray">
          <a:xfrm>
            <a:off x="1243013" y="276701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274114-CF9B-4229-A54D-0C07D4C05FBB}" type="datetime'''''''''2''''''''''''''36'''',''''''''''''''3''''''94'">
              <a:rPr lang="ja-JP" altLang="en-US" sz="1000" smtClean="0"/>
              <a:pPr/>
              <a:t>236,394</a:t>
            </a:fld>
            <a:endParaRPr lang="ja-JP" altLang="en-US" sz="1000" dirty="0"/>
          </a:p>
        </p:txBody>
      </p:sp>
      <p:sp>
        <p:nvSpPr>
          <p:cNvPr id="102" name="TextBox 101">
            <a:extLst>
              <a:ext uri="{FF2B5EF4-FFF2-40B4-BE49-F238E27FC236}">
                <a16:creationId xmlns:a16="http://schemas.microsoft.com/office/drawing/2014/main" id="{B6AD02F1-09AD-47BF-8434-1EADD2F2AAC7}"/>
              </a:ext>
            </a:extLst>
          </p:cNvPr>
          <p:cNvSpPr txBox="1"/>
          <p:nvPr/>
        </p:nvSpPr>
        <p:spPr>
          <a:xfrm>
            <a:off x="3046313" y="345193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4</a:t>
            </a:r>
            <a:endParaRPr lang="ja-JP" altLang="en-US" sz="1000" dirty="0"/>
          </a:p>
        </p:txBody>
      </p:sp>
      <p:sp>
        <p:nvSpPr>
          <p:cNvPr id="108" name="TextBox 107">
            <a:extLst>
              <a:ext uri="{FF2B5EF4-FFF2-40B4-BE49-F238E27FC236}">
                <a16:creationId xmlns:a16="http://schemas.microsoft.com/office/drawing/2014/main" id="{9D826B3D-1B41-406B-B5A3-E72A94A28AF7}"/>
              </a:ext>
            </a:extLst>
          </p:cNvPr>
          <p:cNvSpPr txBox="1"/>
          <p:nvPr/>
        </p:nvSpPr>
        <p:spPr>
          <a:xfrm>
            <a:off x="2878138" y="2544821"/>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03550" y="301285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0</a:t>
            </a:r>
            <a:endParaRPr lang="ja-JP" altLang="en-US" sz="1000" dirty="0"/>
          </a:p>
        </p:txBody>
      </p:sp>
      <p:sp>
        <p:nvSpPr>
          <p:cNvPr id="110" name="TextBox 109">
            <a:extLst>
              <a:ext uri="{FF2B5EF4-FFF2-40B4-BE49-F238E27FC236}">
                <a16:creationId xmlns:a16="http://schemas.microsoft.com/office/drawing/2014/main" id="{E960377C-A48F-499E-9E5B-36D28AFEDCBA}"/>
              </a:ext>
            </a:extLst>
          </p:cNvPr>
          <p:cNvSpPr txBox="1"/>
          <p:nvPr/>
        </p:nvSpPr>
        <p:spPr>
          <a:xfrm>
            <a:off x="3047900" y="3621841"/>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1" name="TextBox 110">
            <a:extLst>
              <a:ext uri="{FF2B5EF4-FFF2-40B4-BE49-F238E27FC236}">
                <a16:creationId xmlns:a16="http://schemas.microsoft.com/office/drawing/2014/main" id="{2CFE1FB3-B3C5-41A4-93F8-503B8DB5A432}"/>
              </a:ext>
            </a:extLst>
          </p:cNvPr>
          <p:cNvSpPr txBox="1"/>
          <p:nvPr/>
        </p:nvSpPr>
        <p:spPr>
          <a:xfrm>
            <a:off x="3043238" y="384651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2" name="TextBox 111">
            <a:extLst>
              <a:ext uri="{FF2B5EF4-FFF2-40B4-BE49-F238E27FC236}">
                <a16:creationId xmlns:a16="http://schemas.microsoft.com/office/drawing/2014/main" id="{591B8278-6CEA-4D62-979D-C590FF4A6241}"/>
              </a:ext>
            </a:extLst>
          </p:cNvPr>
          <p:cNvSpPr txBox="1"/>
          <p:nvPr/>
        </p:nvSpPr>
        <p:spPr>
          <a:xfrm>
            <a:off x="3033367" y="429013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0</a:t>
            </a:r>
            <a:endParaRPr lang="ja-JP" altLang="en-US" sz="1000" dirty="0"/>
          </a:p>
        </p:txBody>
      </p:sp>
      <p:sp>
        <p:nvSpPr>
          <p:cNvPr id="121" name="TextBox 120">
            <a:extLst>
              <a:ext uri="{FF2B5EF4-FFF2-40B4-BE49-F238E27FC236}">
                <a16:creationId xmlns:a16="http://schemas.microsoft.com/office/drawing/2014/main" id="{A69CCB5B-096A-436B-AD26-2029CE58EABD}"/>
              </a:ext>
            </a:extLst>
          </p:cNvPr>
          <p:cNvSpPr txBox="1"/>
          <p:nvPr/>
        </p:nvSpPr>
        <p:spPr>
          <a:xfrm>
            <a:off x="3017838" y="498300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2.3</a:t>
            </a:r>
            <a:endParaRPr lang="ja-JP" altLang="en-US" sz="1000" dirty="0"/>
          </a:p>
        </p:txBody>
      </p:sp>
      <p:sp>
        <p:nvSpPr>
          <p:cNvPr id="122" name="TextBox 121">
            <a:extLst>
              <a:ext uri="{FF2B5EF4-FFF2-40B4-BE49-F238E27FC236}">
                <a16:creationId xmlns:a16="http://schemas.microsoft.com/office/drawing/2014/main" id="{FE540623-E865-4EB1-8B2C-035DB2B34D82}"/>
              </a:ext>
            </a:extLst>
          </p:cNvPr>
          <p:cNvSpPr txBox="1"/>
          <p:nvPr/>
        </p:nvSpPr>
        <p:spPr>
          <a:xfrm>
            <a:off x="3038475" y="403937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8</a:t>
            </a:r>
            <a:endParaRPr lang="ja-JP" altLang="en-US" sz="1000" dirty="0"/>
          </a:p>
        </p:txBody>
      </p:sp>
      <p:cxnSp>
        <p:nvCxnSpPr>
          <p:cNvPr id="67" name="Straight Connector 66">
            <a:extLst>
              <a:ext uri="{FF2B5EF4-FFF2-40B4-BE49-F238E27FC236}">
                <a16:creationId xmlns:a16="http://schemas.microsoft.com/office/drawing/2014/main" id="{0D45A698-51D6-4AC6-A4E5-E0E52717CF2D}"/>
              </a:ext>
            </a:extLst>
          </p:cNvPr>
          <p:cNvCxnSpPr>
            <a:cxnSpLocks/>
          </p:cNvCxnSpPr>
          <p:nvPr>
            <p:custDataLst>
              <p:tags r:id="rId45"/>
            </p:custDataLst>
          </p:nvPr>
        </p:nvCxnSpPr>
        <p:spPr bwMode="auto">
          <a:xfrm flipV="1">
            <a:off x="4818063" y="4495800"/>
            <a:ext cx="6350"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EEF1282C-71BD-4625-8562-1C2196ADB14F}"/>
              </a:ext>
            </a:extLst>
          </p:cNvPr>
          <p:cNvCxnSpPr/>
          <p:nvPr>
            <p:custDataLst>
              <p:tags r:id="rId46"/>
            </p:custDataLst>
          </p:nvPr>
        </p:nvCxnSpPr>
        <p:spPr bwMode="auto">
          <a:xfrm flipV="1">
            <a:off x="4818063" y="3470275"/>
            <a:ext cx="358775" cy="13446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4D481AB3-CC40-4237-B5A0-A206C8200E99}"/>
              </a:ext>
            </a:extLst>
          </p:cNvPr>
          <p:cNvCxnSpPr>
            <a:cxnSpLocks/>
          </p:cNvCxnSpPr>
          <p:nvPr>
            <p:custDataLst>
              <p:tags r:id="rId47"/>
            </p:custDataLst>
          </p:nvPr>
        </p:nvCxnSpPr>
        <p:spPr bwMode="auto">
          <a:xfrm flipV="1">
            <a:off x="4845049" y="3013075"/>
            <a:ext cx="331788" cy="13954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3D2B1516-B3F9-4DBB-AF24-934782744467}"/>
              </a:ext>
            </a:extLst>
          </p:cNvPr>
          <p:cNvCxnSpPr/>
          <p:nvPr>
            <p:custDataLst>
              <p:tags r:id="rId48"/>
            </p:custDataLst>
          </p:nvPr>
        </p:nvCxnSpPr>
        <p:spPr bwMode="auto">
          <a:xfrm flipV="1">
            <a:off x="4818063" y="3160714"/>
            <a:ext cx="358775" cy="14652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8CD786EB-0E4A-4D4F-A287-CC1C05842171}"/>
              </a:ext>
            </a:extLst>
          </p:cNvPr>
          <p:cNvCxnSpPr/>
          <p:nvPr>
            <p:custDataLst>
              <p:tags r:id="rId49"/>
            </p:custDataLst>
          </p:nvPr>
        </p:nvCxnSpPr>
        <p:spPr bwMode="auto">
          <a:xfrm flipV="1">
            <a:off x="4818063" y="3289300"/>
            <a:ext cx="358775" cy="1403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05B5F223-6478-442E-9E7E-4D8A2DBA5E77}"/>
              </a:ext>
            </a:extLst>
          </p:cNvPr>
          <p:cNvCxnSpPr/>
          <p:nvPr>
            <p:custDataLst>
              <p:tags r:id="rId50"/>
            </p:custDataLst>
          </p:nvPr>
        </p:nvCxnSpPr>
        <p:spPr bwMode="auto">
          <a:xfrm flipV="1">
            <a:off x="4818063" y="3711576"/>
            <a:ext cx="358775" cy="12684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63CC5BFB-3AF9-4D2C-8B1D-F966FFEBDB36}"/>
              </a:ext>
            </a:extLst>
          </p:cNvPr>
          <p:cNvCxnSpPr/>
          <p:nvPr>
            <p:custDataLst>
              <p:tags r:id="rId51"/>
            </p:custDataLst>
          </p:nvPr>
        </p:nvCxnSpPr>
        <p:spPr bwMode="auto">
          <a:xfrm flipV="1">
            <a:off x="4818063" y="4249739"/>
            <a:ext cx="358775" cy="906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1507B287-C599-4D85-B5DD-489E6E87EF36}"/>
              </a:ext>
            </a:extLst>
          </p:cNvPr>
          <p:cNvCxnSpPr>
            <a:cxnSpLocks/>
          </p:cNvCxnSpPr>
          <p:nvPr>
            <p:custDataLst>
              <p:tags r:id="rId52"/>
            </p:custDataLst>
          </p:nvPr>
        </p:nvCxnSpPr>
        <p:spPr bwMode="auto">
          <a:xfrm flipV="1">
            <a:off x="4818063" y="4991100"/>
            <a:ext cx="358775" cy="539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1" name="Chart 170">
            <a:extLst>
              <a:ext uri="{FF2B5EF4-FFF2-40B4-BE49-F238E27FC236}">
                <a16:creationId xmlns:a16="http://schemas.microsoft.com/office/drawing/2014/main" id="{A788CBFE-818D-46F7-9450-1983556D6C52}"/>
              </a:ext>
            </a:extLst>
          </p:cNvPr>
          <p:cNvGraphicFramePr/>
          <p:nvPr>
            <p:custDataLst>
              <p:tags r:id="rId53"/>
            </p:custDataLst>
            <p:extLst>
              <p:ext uri="{D42A27DB-BD31-4B8C-83A1-F6EECF244321}">
                <p14:modId xmlns:p14="http://schemas.microsoft.com/office/powerpoint/2010/main" val="802676941"/>
              </p:ext>
            </p:extLst>
          </p:nvPr>
        </p:nvGraphicFramePr>
        <p:xfrm>
          <a:off x="4105275" y="2930525"/>
          <a:ext cx="1784350" cy="3260725"/>
        </p:xfrm>
        <a:graphic>
          <a:graphicData uri="http://schemas.openxmlformats.org/drawingml/2006/chart">
            <c:chart xmlns:c="http://schemas.openxmlformats.org/drawingml/2006/chart" xmlns:r="http://schemas.openxmlformats.org/officeDocument/2006/relationships" r:id="rId103"/>
          </a:graphicData>
        </a:graphic>
      </p:graphicFrame>
      <p:cxnSp>
        <p:nvCxnSpPr>
          <p:cNvPr id="135" name="Straight Connector 134">
            <a:extLst>
              <a:ext uri="{FF2B5EF4-FFF2-40B4-BE49-F238E27FC236}">
                <a16:creationId xmlns:a16="http://schemas.microsoft.com/office/drawing/2014/main" id="{40B0597F-ED54-43BE-A36B-5478C9FF9F46}"/>
              </a:ext>
            </a:extLst>
          </p:cNvPr>
          <p:cNvCxnSpPr>
            <a:cxnSpLocks/>
          </p:cNvCxnSpPr>
          <p:nvPr>
            <p:custDataLst>
              <p:tags r:id="rId54"/>
            </p:custDataLst>
          </p:nvPr>
        </p:nvCxnSpPr>
        <p:spPr bwMode="auto">
          <a:xfrm flipH="1" flipV="1">
            <a:off x="5654675" y="3379788"/>
            <a:ext cx="49213" cy="1158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50AF5EF0-6D58-49A2-AD44-FF3D5F57752A}"/>
              </a:ext>
            </a:extLst>
          </p:cNvPr>
          <p:cNvCxnSpPr/>
          <p:nvPr>
            <p:custDataLst>
              <p:tags r:id="rId55"/>
            </p:custDataLst>
          </p:nvPr>
        </p:nvCxnSpPr>
        <p:spPr bwMode="auto">
          <a:xfrm flipH="1" flipV="1">
            <a:off x="5654675" y="3224213"/>
            <a:ext cx="49213" cy="682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7" name="テキスト プレースホルダ 9">
            <a:extLst>
              <a:ext uri="{FF2B5EF4-FFF2-40B4-BE49-F238E27FC236}">
                <a16:creationId xmlns:a16="http://schemas.microsoft.com/office/drawing/2014/main" id="{747C729B-BC81-4A43-A7DD-4E5423375A54}"/>
              </a:ext>
            </a:extLst>
          </p:cNvPr>
          <p:cNvSpPr>
            <a:spLocks noGrp="1"/>
          </p:cNvSpPr>
          <p:nvPr>
            <p:custDataLst>
              <p:tags r:id="rId56"/>
            </p:custDataLst>
          </p:nvPr>
        </p:nvSpPr>
        <p:spPr bwMode="gray">
          <a:xfrm>
            <a:off x="5259388" y="45434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F7A195-B074-4037-970A-8954894CA71D}" type="datetime'''''''''''''''''''2''4''''''''''''''%'''">
              <a:rPr lang="en-US" altLang="en-US" sz="1000" smtClean="0">
                <a:solidFill>
                  <a:schemeClr val="bg1"/>
                </a:solidFill>
              </a:rPr>
              <a:pPr/>
              <a:t>24%</a:t>
            </a:fld>
            <a:endParaRPr lang="ja-JP" altLang="en-US" sz="1000" dirty="0">
              <a:solidFill>
                <a:schemeClr val="bg1"/>
              </a:solidFill>
            </a:endParaRPr>
          </a:p>
        </p:txBody>
      </p:sp>
      <p:sp>
        <p:nvSpPr>
          <p:cNvPr id="147" name="テキスト プレースホルダ 9">
            <a:extLst>
              <a:ext uri="{FF2B5EF4-FFF2-40B4-BE49-F238E27FC236}">
                <a16:creationId xmlns:a16="http://schemas.microsoft.com/office/drawing/2014/main" id="{3A35E198-A34F-40D3-B70E-970E9071DA43}"/>
              </a:ext>
            </a:extLst>
          </p:cNvPr>
          <p:cNvSpPr>
            <a:spLocks noGrp="1"/>
          </p:cNvSpPr>
          <p:nvPr>
            <p:custDataLst>
              <p:tags r:id="rId57"/>
            </p:custDataLst>
          </p:nvPr>
        </p:nvSpPr>
        <p:spPr bwMode="gray">
          <a:xfrm>
            <a:off x="4449763" y="4991100"/>
            <a:ext cx="287338"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E7156E-DDFD-484E-9B3B-BE2BAF0DFAA1}" type="datetime'''''''''''''''''''''''''''''''''''''''''''''''11''%'''''''''''">
              <a:rPr lang="en-US" altLang="en-US" sz="1000" smtClean="0">
                <a:solidFill>
                  <a:schemeClr val="bg1"/>
                </a:solidFill>
              </a:rPr>
              <a:pPr/>
              <a:t>11%</a:t>
            </a:fld>
            <a:endParaRPr lang="ja-JP" altLang="en-US" sz="1000" dirty="0">
              <a:solidFill>
                <a:schemeClr val="bg1"/>
              </a:solidFill>
            </a:endParaRPr>
          </a:p>
        </p:txBody>
      </p:sp>
      <p:sp>
        <p:nvSpPr>
          <p:cNvPr id="148" name="テキスト プレースホルダ 9">
            <a:extLst>
              <a:ext uri="{FF2B5EF4-FFF2-40B4-BE49-F238E27FC236}">
                <a16:creationId xmlns:a16="http://schemas.microsoft.com/office/drawing/2014/main" id="{9B61A4E1-ED02-4E6A-B172-AABDCA12BD91}"/>
              </a:ext>
            </a:extLst>
          </p:cNvPr>
          <p:cNvSpPr>
            <a:spLocks noGrp="1"/>
          </p:cNvSpPr>
          <p:nvPr>
            <p:custDataLst>
              <p:tags r:id="rId58"/>
            </p:custDataLst>
          </p:nvPr>
        </p:nvSpPr>
        <p:spPr bwMode="gray">
          <a:xfrm>
            <a:off x="4449763" y="5267325"/>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098DD3-00EB-4B05-B6C1-45FEF51051FF}" type="datetime'''''''''2''''''''''''''''''''''''''''''''''''''''4''%'''''''">
              <a:rPr lang="en-US" altLang="en-US" sz="1000" smtClean="0">
                <a:solidFill>
                  <a:schemeClr val="bg1"/>
                </a:solidFill>
              </a:rPr>
              <a:pPr/>
              <a:t>24%</a:t>
            </a:fld>
            <a:endParaRPr lang="ja-JP" altLang="en-US" sz="1000" dirty="0">
              <a:solidFill>
                <a:schemeClr val="bg1"/>
              </a:solidFill>
            </a:endParaRPr>
          </a:p>
        </p:txBody>
      </p:sp>
      <p:sp>
        <p:nvSpPr>
          <p:cNvPr id="149" name="テキスト プレースホルダ 9">
            <a:extLst>
              <a:ext uri="{FF2B5EF4-FFF2-40B4-BE49-F238E27FC236}">
                <a16:creationId xmlns:a16="http://schemas.microsoft.com/office/drawing/2014/main" id="{BA2822AF-77D0-46A0-9215-99CA2BFD6924}"/>
              </a:ext>
            </a:extLst>
          </p:cNvPr>
          <p:cNvSpPr>
            <a:spLocks noGrp="1"/>
          </p:cNvSpPr>
          <p:nvPr>
            <p:custDataLst>
              <p:tags r:id="rId59"/>
            </p:custDataLst>
          </p:nvPr>
        </p:nvSpPr>
        <p:spPr bwMode="gray">
          <a:xfrm>
            <a:off x="4449763" y="57435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0CF5F3-278A-4377-ADC7-236A353A7059}" type="datetime'''''''''''''3''''''''''''''6''''''''''''''''''''''''''''''%'">
              <a:rPr lang="en-US" altLang="en-US" sz="1000" smtClean="0">
                <a:solidFill>
                  <a:schemeClr val="bg1"/>
                </a:solidFill>
              </a:rPr>
              <a:pPr/>
              <a:t>36%</a:t>
            </a:fld>
            <a:endParaRPr lang="ja-JP" altLang="en-US" sz="1000" dirty="0">
              <a:solidFill>
                <a:schemeClr val="bg1"/>
              </a:solidFill>
            </a:endParaRPr>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60"/>
            </p:custDataLst>
          </p:nvPr>
        </p:nvSpPr>
        <p:spPr bwMode="auto">
          <a:xfrm>
            <a:off x="444658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pPr/>
              <a:t>1990</a:t>
            </a:fld>
            <a:endParaRPr lang="ja-JP" altLang="en-US" sz="1000" dirty="0"/>
          </a:p>
        </p:txBody>
      </p:sp>
      <p:sp>
        <p:nvSpPr>
          <p:cNvPr id="190" name="テキスト プレースホルダ 9">
            <a:extLst>
              <a:ext uri="{FF2B5EF4-FFF2-40B4-BE49-F238E27FC236}">
                <a16:creationId xmlns:a16="http://schemas.microsoft.com/office/drawing/2014/main" id="{45FF5D28-AA01-449D-A53B-AD8A5CD3EDD0}"/>
              </a:ext>
            </a:extLst>
          </p:cNvPr>
          <p:cNvSpPr>
            <a:spLocks noGrp="1"/>
          </p:cNvSpPr>
          <p:nvPr>
            <p:custDataLst>
              <p:tags r:id="rId61"/>
            </p:custDataLst>
          </p:nvPr>
        </p:nvSpPr>
        <p:spPr bwMode="gray">
          <a:xfrm>
            <a:off x="5294313" y="30099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606D6F-7CB8-479D-9B4C-86C87E02846F}" type="datetime'5''''''''''''''''''''''''''''''''''''''%'''''''''">
              <a:rPr lang="en-US" altLang="en-US" sz="1000" smtClean="0">
                <a:solidFill>
                  <a:schemeClr val="bg1"/>
                </a:solidFill>
                <a:effectLst/>
              </a:rPr>
              <a:pPr/>
              <a:t>5%</a:t>
            </a:fld>
            <a:endParaRPr lang="ja-JP" altLang="en-US" sz="1000" dirty="0">
              <a:solidFill>
                <a:schemeClr val="bg1"/>
              </a:solidFill>
            </a:endParaRPr>
          </a:p>
        </p:txBody>
      </p:sp>
      <p:sp>
        <p:nvSpPr>
          <p:cNvPr id="156" name="テキスト プレースホルダ 9">
            <a:extLst>
              <a:ext uri="{FF2B5EF4-FFF2-40B4-BE49-F238E27FC236}">
                <a16:creationId xmlns:a16="http://schemas.microsoft.com/office/drawing/2014/main" id="{04EBA131-9953-4023-8BA5-342B811ECD46}"/>
              </a:ext>
            </a:extLst>
          </p:cNvPr>
          <p:cNvSpPr>
            <a:spLocks noGrp="1"/>
          </p:cNvSpPr>
          <p:nvPr>
            <p:custDataLst>
              <p:tags r:id="rId62"/>
            </p:custDataLst>
          </p:nvPr>
        </p:nvSpPr>
        <p:spPr bwMode="gray">
          <a:xfrm>
            <a:off x="5294313" y="3514725"/>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4FC1F8-FCA9-451A-A803-9FFAA8D0BC92}" type="datetime'''''''''''''''8''''''''''''%'''''''''''''''''">
              <a:rPr lang="en-US" altLang="en-US" sz="1000" smtClean="0">
                <a:solidFill>
                  <a:schemeClr val="bg1"/>
                </a:solidFill>
              </a:rPr>
              <a:pPr marL="0" indent="0" algn="ctr">
                <a:spcBef>
                  <a:spcPct val="0"/>
                </a:spcBef>
                <a:buNone/>
              </a:pPr>
              <a:t>8%</a:t>
            </a:fld>
            <a:endParaRPr lang="ja-JP" altLang="en-US" sz="1000" dirty="0">
              <a:solidFill>
                <a:schemeClr val="bg1"/>
              </a:solidFill>
            </a:endParaRPr>
          </a:p>
        </p:txBody>
      </p:sp>
      <p:sp>
        <p:nvSpPr>
          <p:cNvPr id="155" name="テキスト プレースホルダ 9">
            <a:extLst>
              <a:ext uri="{FF2B5EF4-FFF2-40B4-BE49-F238E27FC236}">
                <a16:creationId xmlns:a16="http://schemas.microsoft.com/office/drawing/2014/main" id="{44D3965C-D12E-44B9-BAF0-EF15A59B58E0}"/>
              </a:ext>
            </a:extLst>
          </p:cNvPr>
          <p:cNvSpPr>
            <a:spLocks noGrp="1"/>
          </p:cNvSpPr>
          <p:nvPr>
            <p:custDataLst>
              <p:tags r:id="rId63"/>
            </p:custDataLst>
          </p:nvPr>
        </p:nvSpPr>
        <p:spPr bwMode="gray">
          <a:xfrm>
            <a:off x="5294313" y="3303588"/>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60CBCF-2721-4F0B-89E9-834248C26B93}" type="datetime'''''''6''''''''''''%'''''''''''''''">
              <a:rPr lang="en-US" altLang="en-US" sz="1000" smtClean="0">
                <a:effectLst/>
              </a:rPr>
              <a:pPr/>
              <a:t>6%</a:t>
            </a:fld>
            <a:endParaRPr lang="ja-JP" altLang="en-US" sz="1000" dirty="0"/>
          </a:p>
        </p:txBody>
      </p:sp>
      <p:sp>
        <p:nvSpPr>
          <p:cNvPr id="142" name="テキスト プレースホルダ 9">
            <a:extLst>
              <a:ext uri="{FF2B5EF4-FFF2-40B4-BE49-F238E27FC236}">
                <a16:creationId xmlns:a16="http://schemas.microsoft.com/office/drawing/2014/main" id="{5D457C4C-F0FA-43FD-8BEB-EEC13F1778D6}"/>
              </a:ext>
            </a:extLst>
          </p:cNvPr>
          <p:cNvSpPr>
            <a:spLocks noGrp="1"/>
          </p:cNvSpPr>
          <p:nvPr>
            <p:custDataLst>
              <p:tags r:id="rId64"/>
            </p:custDataLst>
          </p:nvPr>
        </p:nvSpPr>
        <p:spPr bwMode="gray">
          <a:xfrm>
            <a:off x="5259388" y="54737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BA7662-8743-4FFD-A861-3CE5470FF791}" type="datetime'''''''3''''''''''''''''''''''''''''''''''''''6''%'''''''''''''">
              <a:rPr lang="en-US" altLang="en-US" sz="1000" smtClean="0">
                <a:solidFill>
                  <a:schemeClr val="bg1"/>
                </a:solidFill>
              </a:rPr>
              <a:pPr/>
              <a:t>36%</a:t>
            </a:fld>
            <a:endParaRPr lang="ja-JP" altLang="en-US" sz="1000" dirty="0">
              <a:solidFill>
                <a:schemeClr val="bg1"/>
              </a:solidFill>
            </a:endParaRPr>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65"/>
            </p:custDataLst>
          </p:nvPr>
        </p:nvSpPr>
        <p:spPr bwMode="auto">
          <a:xfrm>
            <a:off x="52562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pPr/>
              <a:t>2019</a:t>
            </a:fld>
            <a:endParaRPr lang="ja-JP" altLang="en-US" sz="1000" dirty="0"/>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66"/>
            </p:custDataLst>
          </p:nvPr>
        </p:nvSpPr>
        <p:spPr bwMode="auto">
          <a:xfrm>
            <a:off x="5729288" y="34194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605FF2-220E-43FC-A24F-1C64CDAB255A}" type="datetime'''''''''消''''''化''''''''''''''''器''疾''''''患'''''''">
              <a:rPr lang="ja-JP" altLang="en-US" sz="1000" smtClean="0"/>
              <a:pPr/>
              <a:t>消化器疾患</a:t>
            </a:fld>
            <a:endParaRPr lang="ja-JP" altLang="en-US" sz="1000" dirty="0"/>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67"/>
            </p:custDataLst>
          </p:nvPr>
        </p:nvSpPr>
        <p:spPr bwMode="auto">
          <a:xfrm>
            <a:off x="5729288" y="3013075"/>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a:t>その他</a:t>
            </a:fld>
            <a:r>
              <a:rPr lang="en-US" altLang="ja-JP" sz="1000" baseline="30000" dirty="0"/>
              <a:t>1</a:t>
            </a:r>
            <a:r>
              <a:rPr lang="en-US" altLang="ja-JP" sz="1000" dirty="0"/>
              <a:t> </a:t>
            </a:r>
            <a:endParaRPr lang="ja-JP" altLang="en-US" sz="1000" dirty="0"/>
          </a:p>
        </p:txBody>
      </p: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68"/>
            </p:custDataLst>
          </p:nvPr>
        </p:nvSpPr>
        <p:spPr bwMode="auto">
          <a:xfrm>
            <a:off x="5729288" y="321627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FC3865-9469-4D7A-98F1-AD9E43530A50}" type="datetime'''神経''''''''''''''''''''''''疾''''''''''''''''''''患'''''''">
              <a:rPr lang="ja-JP" altLang="en-US" sz="1000" smtClean="0"/>
              <a:pPr/>
              <a:t>神経疾患</a:t>
            </a:fld>
            <a:endParaRPr lang="ja-JP" altLang="en-US" sz="1000" dirty="0"/>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69"/>
            </p:custDataLst>
          </p:nvPr>
        </p:nvSpPr>
        <p:spPr bwMode="auto">
          <a:xfrm>
            <a:off x="5729288" y="4543425"/>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5EC635-3704-4EC6-B16B-52C39A7508E5}" type="datetime'''''''''新''''''''''生''''''''''''物'''''''''''''''''''''''''">
              <a:rPr lang="ja-JP" altLang="en-US" sz="1000" smtClean="0"/>
              <a:pPr/>
              <a:t>新生物</a:t>
            </a:fld>
            <a:endParaRPr lang="ja-JP" altLang="en-US" sz="1000" dirty="0"/>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70"/>
            </p:custDataLst>
          </p:nvPr>
        </p:nvSpPr>
        <p:spPr bwMode="auto">
          <a:xfrm>
            <a:off x="5729288" y="547370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886CEA-2E76-48DD-AC5D-86E5D056AD80}" type="datetime'''''''''''''''''''''''''''''''心''血''''''管''疾''患'">
              <a:rPr lang="ja-JP" altLang="en-US" sz="1000" smtClean="0"/>
              <a:pPr/>
              <a:t>心血管疾患</a:t>
            </a:fld>
            <a:endParaRPr lang="ja-JP" altLang="en-US" sz="1000" dirty="0"/>
          </a:p>
        </p:txBody>
      </p:sp>
      <p:sp>
        <p:nvSpPr>
          <p:cNvPr id="152" name="テキスト プレースホルダ 9">
            <a:extLst>
              <a:ext uri="{FF2B5EF4-FFF2-40B4-BE49-F238E27FC236}">
                <a16:creationId xmlns:a16="http://schemas.microsoft.com/office/drawing/2014/main" id="{2B9DF1C1-6176-42E8-BA32-309E001B5F53}"/>
              </a:ext>
            </a:extLst>
          </p:cNvPr>
          <p:cNvSpPr>
            <a:spLocks noGrp="1"/>
          </p:cNvSpPr>
          <p:nvPr>
            <p:custDataLst>
              <p:tags r:id="rId71"/>
            </p:custDataLst>
          </p:nvPr>
        </p:nvSpPr>
        <p:spPr bwMode="gray">
          <a:xfrm>
            <a:off x="5294313" y="3148013"/>
            <a:ext cx="21748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9A42AD-85D1-4D36-8E90-2E328ECE7199}" type="datetime'''''''''''''''''''''''4%'''''''''''''">
              <a:rPr lang="en-US" altLang="en-US" sz="1000" smtClean="0"/>
              <a:pPr marL="0" indent="0" algn="ctr">
                <a:spcBef>
                  <a:spcPct val="0"/>
                </a:spcBef>
                <a:buNone/>
              </a:pPr>
              <a:t>4%</a:t>
            </a:fld>
            <a:endParaRPr lang="ja-JP" altLang="en-US" sz="1000" dirty="0"/>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72"/>
            </p:custDataLst>
          </p:nvPr>
        </p:nvSpPr>
        <p:spPr bwMode="auto">
          <a:xfrm>
            <a:off x="5729288" y="3622675"/>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C4CA3AF-23D4-47EC-8AD0-18038EB5FE59}" type="datetime'''''''慢''''性''''''呼''''吸''''''器''''''''''''病'''">
              <a:rPr lang="ja-JP" altLang="en-US" sz="1000" smtClean="0"/>
              <a:pPr/>
              <a:t>慢性呼吸器病</a:t>
            </a:fld>
            <a:endParaRPr lang="ja-JP" altLang="en-US" sz="1000" dirty="0"/>
          </a:p>
        </p:txBody>
      </p:sp>
      <p:sp>
        <p:nvSpPr>
          <p:cNvPr id="193" name="テキスト プレースホルダ 9">
            <a:extLst>
              <a:ext uri="{FF2B5EF4-FFF2-40B4-BE49-F238E27FC236}">
                <a16:creationId xmlns:a16="http://schemas.microsoft.com/office/drawing/2014/main" id="{46B559D4-79C1-44F0-B0C6-9023B82A1367}"/>
              </a:ext>
            </a:extLst>
          </p:cNvPr>
          <p:cNvSpPr>
            <a:spLocks noGrp="1"/>
          </p:cNvSpPr>
          <p:nvPr>
            <p:custDataLst>
              <p:tags r:id="rId73"/>
            </p:custDataLst>
          </p:nvPr>
        </p:nvSpPr>
        <p:spPr bwMode="gray">
          <a:xfrm>
            <a:off x="4371975" y="4497388"/>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161396-DDFB-471D-AD41-15AE218D0FB2}" type="datetime'7''''''''''''''''''''''''%'">
              <a:rPr lang="en-US" altLang="en-US" sz="1000" smtClean="0">
                <a:solidFill>
                  <a:schemeClr val="bg1"/>
                </a:solidFill>
              </a:rPr>
              <a:pPr marL="0" indent="0" algn="ctr">
                <a:spcBef>
                  <a:spcPct val="0"/>
                </a:spcBef>
                <a:buNone/>
              </a:pPr>
              <a:t>7%</a:t>
            </a:fld>
            <a:endParaRPr lang="ja-JP" altLang="en-US" sz="1000" dirty="0">
              <a:solidFill>
                <a:schemeClr val="bg1"/>
              </a:solidFill>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74"/>
            </p:custDataLst>
          </p:nvPr>
        </p:nvSpPr>
        <p:spPr bwMode="auto">
          <a:xfrm>
            <a:off x="5729288" y="3903663"/>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4C2C642-E876-4501-9512-62EE4E2D7B45}" type="datetime'糖''''尿''''''''''病''''''''・''''''''腎臓''''''''''疾''患'''''">
              <a:rPr lang="ja-JP" altLang="en-US" sz="1000" smtClean="0"/>
              <a:pPr/>
              <a:t>糖尿病・腎臓疾患</a:t>
            </a:fld>
            <a:endParaRPr lang="ja-JP" altLang="en-US" sz="1000" dirty="0"/>
          </a:p>
        </p:txBody>
      </p:sp>
      <p:sp>
        <p:nvSpPr>
          <p:cNvPr id="160" name="テキスト プレースホルダ 9">
            <a:extLst>
              <a:ext uri="{FF2B5EF4-FFF2-40B4-BE49-F238E27FC236}">
                <a16:creationId xmlns:a16="http://schemas.microsoft.com/office/drawing/2014/main" id="{EA243E59-DC5B-44AD-8629-FEC2CE99AA60}"/>
              </a:ext>
            </a:extLst>
          </p:cNvPr>
          <p:cNvSpPr>
            <a:spLocks noGrp="1"/>
          </p:cNvSpPr>
          <p:nvPr>
            <p:custDataLst>
              <p:tags r:id="rId75"/>
            </p:custDataLst>
          </p:nvPr>
        </p:nvSpPr>
        <p:spPr bwMode="gray">
          <a:xfrm>
            <a:off x="4597400" y="458311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5F1C48-D48E-4B81-9B7E-2A070773C58C}" type="datetime'''''''4''%'''''''">
              <a:rPr lang="en-US" altLang="en-US" sz="1000" smtClean="0"/>
              <a:pPr marL="0" indent="0" algn="ctr">
                <a:spcBef>
                  <a:spcPct val="0"/>
                </a:spcBef>
                <a:buNone/>
              </a:pPr>
              <a:t>4%</a:t>
            </a:fld>
            <a:endParaRPr lang="ja-JP" altLang="en-US" sz="1000" dirty="0"/>
          </a:p>
        </p:txBody>
      </p:sp>
      <p:sp>
        <p:nvSpPr>
          <p:cNvPr id="144" name="テキスト プレースホルダ 9">
            <a:extLst>
              <a:ext uri="{FF2B5EF4-FFF2-40B4-BE49-F238E27FC236}">
                <a16:creationId xmlns:a16="http://schemas.microsoft.com/office/drawing/2014/main" id="{046E765A-4202-4066-BE8F-0AAABBE012D6}"/>
              </a:ext>
            </a:extLst>
          </p:cNvPr>
          <p:cNvSpPr>
            <a:spLocks noGrp="1"/>
          </p:cNvSpPr>
          <p:nvPr>
            <p:custDataLst>
              <p:tags r:id="rId76"/>
            </p:custDataLst>
          </p:nvPr>
        </p:nvSpPr>
        <p:spPr bwMode="gray">
          <a:xfrm>
            <a:off x="4371975" y="4676775"/>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F2DC6E-4192-4469-BC5F-34B93267ED20}" type="datetime'''''''''8''''''''%'''''''''''''''''''''''">
              <a:rPr lang="en-US" altLang="en-US" sz="1000" smtClean="0"/>
              <a:pPr marL="0" indent="0" algn="ctr">
                <a:spcBef>
                  <a:spcPct val="0"/>
                </a:spcBef>
                <a:buNone/>
              </a:pPr>
              <a:t>8%</a:t>
            </a:fld>
            <a:endParaRPr lang="ja-JP" altLang="en-US" sz="1000" dirty="0"/>
          </a:p>
        </p:txBody>
      </p:sp>
      <p:sp>
        <p:nvSpPr>
          <p:cNvPr id="145" name="テキスト プレースホルダ 9">
            <a:extLst>
              <a:ext uri="{FF2B5EF4-FFF2-40B4-BE49-F238E27FC236}">
                <a16:creationId xmlns:a16="http://schemas.microsoft.com/office/drawing/2014/main" id="{AF429922-A022-4C72-BC7C-8561C3D5755D}"/>
              </a:ext>
            </a:extLst>
          </p:cNvPr>
          <p:cNvSpPr>
            <a:spLocks noGrp="1"/>
          </p:cNvSpPr>
          <p:nvPr>
            <p:custDataLst>
              <p:tags r:id="rId77"/>
            </p:custDataLst>
          </p:nvPr>
        </p:nvSpPr>
        <p:spPr bwMode="gray">
          <a:xfrm>
            <a:off x="4348163" y="4343400"/>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CD2D2D-E22C-484C-97FA-247745DBEC76}" type="datetime'''''''''''''''''11''7'''',45''''5'''''''''''''''''">
              <a:rPr lang="ja-JP" altLang="en-US" sz="1000" smtClean="0"/>
              <a:pPr/>
              <a:t>117,455</a:t>
            </a:fld>
            <a:endParaRPr lang="ja-JP" altLang="en-US" sz="1000" dirty="0"/>
          </a:p>
        </p:txBody>
      </p:sp>
      <p:sp>
        <p:nvSpPr>
          <p:cNvPr id="137" name="テキスト プレースホルダ 9">
            <a:extLst>
              <a:ext uri="{FF2B5EF4-FFF2-40B4-BE49-F238E27FC236}">
                <a16:creationId xmlns:a16="http://schemas.microsoft.com/office/drawing/2014/main" id="{7C21FDF7-DBA8-49B2-8FC1-F13C600D60D1}"/>
              </a:ext>
            </a:extLst>
          </p:cNvPr>
          <p:cNvSpPr>
            <a:spLocks noGrp="1"/>
          </p:cNvSpPr>
          <p:nvPr>
            <p:custDataLst>
              <p:tags r:id="rId78"/>
            </p:custDataLst>
          </p:nvPr>
        </p:nvSpPr>
        <p:spPr bwMode="gray">
          <a:xfrm>
            <a:off x="5157788" y="28352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008411-D9C5-4A75-A14A-8A7240B60215}" type="datetime'22''8'''''''''''',''''''''''''''''''''96''''''''''''''6'''''''">
              <a:rPr lang="ja-JP" altLang="en-US" sz="1000" smtClean="0"/>
              <a:pPr/>
              <a:t>228,966</a:t>
            </a:fld>
            <a:endParaRPr lang="ja-JP" altLang="en-US" sz="1000" dirty="0"/>
          </a:p>
        </p:txBody>
      </p:sp>
      <p:sp>
        <p:nvSpPr>
          <p:cNvPr id="138" name="テキスト プレースホルダ 9">
            <a:extLst>
              <a:ext uri="{FF2B5EF4-FFF2-40B4-BE49-F238E27FC236}">
                <a16:creationId xmlns:a16="http://schemas.microsoft.com/office/drawing/2014/main" id="{C99557E9-F6FB-4780-9A12-0A71F5785F23}"/>
              </a:ext>
            </a:extLst>
          </p:cNvPr>
          <p:cNvSpPr>
            <a:spLocks noGrp="1"/>
          </p:cNvSpPr>
          <p:nvPr>
            <p:custDataLst>
              <p:tags r:id="rId79"/>
            </p:custDataLst>
          </p:nvPr>
        </p:nvSpPr>
        <p:spPr bwMode="gray">
          <a:xfrm>
            <a:off x="4449763" y="4821238"/>
            <a:ext cx="28733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0EAD7E-6B8F-4C68-A955-4390C47B2ECE}" type="datetime'''''''''''''''''10''''''''''''''''''''''''''''%'''''''''''">
              <a:rPr lang="en-US" altLang="en-US" sz="1000" smtClean="0">
                <a:solidFill>
                  <a:schemeClr val="bg1"/>
                </a:solidFill>
              </a:rPr>
              <a:pPr/>
              <a:t>10%</a:t>
            </a:fld>
            <a:endParaRPr lang="ja-JP" altLang="en-US" sz="1000" dirty="0">
              <a:solidFill>
                <a:schemeClr val="bg1"/>
              </a:solidFill>
            </a:endParaRPr>
          </a:p>
        </p:txBody>
      </p:sp>
      <p:sp>
        <p:nvSpPr>
          <p:cNvPr id="154" name="テキスト プレースホルダ 9">
            <a:extLst>
              <a:ext uri="{FF2B5EF4-FFF2-40B4-BE49-F238E27FC236}">
                <a16:creationId xmlns:a16="http://schemas.microsoft.com/office/drawing/2014/main" id="{7D88C893-D74D-4F55-A88F-22756D265160}"/>
              </a:ext>
            </a:extLst>
          </p:cNvPr>
          <p:cNvSpPr>
            <a:spLocks noGrp="1"/>
          </p:cNvSpPr>
          <p:nvPr>
            <p:custDataLst>
              <p:tags r:id="rId80"/>
            </p:custDataLst>
          </p:nvPr>
        </p:nvSpPr>
        <p:spPr bwMode="gray">
          <a:xfrm>
            <a:off x="5259388" y="3903663"/>
            <a:ext cx="287338"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24FA5C-50F9-45B8-80D3-34A46844C445}" type="datetime'''''''''''''''''''''1''''''''''''''''''''''7''''''''%'''''''''">
              <a:rPr lang="en-US" altLang="en-US" sz="1000" smtClean="0">
                <a:solidFill>
                  <a:schemeClr val="bg1"/>
                </a:solidFill>
              </a:rPr>
              <a:pPr/>
              <a:t>17%</a:t>
            </a:fld>
            <a:endParaRPr lang="ja-JP" altLang="en-US" sz="1000" dirty="0">
              <a:solidFill>
                <a:schemeClr val="bg1"/>
              </a:solidFill>
            </a:endParaRPr>
          </a:p>
        </p:txBody>
      </p:sp>
      <p:sp>
        <p:nvSpPr>
          <p:cNvPr id="227" name="TextBox 226">
            <a:extLst>
              <a:ext uri="{FF2B5EF4-FFF2-40B4-BE49-F238E27FC236}">
                <a16:creationId xmlns:a16="http://schemas.microsoft.com/office/drawing/2014/main" id="{A596757D-061F-4E73-A2EE-653A7B3438EB}"/>
              </a:ext>
            </a:extLst>
          </p:cNvPr>
          <p:cNvSpPr txBox="1"/>
          <p:nvPr/>
        </p:nvSpPr>
        <p:spPr>
          <a:xfrm>
            <a:off x="6491288" y="2556803"/>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83374" y="3112652"/>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0</a:t>
            </a:r>
            <a:endParaRPr lang="ja-JP" altLang="en-US" sz="1000" dirty="0"/>
          </a:p>
        </p:txBody>
      </p:sp>
      <p:sp>
        <p:nvSpPr>
          <p:cNvPr id="229" name="TextBox 228">
            <a:extLst>
              <a:ext uri="{FF2B5EF4-FFF2-40B4-BE49-F238E27FC236}">
                <a16:creationId xmlns:a16="http://schemas.microsoft.com/office/drawing/2014/main" id="{ABDD69D4-250A-4E7C-A794-37F169FA4B5F}"/>
              </a:ext>
            </a:extLst>
          </p:cNvPr>
          <p:cNvSpPr txBox="1"/>
          <p:nvPr/>
        </p:nvSpPr>
        <p:spPr>
          <a:xfrm>
            <a:off x="6683374" y="331120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5</a:t>
            </a:r>
            <a:endParaRPr lang="ja-JP" altLang="en-US" sz="1000" dirty="0"/>
          </a:p>
        </p:txBody>
      </p:sp>
      <p:sp>
        <p:nvSpPr>
          <p:cNvPr id="230" name="TextBox 229">
            <a:extLst>
              <a:ext uri="{FF2B5EF4-FFF2-40B4-BE49-F238E27FC236}">
                <a16:creationId xmlns:a16="http://schemas.microsoft.com/office/drawing/2014/main" id="{BABECC5B-09C6-40A2-8A07-07004D9F443A}"/>
              </a:ext>
            </a:extLst>
          </p:cNvPr>
          <p:cNvSpPr txBox="1"/>
          <p:nvPr/>
        </p:nvSpPr>
        <p:spPr>
          <a:xfrm>
            <a:off x="6683374" y="352516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5</a:t>
            </a:r>
            <a:endParaRPr lang="ja-JP" altLang="en-US" sz="1000" dirty="0"/>
          </a:p>
        </p:txBody>
      </p:sp>
      <p:sp>
        <p:nvSpPr>
          <p:cNvPr id="231" name="TextBox 230">
            <a:extLst>
              <a:ext uri="{FF2B5EF4-FFF2-40B4-BE49-F238E27FC236}">
                <a16:creationId xmlns:a16="http://schemas.microsoft.com/office/drawing/2014/main" id="{10736472-9130-43C9-BD00-039FB448CC2C}"/>
              </a:ext>
            </a:extLst>
          </p:cNvPr>
          <p:cNvSpPr txBox="1"/>
          <p:nvPr/>
        </p:nvSpPr>
        <p:spPr>
          <a:xfrm>
            <a:off x="6683374" y="448179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0</a:t>
            </a:r>
            <a:endParaRPr lang="ja-JP" altLang="en-US" sz="1000" dirty="0"/>
          </a:p>
        </p:txBody>
      </p:sp>
      <p:sp>
        <p:nvSpPr>
          <p:cNvPr id="232" name="TextBox 231">
            <a:extLst>
              <a:ext uri="{FF2B5EF4-FFF2-40B4-BE49-F238E27FC236}">
                <a16:creationId xmlns:a16="http://schemas.microsoft.com/office/drawing/2014/main" id="{E470F00B-778D-4B40-8608-D92CA84072AB}"/>
              </a:ext>
            </a:extLst>
          </p:cNvPr>
          <p:cNvSpPr txBox="1"/>
          <p:nvPr/>
        </p:nvSpPr>
        <p:spPr>
          <a:xfrm>
            <a:off x="6683374" y="5399556"/>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9</a:t>
            </a:r>
            <a:endParaRPr lang="ja-JP" altLang="en-US" sz="1000" dirty="0"/>
          </a:p>
        </p:txBody>
      </p:sp>
      <p:sp>
        <p:nvSpPr>
          <p:cNvPr id="233" name="TextBox 232">
            <a:extLst>
              <a:ext uri="{FF2B5EF4-FFF2-40B4-BE49-F238E27FC236}">
                <a16:creationId xmlns:a16="http://schemas.microsoft.com/office/drawing/2014/main" id="{D11717F2-E2C9-45CF-8506-3A85513183F6}"/>
              </a:ext>
            </a:extLst>
          </p:cNvPr>
          <p:cNvSpPr txBox="1"/>
          <p:nvPr/>
        </p:nvSpPr>
        <p:spPr>
          <a:xfrm>
            <a:off x="6683374" y="380825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0</a:t>
            </a:r>
            <a:endParaRPr lang="ja-JP" altLang="en-US" sz="1000" dirty="0"/>
          </a:p>
        </p:txBody>
      </p:sp>
      <p:sp>
        <p:nvSpPr>
          <p:cNvPr id="234" name="TextBox 233">
            <a:extLst>
              <a:ext uri="{FF2B5EF4-FFF2-40B4-BE49-F238E27FC236}">
                <a16:creationId xmlns:a16="http://schemas.microsoft.com/office/drawing/2014/main" id="{4070853F-D748-4638-A918-9F3674B51488}"/>
              </a:ext>
            </a:extLst>
          </p:cNvPr>
          <p:cNvSpPr txBox="1"/>
          <p:nvPr/>
        </p:nvSpPr>
        <p:spPr>
          <a:xfrm>
            <a:off x="6677024" y="2881940"/>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4</a:t>
            </a:r>
            <a:endParaRPr lang="ja-JP" altLang="en-US" sz="1000" dirty="0"/>
          </a:p>
        </p:txBody>
      </p:sp>
      <p:sp>
        <p:nvSpPr>
          <p:cNvPr id="235" name="4. Footnote">
            <a:extLst>
              <a:ext uri="{FF2B5EF4-FFF2-40B4-BE49-F238E27FC236}">
                <a16:creationId xmlns:a16="http://schemas.microsoft.com/office/drawing/2014/main" id="{E36A940B-5C0C-4AF2-921D-FDAA431E11C7}"/>
              </a:ext>
            </a:extLst>
          </p:cNvPr>
          <p:cNvSpPr txBox="1"/>
          <p:nvPr>
            <p:custDataLst>
              <p:tags r:id="rId81"/>
            </p:custDataLst>
          </p:nvPr>
        </p:nvSpPr>
        <p:spPr>
          <a:xfrm>
            <a:off x="217502" y="6419850"/>
            <a:ext cx="457962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その他の非感染症。皮下疾患、筋骨格系疾患、薬物乱用、精神疾患</a:t>
            </a:r>
          </a:p>
        </p:txBody>
      </p:sp>
      <p:cxnSp>
        <p:nvCxnSpPr>
          <p:cNvPr id="320" name="Straight Connector 319">
            <a:extLst>
              <a:ext uri="{FF2B5EF4-FFF2-40B4-BE49-F238E27FC236}">
                <a16:creationId xmlns:a16="http://schemas.microsoft.com/office/drawing/2014/main" id="{052021D4-FBB5-4017-8461-51999F34E9A0}"/>
              </a:ext>
            </a:extLst>
          </p:cNvPr>
          <p:cNvCxnSpPr>
            <a:cxnSpLocks/>
          </p:cNvCxnSpPr>
          <p:nvPr>
            <p:custDataLst>
              <p:tags r:id="rId82"/>
            </p:custDataLst>
          </p:nvPr>
        </p:nvCxnSpPr>
        <p:spPr bwMode="auto">
          <a:xfrm>
            <a:off x="7866063" y="5300663"/>
            <a:ext cx="295275"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46294D82-1BF3-47FB-87AB-3E7E6635E5E2}"/>
              </a:ext>
            </a:extLst>
          </p:cNvPr>
          <p:cNvCxnSpPr>
            <a:cxnSpLocks/>
          </p:cNvCxnSpPr>
          <p:nvPr>
            <p:custDataLst>
              <p:tags r:id="rId83"/>
            </p:custDataLst>
          </p:nvPr>
        </p:nvCxnSpPr>
        <p:spPr bwMode="auto">
          <a:xfrm>
            <a:off x="7866063" y="5713414"/>
            <a:ext cx="295275"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827C3A03-AE38-45C9-ACF3-1D3CBB024D65}"/>
              </a:ext>
            </a:extLst>
          </p:cNvPr>
          <p:cNvCxnSpPr>
            <a:cxnSpLocks/>
          </p:cNvCxnSpPr>
          <p:nvPr>
            <p:custDataLst>
              <p:tags r:id="rId84"/>
            </p:custDataLst>
          </p:nvPr>
        </p:nvCxnSpPr>
        <p:spPr bwMode="auto">
          <a:xfrm>
            <a:off x="7866063" y="5448301"/>
            <a:ext cx="295275" cy="285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70" name="Chart 169">
            <a:extLst>
              <a:ext uri="{FF2B5EF4-FFF2-40B4-BE49-F238E27FC236}">
                <a16:creationId xmlns:a16="http://schemas.microsoft.com/office/drawing/2014/main" id="{1FC48532-A8A0-45C3-B2F9-6A4AD699FB4F}"/>
              </a:ext>
            </a:extLst>
          </p:cNvPr>
          <p:cNvGraphicFramePr/>
          <p:nvPr>
            <p:custDataLst>
              <p:tags r:id="rId85"/>
            </p:custDataLst>
            <p:extLst>
              <p:ext uri="{D42A27DB-BD31-4B8C-83A1-F6EECF244321}">
                <p14:modId xmlns:p14="http://schemas.microsoft.com/office/powerpoint/2010/main" val="2687188516"/>
              </p:ext>
            </p:extLst>
          </p:nvPr>
        </p:nvGraphicFramePr>
        <p:xfrm>
          <a:off x="7264400" y="5218113"/>
          <a:ext cx="1498600" cy="973137"/>
        </p:xfrm>
        <a:graphic>
          <a:graphicData uri="http://schemas.openxmlformats.org/drawingml/2006/chart">
            <c:chart xmlns:c="http://schemas.openxmlformats.org/drawingml/2006/chart" xmlns:r="http://schemas.openxmlformats.org/officeDocument/2006/relationships" r:id="rId104"/>
          </a:graphicData>
        </a:graphic>
      </p:graphicFrame>
      <p:sp>
        <p:nvSpPr>
          <p:cNvPr id="286" name="テキスト プレースホルダ 9">
            <a:extLst>
              <a:ext uri="{FF2B5EF4-FFF2-40B4-BE49-F238E27FC236}">
                <a16:creationId xmlns:a16="http://schemas.microsoft.com/office/drawing/2014/main" id="{312045CF-902D-4FC8-81E2-89EC105A4057}"/>
              </a:ext>
            </a:extLst>
          </p:cNvPr>
          <p:cNvSpPr>
            <a:spLocks noGrp="1"/>
          </p:cNvSpPr>
          <p:nvPr>
            <p:custDataLst>
              <p:tags r:id="rId86"/>
            </p:custDataLst>
          </p:nvPr>
        </p:nvSpPr>
        <p:spPr bwMode="gray">
          <a:xfrm>
            <a:off x="7537450" y="52974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1149D5-3EEB-4EE8-B5E6-1157585A039C}" type="datetime'''''''''''''1''''''''''8%'''''''''''''''''''">
              <a:rPr lang="en-US" altLang="en-US" sz="1000" smtClean="0">
                <a:solidFill>
                  <a:schemeClr val="bg1"/>
                </a:solidFill>
              </a:rPr>
              <a:pPr/>
              <a:t>18%</a:t>
            </a:fld>
            <a:endParaRPr lang="ja-JP" altLang="en-US" sz="1000" dirty="0">
              <a:solidFill>
                <a:schemeClr val="bg1"/>
              </a:solidFill>
            </a:endParaRPr>
          </a:p>
        </p:txBody>
      </p:sp>
      <p:sp>
        <p:nvSpPr>
          <p:cNvPr id="289" name="テキスト プレースホルダ 9">
            <a:extLst>
              <a:ext uri="{FF2B5EF4-FFF2-40B4-BE49-F238E27FC236}">
                <a16:creationId xmlns:a16="http://schemas.microsoft.com/office/drawing/2014/main" id="{08323964-2675-4E0B-AA58-A98FF404CE0B}"/>
              </a:ext>
            </a:extLst>
          </p:cNvPr>
          <p:cNvSpPr>
            <a:spLocks noGrp="1"/>
          </p:cNvSpPr>
          <p:nvPr>
            <p:custDataLst>
              <p:tags r:id="rId87"/>
            </p:custDataLst>
          </p:nvPr>
        </p:nvSpPr>
        <p:spPr bwMode="gray">
          <a:xfrm>
            <a:off x="7537450" y="5503863"/>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CF21C6-EF8F-44DA-99B2-D45A8E3252E0}" type="datetime'''''''''''''3''''''3''''''''''''%'''''''''''''''''">
              <a:rPr lang="en-US" altLang="en-US" sz="1000" smtClean="0"/>
              <a:pPr/>
              <a:t>33%</a:t>
            </a:fld>
            <a:endParaRPr lang="ja-JP" altLang="en-US" sz="1000" dirty="0"/>
          </a:p>
        </p:txBody>
      </p:sp>
      <p:sp>
        <p:nvSpPr>
          <p:cNvPr id="292" name="テキスト プレースホルダ 9">
            <a:extLst>
              <a:ext uri="{FF2B5EF4-FFF2-40B4-BE49-F238E27FC236}">
                <a16:creationId xmlns:a16="http://schemas.microsoft.com/office/drawing/2014/main" id="{D885E0E8-499D-4675-9D5B-506BA18E28B1}"/>
              </a:ext>
            </a:extLst>
          </p:cNvPr>
          <p:cNvSpPr>
            <a:spLocks noGrp="1"/>
          </p:cNvSpPr>
          <p:nvPr>
            <p:custDataLst>
              <p:tags r:id="rId88"/>
            </p:custDataLst>
          </p:nvPr>
        </p:nvSpPr>
        <p:spPr bwMode="gray">
          <a:xfrm>
            <a:off x="8204200" y="5534025"/>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ACD4C1-E3A4-4D62-9FFA-7E11D9B2CBE9}" type="datetime'''''3''''''''''''''5''''''''%'''''''''''">
              <a:rPr lang="en-US" altLang="en-US" sz="1000" smtClean="0"/>
              <a:pPr marL="0" indent="0" algn="ctr">
                <a:spcBef>
                  <a:spcPct val="0"/>
                </a:spcBef>
                <a:buNone/>
              </a:pPr>
              <a:t>35%</a:t>
            </a:fld>
            <a:endParaRPr lang="ja-JP" altLang="en-US" sz="1000" dirty="0"/>
          </a:p>
        </p:txBody>
      </p:sp>
      <p:sp>
        <p:nvSpPr>
          <p:cNvPr id="293" name="テキスト プレースホルダ 9">
            <a:extLst>
              <a:ext uri="{FF2B5EF4-FFF2-40B4-BE49-F238E27FC236}">
                <a16:creationId xmlns:a16="http://schemas.microsoft.com/office/drawing/2014/main" id="{C41A61CA-A44F-4949-A7FE-7A03C8C06A78}"/>
              </a:ext>
            </a:extLst>
          </p:cNvPr>
          <p:cNvSpPr>
            <a:spLocks noGrp="1"/>
          </p:cNvSpPr>
          <p:nvPr>
            <p:custDataLst>
              <p:tags r:id="rId89"/>
            </p:custDataLst>
          </p:nvPr>
        </p:nvSpPr>
        <p:spPr bwMode="gray">
          <a:xfrm>
            <a:off x="7537450" y="5834063"/>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F6D6BE-BF38-49E9-8DE6-947A1A4D1F32}" type="datetime'''4''9''''''''''''''''''''''%'''''''">
              <a:rPr lang="en-US" altLang="en-US" sz="1000" smtClean="0"/>
              <a:pPr/>
              <a:t>49%</a:t>
            </a:fld>
            <a:endParaRPr lang="ja-JP" altLang="en-US" sz="1000" dirty="0"/>
          </a:p>
        </p:txBody>
      </p:sp>
      <p:sp>
        <p:nvSpPr>
          <p:cNvPr id="303" name="テキスト プレースホルダ 9">
            <a:extLst>
              <a:ext uri="{FF2B5EF4-FFF2-40B4-BE49-F238E27FC236}">
                <a16:creationId xmlns:a16="http://schemas.microsoft.com/office/drawing/2014/main" id="{A8431747-31F6-45A9-9CF8-BCB41ABF49D6}"/>
              </a:ext>
            </a:extLst>
          </p:cNvPr>
          <p:cNvSpPr>
            <a:spLocks noGrp="1"/>
          </p:cNvSpPr>
          <p:nvPr>
            <p:custDataLst>
              <p:tags r:id="rId90"/>
            </p:custDataLst>
          </p:nvPr>
        </p:nvSpPr>
        <p:spPr bwMode="gray">
          <a:xfrm>
            <a:off x="7470775" y="5122863"/>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763469-D753-4713-B616-A1D5C2AB60A8}" type="datetime'''5''9'''''''''''''',8''''2''''''''''''9'''''''''''''">
              <a:rPr lang="ja-JP" altLang="en-US" sz="1000" smtClean="0"/>
              <a:pPr/>
              <a:t>59,829</a:t>
            </a:fld>
            <a:endParaRPr lang="ja-JP" altLang="en-US" sz="1000" dirty="0"/>
          </a:p>
        </p:txBody>
      </p: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91"/>
            </p:custDataLst>
          </p:nvPr>
        </p:nvSpPr>
        <p:spPr bwMode="auto">
          <a:xfrm>
            <a:off x="7534275"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pPr/>
              <a:t>1990</a:t>
            </a:fld>
            <a:endParaRPr lang="ja-JP" altLang="en-US" sz="1000" dirty="0"/>
          </a:p>
        </p:txBody>
      </p:sp>
      <p:sp>
        <p:nvSpPr>
          <p:cNvPr id="295" name="テキスト プレースホルダ 9">
            <a:extLst>
              <a:ext uri="{FF2B5EF4-FFF2-40B4-BE49-F238E27FC236}">
                <a16:creationId xmlns:a16="http://schemas.microsoft.com/office/drawing/2014/main" id="{CD70FF11-2620-412A-9815-CE4B1A3B4202}"/>
              </a:ext>
            </a:extLst>
          </p:cNvPr>
          <p:cNvSpPr>
            <a:spLocks noGrp="1"/>
          </p:cNvSpPr>
          <p:nvPr>
            <p:custDataLst>
              <p:tags r:id="rId92"/>
            </p:custDataLst>
          </p:nvPr>
        </p:nvSpPr>
        <p:spPr bwMode="gray">
          <a:xfrm>
            <a:off x="8204200" y="53355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570F32-4A19-4E94-99D7-346AF677BD4A}" type="datetime'''''''''''''''''''''''''''''''''17''''''''''''''''''''''''%'''">
              <a:rPr lang="en-US" altLang="en-US" sz="1000" smtClean="0">
                <a:solidFill>
                  <a:schemeClr val="bg1"/>
                </a:solidFill>
              </a:rPr>
              <a:pPr marL="0" indent="0" algn="ctr">
                <a:spcBef>
                  <a:spcPct val="0"/>
                </a:spcBef>
                <a:buNone/>
              </a:pPr>
              <a:t>17%</a:t>
            </a:fld>
            <a:endParaRPr lang="ja-JP" altLang="en-US" sz="1000" dirty="0">
              <a:solidFill>
                <a:schemeClr val="bg1"/>
              </a:solidFill>
            </a:endParaRPr>
          </a:p>
        </p:txBody>
      </p:sp>
      <p:sp>
        <p:nvSpPr>
          <p:cNvPr id="290" name="テキスト プレースホルダ 9">
            <a:extLst>
              <a:ext uri="{FF2B5EF4-FFF2-40B4-BE49-F238E27FC236}">
                <a16:creationId xmlns:a16="http://schemas.microsoft.com/office/drawing/2014/main" id="{38550555-79F5-4399-9FE9-6214435145A5}"/>
              </a:ext>
            </a:extLst>
          </p:cNvPr>
          <p:cNvSpPr>
            <a:spLocks noGrp="1"/>
          </p:cNvSpPr>
          <p:nvPr>
            <p:custDataLst>
              <p:tags r:id="rId93"/>
            </p:custDataLst>
          </p:nvPr>
        </p:nvSpPr>
        <p:spPr bwMode="gray">
          <a:xfrm>
            <a:off x="8204200" y="5849938"/>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843181-291C-4922-966B-B7BFFF9E496F}" type="datetime'''''''''''4''''''''''''''''''''''''''''8''''''%'''">
              <a:rPr lang="en-US" altLang="en-US" sz="1000" smtClean="0">
                <a:effectLst/>
              </a:rPr>
              <a:pPr/>
              <a:t>48%</a:t>
            </a:fld>
            <a:endParaRPr lang="ja-JP" altLang="en-US" sz="1000" dirty="0"/>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94"/>
            </p:custDataLst>
          </p:nvPr>
        </p:nvSpPr>
        <p:spPr bwMode="auto">
          <a:xfrm>
            <a:off x="8201025"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pPr/>
              <a:t>2019</a:t>
            </a:fld>
            <a:endParaRPr lang="ja-JP" altLang="en-US" sz="1000" dirty="0"/>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95"/>
            </p:custDataLst>
          </p:nvPr>
        </p:nvSpPr>
        <p:spPr bwMode="auto">
          <a:xfrm>
            <a:off x="8634413" y="5219700"/>
            <a:ext cx="4159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6AF26F-4627-437A-9195-34E81353B2FC}" type="datetime'非''''意''図''&#10;''''''''''''''''''''''的''''''''''負''''''''''傷'''">
              <a:rPr lang="zh-TW" altLang="en-US" sz="1000" smtClean="0"/>
              <a:pPr/>
              <a:t>非意図
的負傷</a:t>
            </a:fld>
            <a:r>
              <a:rPr lang="en-US" altLang="ja-JP" sz="1000"/>
              <a:t> </a:t>
            </a:r>
            <a:endParaRPr lang="ja-JP" altLang="en-US" sz="1000" dirty="0"/>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96"/>
            </p:custDataLst>
          </p:nvPr>
        </p:nvSpPr>
        <p:spPr bwMode="auto">
          <a:xfrm>
            <a:off x="8634413" y="5575300"/>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8B8FE3-F3FF-4473-9889-AF612856CFB6}" type="datetime'交''''通事''''''''故'''''''''''">
              <a:rPr lang="zh-TW" altLang="en-US" sz="1000" smtClean="0"/>
              <a:pPr/>
              <a:t>交通事故</a:t>
            </a:fld>
            <a:endParaRPr lang="ja-JP" altLang="en-US"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97"/>
            </p:custDataLst>
          </p:nvPr>
        </p:nvSpPr>
        <p:spPr bwMode="auto">
          <a:xfrm>
            <a:off x="8634413" y="5778500"/>
            <a:ext cx="592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219F41-7911-481F-B3ED-48169982CBE4}" type="datetime'自''傷''''''''、''''''個人''''''''''&#10;''''''''''''''間''''''暴力'">
              <a:rPr lang="zh-TW" altLang="en-US" sz="1000" smtClean="0"/>
              <a:pPr/>
              <a:t>自傷、個人
間暴力</a:t>
            </a:fld>
            <a:endParaRPr lang="ja-JP" altLang="en-US" sz="1000" dirty="0"/>
          </a:p>
        </p:txBody>
      </p:sp>
      <p:sp>
        <p:nvSpPr>
          <p:cNvPr id="298" name="テキスト プレースホルダ 9">
            <a:extLst>
              <a:ext uri="{FF2B5EF4-FFF2-40B4-BE49-F238E27FC236}">
                <a16:creationId xmlns:a16="http://schemas.microsoft.com/office/drawing/2014/main" id="{238AA7B9-F792-4A4F-B56C-046D9F60341C}"/>
              </a:ext>
            </a:extLst>
          </p:cNvPr>
          <p:cNvSpPr>
            <a:spLocks noGrp="1"/>
          </p:cNvSpPr>
          <p:nvPr>
            <p:custDataLst>
              <p:tags r:id="rId98"/>
            </p:custDataLst>
          </p:nvPr>
        </p:nvSpPr>
        <p:spPr bwMode="gray">
          <a:xfrm>
            <a:off x="8137525" y="51689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7BACDD-E147-4963-BB72-CE52B58EC09A}" type="datetime'''''5''''6,''''''''''''''''''4''43'''''">
              <a:rPr lang="ja-JP" altLang="en-US" sz="1000" smtClean="0"/>
              <a:pPr/>
              <a:t>56,443</a:t>
            </a:fld>
            <a:endParaRPr lang="ja-JP" altLang="en-US" sz="1000"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331788" y="2274060"/>
            <a:ext cx="35639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感染症および妊産婦、新生児、栄養に関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4030663" y="2316005"/>
            <a:ext cx="113982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非感染症</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662863" y="2330580"/>
            <a:ext cx="1138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事故等</a:t>
            </a:r>
          </a:p>
        </p:txBody>
      </p:sp>
      <p:cxnSp>
        <p:nvCxnSpPr>
          <p:cNvPr id="334" name="Straight Connector 333">
            <a:extLst>
              <a:ext uri="{FF2B5EF4-FFF2-40B4-BE49-F238E27FC236}">
                <a16:creationId xmlns:a16="http://schemas.microsoft.com/office/drawing/2014/main" id="{366455A8-4C32-48FE-8385-ECD1577246F4}"/>
              </a:ext>
            </a:extLst>
          </p:cNvPr>
          <p:cNvCxnSpPr/>
          <p:nvPr/>
        </p:nvCxnSpPr>
        <p:spPr>
          <a:xfrm>
            <a:off x="422275" y="2548521"/>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p:nvPr/>
        </p:nvCxnSpPr>
        <p:spPr>
          <a:xfrm>
            <a:off x="4090988" y="2549893"/>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745413" y="2538965"/>
            <a:ext cx="1752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248776" y="547236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0</a:t>
            </a:r>
            <a:endParaRPr lang="ja-JP" altLang="en-US" sz="1000" dirty="0"/>
          </a:p>
        </p:txBody>
      </p:sp>
      <p:sp>
        <p:nvSpPr>
          <p:cNvPr id="347" name="TextBox 346">
            <a:extLst>
              <a:ext uri="{FF2B5EF4-FFF2-40B4-BE49-F238E27FC236}">
                <a16:creationId xmlns:a16="http://schemas.microsoft.com/office/drawing/2014/main" id="{0817A0B0-8D50-463B-8B53-0F62FDE66FC2}"/>
              </a:ext>
            </a:extLst>
          </p:cNvPr>
          <p:cNvSpPr txBox="1"/>
          <p:nvPr/>
        </p:nvSpPr>
        <p:spPr>
          <a:xfrm>
            <a:off x="9248776" y="5799552"/>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9</a:t>
            </a:r>
            <a:endParaRPr lang="ja-JP" altLang="en-US" sz="1000" dirty="0"/>
          </a:p>
        </p:txBody>
      </p:sp>
      <p:sp>
        <p:nvSpPr>
          <p:cNvPr id="348" name="TextBox 347">
            <a:extLst>
              <a:ext uri="{FF2B5EF4-FFF2-40B4-BE49-F238E27FC236}">
                <a16:creationId xmlns:a16="http://schemas.microsoft.com/office/drawing/2014/main" id="{D0987074-FAEE-4D6C-98A2-7FE7A6AD70B4}"/>
              </a:ext>
            </a:extLst>
          </p:cNvPr>
          <p:cNvSpPr txBox="1"/>
          <p:nvPr/>
        </p:nvSpPr>
        <p:spPr>
          <a:xfrm>
            <a:off x="9256713" y="5231941"/>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9</a:t>
            </a:r>
            <a:endParaRPr lang="ja-JP" altLang="en-US" sz="1000" dirty="0"/>
          </a:p>
        </p:txBody>
      </p:sp>
      <p:sp>
        <p:nvSpPr>
          <p:cNvPr id="241" name="TextBox 240">
            <a:extLst>
              <a:ext uri="{FF2B5EF4-FFF2-40B4-BE49-F238E27FC236}">
                <a16:creationId xmlns:a16="http://schemas.microsoft.com/office/drawing/2014/main" id="{A02B0786-79DF-4CE4-A987-C755F6E0F9CD}"/>
              </a:ext>
            </a:extLst>
          </p:cNvPr>
          <p:cNvSpPr txBox="1"/>
          <p:nvPr/>
        </p:nvSpPr>
        <p:spPr>
          <a:xfrm>
            <a:off x="9077003" y="4547727"/>
            <a:ext cx="704529" cy="553998"/>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Tree>
    <p:extLst>
      <p:ext uri="{BB962C8B-B14F-4D97-AF65-F5344CB8AC3E}">
        <p14:creationId xmlns:p14="http://schemas.microsoft.com/office/powerpoint/2010/main" val="1194973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541293950"/>
              </p:ext>
            </p:extLst>
          </p:nvPr>
        </p:nvGraphicFramePr>
        <p:xfrm>
          <a:off x="200472" y="1152001"/>
          <a:ext cx="4500048" cy="3536877"/>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7498">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716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3716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a:t>
                      </a:r>
                      <a:r>
                        <a:rPr kumimoji="1" lang="en-US" altLang="ja-JP" sz="1050" dirty="0">
                          <a:latin typeface="+mn-lt"/>
                          <a:ea typeface="+mj-ea"/>
                        </a:rPr>
                        <a:t>1</a:t>
                      </a:r>
                      <a:r>
                        <a:rPr kumimoji="1" lang="ja-JP" altLang="en-US" sz="1050" dirty="0">
                          <a:latin typeface="+mn-lt"/>
                          <a:ea typeface="+mj-ea"/>
                        </a:rPr>
                        <a:t>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所得格差</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87358228"/>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6997136"/>
                  </a:ext>
                </a:extLst>
              </a:tr>
              <a:tr h="13716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353410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299549004"/>
              </p:ext>
            </p:extLst>
          </p:nvPr>
        </p:nvGraphicFramePr>
        <p:xfrm>
          <a:off x="5205528" y="1152000"/>
          <a:ext cx="4500000" cy="5279174"/>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27809">
                <a:tc gridSpan="3">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4103395"/>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94092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330459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263150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306960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1094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6736164"/>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991718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036809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8276">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spcBef>
                          <a:spcPts val="0"/>
                        </a:spcBef>
                      </a:pPr>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対する規制</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7225">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25179">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33462">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46571713"/>
                  </a:ext>
                </a:extLst>
              </a:tr>
            </a:tbl>
          </a:graphicData>
        </a:graphic>
      </p:graphicFrame>
      <p:cxnSp>
        <p:nvCxnSpPr>
          <p:cNvPr id="9" name="Straight Connector 8">
            <a:extLst>
              <a:ext uri="{FF2B5EF4-FFF2-40B4-BE49-F238E27FC236}">
                <a16:creationId xmlns:a16="http://schemas.microsoft.com/office/drawing/2014/main" id="{B0A48150-1F97-4993-988A-050E4D1F7DC7}"/>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extLst>
              <p:ext uri="{D42A27DB-BD31-4B8C-83A1-F6EECF244321}">
                <p14:modId xmlns:p14="http://schemas.microsoft.com/office/powerpoint/2010/main" val="44639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a:t>
            </a:r>
            <a:endParaRPr lang="en-US" altLang="ja-JP" dirty="0"/>
          </a:p>
        </p:txBody>
      </p:sp>
      <p:sp>
        <p:nvSpPr>
          <p:cNvPr id="25" name="テキスト ボックス 2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以上は公立病院にかか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私立病院への受診は民間医療保険への加入が前提になっていることが多い。</a:t>
            </a:r>
          </a:p>
        </p:txBody>
      </p:sp>
      <p:sp>
        <p:nvSpPr>
          <p:cNvPr id="29" name="テキスト ボックス 28"/>
          <p:cNvSpPr txBox="1"/>
          <p:nvPr/>
        </p:nvSpPr>
        <p:spPr>
          <a:xfrm>
            <a:off x="308482" y="6617177"/>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oundation for Innovative New Diagnostics (FIND),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在南アフリカ日本国大使館</a:t>
            </a:r>
            <a:endParaRPr lang="ja-JP" altLang="ja-JP" sz="800" dirty="0"/>
          </a:p>
        </p:txBody>
      </p:sp>
      <p:grpSp>
        <p:nvGrpSpPr>
          <p:cNvPr id="33" name="グループ化 7"/>
          <p:cNvGrpSpPr/>
          <p:nvPr/>
        </p:nvGrpSpPr>
        <p:grpSpPr>
          <a:xfrm>
            <a:off x="200473" y="1840077"/>
            <a:ext cx="4644517" cy="288032"/>
            <a:chOff x="4803500" y="2185814"/>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立病院</a:t>
              </a:r>
              <a:endParaRPr lang="en-US" altLang="ko-KR" sz="1400" dirty="0">
                <a:solidFill>
                  <a:srgbClr val="000000"/>
                </a:solidFill>
                <a:latin typeface="Arial Black" pitchFamily="34" charset="0"/>
                <a:ea typeface="HGP創英角ｺﾞｼｯｸUB" pitchFamily="50" charset="-128"/>
              </a:endParaRPr>
            </a:p>
          </p:txBody>
        </p:sp>
      </p:grpSp>
      <p:grpSp>
        <p:nvGrpSpPr>
          <p:cNvPr id="36" name="グループ化 7"/>
          <p:cNvGrpSpPr/>
          <p:nvPr/>
        </p:nvGrpSpPr>
        <p:grpSpPr>
          <a:xfrm>
            <a:off x="4952999" y="1840077"/>
            <a:ext cx="4644517" cy="288032"/>
            <a:chOff x="4803500" y="2185814"/>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私立病院</a:t>
              </a:r>
              <a:endParaRPr lang="en-US" altLang="ko-KR" sz="1400" dirty="0">
                <a:solidFill>
                  <a:srgbClr val="000000"/>
                </a:solidFill>
                <a:latin typeface="Arial Black" pitchFamily="34" charset="0"/>
                <a:ea typeface="HGP創英角ｺﾞｼｯｸUB" pitchFamily="50" charset="-128"/>
              </a:endParaRPr>
            </a:p>
          </p:txBody>
        </p:sp>
      </p:grpSp>
      <p:sp>
        <p:nvSpPr>
          <p:cNvPr id="5" name="Rectangle 4">
            <a:extLst>
              <a:ext uri="{FF2B5EF4-FFF2-40B4-BE49-F238E27FC236}">
                <a16:creationId xmlns:a16="http://schemas.microsoft.com/office/drawing/2014/main" id="{C24BA506-7CD8-429E-813F-B47CC770404A}"/>
              </a:ext>
            </a:extLst>
          </p:cNvPr>
          <p:cNvSpPr/>
          <p:nvPr/>
        </p:nvSpPr>
        <p:spPr>
          <a:xfrm>
            <a:off x="326567" y="2872750"/>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中央病院</a:t>
            </a:r>
            <a:endParaRPr kumimoji="1" lang="en-US" sz="1200" dirty="0"/>
          </a:p>
        </p:txBody>
      </p:sp>
      <p:sp>
        <p:nvSpPr>
          <p:cNvPr id="20" name="Rectangle 19">
            <a:extLst>
              <a:ext uri="{FF2B5EF4-FFF2-40B4-BE49-F238E27FC236}">
                <a16:creationId xmlns:a16="http://schemas.microsoft.com/office/drawing/2014/main" id="{73AEAE63-6A4E-4FDB-91EA-09D1A2556611}"/>
              </a:ext>
            </a:extLst>
          </p:cNvPr>
          <p:cNvSpPr/>
          <p:nvPr/>
        </p:nvSpPr>
        <p:spPr>
          <a:xfrm>
            <a:off x="329638" y="343377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Tertiary Hospitals</a:t>
            </a:r>
          </a:p>
        </p:txBody>
      </p:sp>
      <p:sp>
        <p:nvSpPr>
          <p:cNvPr id="21" name="Rectangle 20">
            <a:extLst>
              <a:ext uri="{FF2B5EF4-FFF2-40B4-BE49-F238E27FC236}">
                <a16:creationId xmlns:a16="http://schemas.microsoft.com/office/drawing/2014/main" id="{7ADD1C58-3B9F-4E63-AF1E-43C9CDAFB023}"/>
              </a:ext>
            </a:extLst>
          </p:cNvPr>
          <p:cNvSpPr/>
          <p:nvPr/>
        </p:nvSpPr>
        <p:spPr>
          <a:xfrm>
            <a:off x="326567" y="4003878"/>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sz="1200" dirty="0"/>
              <a:t>Regional Hospitals</a:t>
            </a:r>
          </a:p>
        </p:txBody>
      </p:sp>
      <p:sp>
        <p:nvSpPr>
          <p:cNvPr id="22" name="Rectangle 21">
            <a:extLst>
              <a:ext uri="{FF2B5EF4-FFF2-40B4-BE49-F238E27FC236}">
                <a16:creationId xmlns:a16="http://schemas.microsoft.com/office/drawing/2014/main" id="{DEEC9428-8DAF-40F1-B46D-F80465E6A91A}"/>
              </a:ext>
            </a:extLst>
          </p:cNvPr>
          <p:cNvSpPr/>
          <p:nvPr/>
        </p:nvSpPr>
        <p:spPr>
          <a:xfrm>
            <a:off x="317590" y="4573977"/>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District hospitals </a:t>
            </a:r>
            <a:r>
              <a:rPr kumimoji="1" lang="ja-JP" altLang="en-US" sz="1200" dirty="0"/>
              <a:t>郡病院</a:t>
            </a:r>
            <a:endParaRPr kumimoji="1" lang="en-US" sz="1200" dirty="0"/>
          </a:p>
        </p:txBody>
      </p:sp>
      <p:sp>
        <p:nvSpPr>
          <p:cNvPr id="23" name="Rectangle 22">
            <a:extLst>
              <a:ext uri="{FF2B5EF4-FFF2-40B4-BE49-F238E27FC236}">
                <a16:creationId xmlns:a16="http://schemas.microsoft.com/office/drawing/2014/main" id="{787CF275-E93C-4B50-A0CA-FF222A3D8702}"/>
              </a:ext>
            </a:extLst>
          </p:cNvPr>
          <p:cNvSpPr/>
          <p:nvPr/>
        </p:nvSpPr>
        <p:spPr>
          <a:xfrm>
            <a:off x="317590" y="5405419"/>
            <a:ext cx="1944216" cy="288032"/>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プライマリーケア</a:t>
            </a:r>
            <a:endParaRPr kumimoji="1" lang="en-US" sz="1200" dirty="0"/>
          </a:p>
        </p:txBody>
      </p:sp>
      <p:sp>
        <p:nvSpPr>
          <p:cNvPr id="30" name="TextBox 29">
            <a:extLst>
              <a:ext uri="{FF2B5EF4-FFF2-40B4-BE49-F238E27FC236}">
                <a16:creationId xmlns:a16="http://schemas.microsoft.com/office/drawing/2014/main" id="{ED570B8E-5720-4D4C-84BA-54A0B8C32E49}"/>
              </a:ext>
            </a:extLst>
          </p:cNvPr>
          <p:cNvSpPr txBox="1"/>
          <p:nvPr/>
        </p:nvSpPr>
        <p:spPr>
          <a:xfrm>
            <a:off x="2522732" y="2883465"/>
            <a:ext cx="2044234" cy="246221"/>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13</a:t>
            </a:r>
            <a:r>
              <a:rPr lang="ja-JP" altLang="en-US" sz="1000" dirty="0"/>
              <a:t>か所</a:t>
            </a:r>
            <a:endParaRPr lang="en-US" sz="1000" dirty="0"/>
          </a:p>
        </p:txBody>
      </p:sp>
      <p:sp>
        <p:nvSpPr>
          <p:cNvPr id="41" name="テキスト ボックス 24">
            <a:extLst>
              <a:ext uri="{FF2B5EF4-FFF2-40B4-BE49-F238E27FC236}">
                <a16:creationId xmlns:a16="http://schemas.microsoft.com/office/drawing/2014/main" id="{149DD202-C1FB-4FAD-97B5-A39E1FC8B186}"/>
              </a:ext>
            </a:extLst>
          </p:cNvPr>
          <p:cNvSpPr txBox="1"/>
          <p:nvPr/>
        </p:nvSpPr>
        <p:spPr>
          <a:xfrm>
            <a:off x="5097016" y="2156383"/>
            <a:ext cx="4176464" cy="2295693"/>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現在、私立の急性期病院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2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クリニック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リハビリ施設や精神病施設など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か所あり、合計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床以上があ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Netcare, Lif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Healthcare, Mediclini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大医療系グループが病床ベースで私立病院・クリニックの約３分の２を占め、４分の１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ospital Network</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その他私立病院の任意団体）に属し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師や検査会社（血液・</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X</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線など）は各病院の中で開業する形となっており、治療費はそれぞれ個別に請求される。利用にあたっては、保険会社の支払い保証を求め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a:lnSpc>
                <a:spcPct val="110000"/>
              </a:lnSpc>
              <a:spcAft>
                <a:spcPts val="200"/>
              </a:spcAft>
              <a:buClr>
                <a:srgbClr val="5F8AC3"/>
              </a:buClr>
              <a:buFont typeface="Arial" panose="020B0604020202020204" pitchFamily="34" charset="0"/>
              <a:buChar char="•"/>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a:extLst>
              <a:ext uri="{FF2B5EF4-FFF2-40B4-BE49-F238E27FC236}">
                <a16:creationId xmlns:a16="http://schemas.microsoft.com/office/drawing/2014/main" id="{136411A2-971C-4E95-AE53-CFC209776CFF}"/>
              </a:ext>
            </a:extLst>
          </p:cNvPr>
          <p:cNvSpPr txBox="1"/>
          <p:nvPr/>
        </p:nvSpPr>
        <p:spPr>
          <a:xfrm>
            <a:off x="2522732" y="5326894"/>
            <a:ext cx="2359813" cy="1169551"/>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3,800</a:t>
            </a:r>
            <a:r>
              <a:rPr lang="ja-JP" altLang="en-US" sz="1000" dirty="0"/>
              <a:t>の公立クリニック</a:t>
            </a:r>
            <a:endParaRPr lang="en-US" altLang="ja-JP" sz="1000" dirty="0"/>
          </a:p>
          <a:p>
            <a:pPr marL="171450" indent="-171450">
              <a:buFont typeface="Arial" panose="020B0604020202020204" pitchFamily="34" charset="0"/>
              <a:buChar char="•"/>
            </a:pPr>
            <a:r>
              <a:rPr lang="en-US" altLang="ja-JP" sz="1000" dirty="0"/>
              <a:t>Ward</a:t>
            </a:r>
            <a:r>
              <a:rPr lang="ja-JP" altLang="en-US" sz="1000" dirty="0"/>
              <a:t>単位のプライマリーヘルスケア・アウトリーチチーム（看護師およびコミュニティヘルスワーカーからなる）が</a:t>
            </a:r>
            <a:r>
              <a:rPr lang="en-US" altLang="ja-JP" sz="1000" dirty="0"/>
              <a:t>7,800</a:t>
            </a:r>
            <a:r>
              <a:rPr lang="ja-JP" altLang="en-US" sz="1000" dirty="0"/>
              <a:t>チーム必要とされているものの、実際に活動しているのはその</a:t>
            </a:r>
            <a:r>
              <a:rPr lang="en-US" altLang="ja-JP" sz="1000" dirty="0"/>
              <a:t>42%</a:t>
            </a:r>
            <a:r>
              <a:rPr lang="ja-JP" altLang="en-US" sz="1000" dirty="0"/>
              <a:t>程度と推計される</a:t>
            </a:r>
            <a:endParaRPr lang="en-US" sz="1000" dirty="0"/>
          </a:p>
        </p:txBody>
      </p:sp>
      <p:sp>
        <p:nvSpPr>
          <p:cNvPr id="45" name="TextBox 44">
            <a:extLst>
              <a:ext uri="{FF2B5EF4-FFF2-40B4-BE49-F238E27FC236}">
                <a16:creationId xmlns:a16="http://schemas.microsoft.com/office/drawing/2014/main" id="{6E1E6EBA-09FB-489D-B961-072D593C8136}"/>
              </a:ext>
            </a:extLst>
          </p:cNvPr>
          <p:cNvSpPr txBox="1"/>
          <p:nvPr/>
        </p:nvSpPr>
        <p:spPr>
          <a:xfrm>
            <a:off x="2523180" y="3296709"/>
            <a:ext cx="2429818" cy="553998"/>
          </a:xfrm>
          <a:prstGeom prst="rect">
            <a:avLst/>
          </a:prstGeom>
          <a:noFill/>
        </p:spPr>
        <p:txBody>
          <a:bodyPr wrap="square">
            <a:spAutoFit/>
          </a:bodyPr>
          <a:lstStyle/>
          <a:p>
            <a:pPr marL="171450" indent="-171450">
              <a:buFont typeface="Arial" panose="020B0604020202020204" pitchFamily="34" charset="0"/>
              <a:buChar char="•"/>
            </a:pPr>
            <a:r>
              <a:rPr lang="en-US" altLang="ja-JP" sz="1000" dirty="0"/>
              <a:t>21</a:t>
            </a:r>
            <a:r>
              <a:rPr lang="ja-JP" altLang="en-US" sz="1000" dirty="0"/>
              <a:t>か所</a:t>
            </a:r>
          </a:p>
          <a:p>
            <a:pPr marL="171450" indent="-171450">
              <a:buFont typeface="Arial" panose="020B0604020202020204" pitchFamily="34" charset="0"/>
              <a:buChar char="•"/>
            </a:pPr>
            <a:r>
              <a:rPr lang="ja-JP" altLang="en-US" sz="1000" dirty="0"/>
              <a:t>高度専門医が所属し、集中ケアを提供</a:t>
            </a:r>
          </a:p>
          <a:p>
            <a:pPr marL="171450" indent="-171450">
              <a:buFont typeface="Arial" panose="020B0604020202020204" pitchFamily="34" charset="0"/>
              <a:buChar char="•"/>
            </a:pPr>
            <a:r>
              <a:rPr lang="ja-JP" altLang="en-US" sz="1000" dirty="0"/>
              <a:t>平均</a:t>
            </a:r>
            <a:r>
              <a:rPr lang="en-US" altLang="ja-JP" sz="1000" dirty="0"/>
              <a:t>400-800</a:t>
            </a:r>
            <a:r>
              <a:rPr lang="ja-JP" altLang="en-US" sz="1000" dirty="0"/>
              <a:t>床</a:t>
            </a:r>
            <a:endParaRPr lang="en-US" sz="1000" dirty="0"/>
          </a:p>
        </p:txBody>
      </p:sp>
      <p:sp>
        <p:nvSpPr>
          <p:cNvPr id="46" name="TextBox 45">
            <a:extLst>
              <a:ext uri="{FF2B5EF4-FFF2-40B4-BE49-F238E27FC236}">
                <a16:creationId xmlns:a16="http://schemas.microsoft.com/office/drawing/2014/main" id="{151D5B92-E741-44D4-9A87-427097AE8D5A}"/>
              </a:ext>
            </a:extLst>
          </p:cNvPr>
          <p:cNvSpPr txBox="1"/>
          <p:nvPr/>
        </p:nvSpPr>
        <p:spPr>
          <a:xfrm>
            <a:off x="2522732" y="3941654"/>
            <a:ext cx="2044234" cy="553998"/>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5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専門医が所属</a:t>
            </a:r>
            <a:endParaRPr lang="en-US" altLang="ja-JP" sz="1000" dirty="0"/>
          </a:p>
          <a:p>
            <a:pPr marL="171450" indent="-171450">
              <a:buFont typeface="Arial" panose="020B0604020202020204" pitchFamily="34" charset="0"/>
              <a:buChar char="•"/>
            </a:pPr>
            <a:r>
              <a:rPr lang="ja-JP" altLang="en-US" sz="1000" dirty="0"/>
              <a:t>平均</a:t>
            </a:r>
            <a:r>
              <a:rPr lang="en-US" altLang="ja-JP" sz="1000" dirty="0"/>
              <a:t>200-800</a:t>
            </a:r>
            <a:r>
              <a:rPr lang="ja-JP" altLang="en-US" sz="1000" dirty="0"/>
              <a:t>床</a:t>
            </a:r>
            <a:endParaRPr lang="en-US" altLang="ja-JP" sz="1000" dirty="0"/>
          </a:p>
        </p:txBody>
      </p:sp>
      <p:sp>
        <p:nvSpPr>
          <p:cNvPr id="47" name="TextBox 46">
            <a:extLst>
              <a:ext uri="{FF2B5EF4-FFF2-40B4-BE49-F238E27FC236}">
                <a16:creationId xmlns:a16="http://schemas.microsoft.com/office/drawing/2014/main" id="{D5A212BB-886B-4701-84FD-95C48A22F918}"/>
              </a:ext>
            </a:extLst>
          </p:cNvPr>
          <p:cNvSpPr txBox="1"/>
          <p:nvPr/>
        </p:nvSpPr>
        <p:spPr>
          <a:xfrm>
            <a:off x="2522732" y="4518773"/>
            <a:ext cx="2044234" cy="707886"/>
          </a:xfrm>
          <a:prstGeom prst="rect">
            <a:avLst/>
          </a:prstGeom>
          <a:noFill/>
        </p:spPr>
        <p:txBody>
          <a:bodyPr wrap="square">
            <a:spAutoFit/>
          </a:bodyPr>
          <a:lstStyle/>
          <a:p>
            <a:pPr marL="171450" indent="-171450">
              <a:buFont typeface="Arial" panose="020B0604020202020204" pitchFamily="34" charset="0"/>
              <a:buChar char="•"/>
            </a:pPr>
            <a:r>
              <a:rPr lang="ja-JP" altLang="en-US" sz="1000" dirty="0"/>
              <a:t>約</a:t>
            </a:r>
            <a:r>
              <a:rPr lang="en-US" altLang="ja-JP" sz="1000" dirty="0"/>
              <a:t>260</a:t>
            </a:r>
            <a:r>
              <a:rPr lang="ja-JP" altLang="en-US" sz="1000" dirty="0"/>
              <a:t>か所</a:t>
            </a:r>
            <a:endParaRPr lang="en-US" altLang="ja-JP" sz="1000" dirty="0"/>
          </a:p>
          <a:p>
            <a:pPr marL="171450" indent="-171450">
              <a:buFont typeface="Arial" panose="020B0604020202020204" pitchFamily="34" charset="0"/>
              <a:buChar char="•"/>
            </a:pPr>
            <a:r>
              <a:rPr lang="ja-JP" altLang="en-US" sz="1000" dirty="0"/>
              <a:t>一般医（</a:t>
            </a:r>
            <a:r>
              <a:rPr lang="en-US" altLang="ja-JP" sz="1000" dirty="0"/>
              <a:t>GP</a:t>
            </a:r>
            <a:r>
              <a:rPr lang="ja-JP" altLang="en-US" sz="1000" dirty="0"/>
              <a:t>）が所属</a:t>
            </a:r>
          </a:p>
          <a:p>
            <a:pPr marL="171450" indent="-171450">
              <a:buFont typeface="Arial" panose="020B0604020202020204" pitchFamily="34" charset="0"/>
              <a:buChar char="•"/>
            </a:pPr>
            <a:r>
              <a:rPr lang="ja-JP" altLang="en-US" sz="1000" dirty="0"/>
              <a:t>小規模なところで</a:t>
            </a:r>
            <a:r>
              <a:rPr lang="en-US" altLang="ja-JP" sz="1000" dirty="0"/>
              <a:t>50-150</a:t>
            </a:r>
            <a:r>
              <a:rPr lang="ja-JP" altLang="en-US" sz="1000" dirty="0"/>
              <a:t>床、大規模なところでは</a:t>
            </a:r>
            <a:r>
              <a:rPr lang="en-US" altLang="ja-JP" sz="1000" dirty="0"/>
              <a:t>300-600</a:t>
            </a:r>
            <a:r>
              <a:rPr lang="ja-JP" altLang="en-US" sz="1000" dirty="0"/>
              <a:t>床</a:t>
            </a:r>
            <a:endParaRPr lang="en-US" sz="1000" dirty="0"/>
          </a:p>
        </p:txBody>
      </p:sp>
      <p:cxnSp>
        <p:nvCxnSpPr>
          <p:cNvPr id="9" name="Straight Arrow Connector 8">
            <a:extLst>
              <a:ext uri="{FF2B5EF4-FFF2-40B4-BE49-F238E27FC236}">
                <a16:creationId xmlns:a16="http://schemas.microsoft.com/office/drawing/2014/main" id="{19696536-62BA-4154-AE2D-A2DBCE15F9C6}"/>
              </a:ext>
            </a:extLst>
          </p:cNvPr>
          <p:cNvCxnSpPr>
            <a:cxnSpLocks/>
            <a:stCxn id="23" idx="0"/>
            <a:endCxn id="22" idx="2"/>
          </p:cNvCxnSpPr>
          <p:nvPr/>
        </p:nvCxnSpPr>
        <p:spPr>
          <a:xfrm flipV="1">
            <a:off x="1289698" y="4862009"/>
            <a:ext cx="0" cy="54341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8B44F57-F64F-48F8-AF16-E22F213D553C}"/>
              </a:ext>
            </a:extLst>
          </p:cNvPr>
          <p:cNvCxnSpPr>
            <a:cxnSpLocks/>
            <a:stCxn id="22" idx="0"/>
            <a:endCxn id="21" idx="2"/>
          </p:cNvCxnSpPr>
          <p:nvPr/>
        </p:nvCxnSpPr>
        <p:spPr>
          <a:xfrm flipV="1">
            <a:off x="1289698" y="4291910"/>
            <a:ext cx="8977"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F9632037-48D5-4FAD-9E5A-2DBE73E027B5}"/>
              </a:ext>
            </a:extLst>
          </p:cNvPr>
          <p:cNvCxnSpPr>
            <a:cxnSpLocks/>
            <a:stCxn id="21" idx="0"/>
            <a:endCxn id="20" idx="2"/>
          </p:cNvCxnSpPr>
          <p:nvPr/>
        </p:nvCxnSpPr>
        <p:spPr>
          <a:xfrm flipV="1">
            <a:off x="1298675" y="3721811"/>
            <a:ext cx="3071" cy="2820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1D244FAD-A86D-42B6-9D23-A60B6A539007}"/>
              </a:ext>
            </a:extLst>
          </p:cNvPr>
          <p:cNvCxnSpPr>
            <a:cxnSpLocks/>
            <a:stCxn id="20" idx="0"/>
            <a:endCxn id="5" idx="2"/>
          </p:cNvCxnSpPr>
          <p:nvPr/>
        </p:nvCxnSpPr>
        <p:spPr>
          <a:xfrm flipH="1" flipV="1">
            <a:off x="1298675" y="3160782"/>
            <a:ext cx="3071" cy="27299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24">
            <a:extLst>
              <a:ext uri="{FF2B5EF4-FFF2-40B4-BE49-F238E27FC236}">
                <a16:creationId xmlns:a16="http://schemas.microsoft.com/office/drawing/2014/main" id="{8C32CC8D-E816-4FE7-9863-6E6FAECF12FA}"/>
              </a:ext>
            </a:extLst>
          </p:cNvPr>
          <p:cNvSpPr txBox="1"/>
          <p:nvPr/>
        </p:nvSpPr>
        <p:spPr>
          <a:xfrm>
            <a:off x="317588" y="2185087"/>
            <a:ext cx="4527401" cy="617670"/>
          </a:xfrm>
          <a:prstGeom prst="rect">
            <a:avLst/>
          </a:prstGeom>
          <a:noFill/>
        </p:spPr>
        <p:txBody>
          <a:bodyPr wrap="square" lIns="0" tIns="0" rIns="0" bIns="0" rtlCol="0">
            <a:spAutoFit/>
          </a:bodyPr>
          <a:lstStyle/>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患者はまずはクリニックもしくは郡立病院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neral practitione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診察を受けたのち、必要に応じてより上位の病院に紹介される。</a:t>
            </a:r>
          </a:p>
          <a:p>
            <a:pPr marL="171450" indent="-171450" algn="just">
              <a:lnSpc>
                <a:spcPct val="110000"/>
              </a:lnSpc>
              <a:spcAft>
                <a:spcPts val="200"/>
              </a:spcAft>
              <a:buClr>
                <a:srgbClr val="5F8AC3"/>
              </a:buClr>
              <a:buFont typeface="Arial" panose="020B0604020202020204" pitchFamily="34" charset="0"/>
              <a:buChar char="•"/>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低所得者には無料で医療サービスが提供される</a:t>
            </a:r>
          </a:p>
        </p:txBody>
      </p:sp>
    </p:spTree>
    <p:extLst>
      <p:ext uri="{BB962C8B-B14F-4D97-AF65-F5344CB8AC3E}">
        <p14:creationId xmlns:p14="http://schemas.microsoft.com/office/powerpoint/2010/main" val="3275213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公的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うち、南アフリカの教育機関としての役割を担う主要な病院には以下がある。</a:t>
            </a: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リサーチ</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476054148"/>
              </p:ext>
            </p:extLst>
          </p:nvPr>
        </p:nvGraphicFramePr>
        <p:xfrm>
          <a:off x="416496" y="1556792"/>
          <a:ext cx="9001004" cy="3756660"/>
        </p:xfrm>
        <a:graphic>
          <a:graphicData uri="http://schemas.openxmlformats.org/drawingml/2006/table">
            <a:tbl>
              <a:tblPr firstRow="1" bandRow="1">
                <a:tableStyleId>{5C22544A-7EE6-4342-B048-85BDC9FD1C3A}</a:tableStyleId>
              </a:tblPr>
              <a:tblGrid>
                <a:gridCol w="1563706">
                  <a:extLst>
                    <a:ext uri="{9D8B030D-6E8A-4147-A177-3AD203B41FA5}">
                      <a16:colId xmlns:a16="http://schemas.microsoft.com/office/drawing/2014/main" val="20001"/>
                    </a:ext>
                  </a:extLst>
                </a:gridCol>
                <a:gridCol w="1563706">
                  <a:extLst>
                    <a:ext uri="{9D8B030D-6E8A-4147-A177-3AD203B41FA5}">
                      <a16:colId xmlns:a16="http://schemas.microsoft.com/office/drawing/2014/main" val="2472286591"/>
                    </a:ext>
                  </a:extLst>
                </a:gridCol>
                <a:gridCol w="1468398">
                  <a:extLst>
                    <a:ext uri="{9D8B030D-6E8A-4147-A177-3AD203B41FA5}">
                      <a16:colId xmlns:a16="http://schemas.microsoft.com/office/drawing/2014/main" val="3386509722"/>
                    </a:ext>
                  </a:extLst>
                </a:gridCol>
                <a:gridCol w="1468398">
                  <a:extLst>
                    <a:ext uri="{9D8B030D-6E8A-4147-A177-3AD203B41FA5}">
                      <a16:colId xmlns:a16="http://schemas.microsoft.com/office/drawing/2014/main" val="1706018260"/>
                    </a:ext>
                  </a:extLst>
                </a:gridCol>
                <a:gridCol w="1468398">
                  <a:extLst>
                    <a:ext uri="{9D8B030D-6E8A-4147-A177-3AD203B41FA5}">
                      <a16:colId xmlns:a16="http://schemas.microsoft.com/office/drawing/2014/main" val="3087748107"/>
                    </a:ext>
                  </a:extLst>
                </a:gridCol>
                <a:gridCol w="1468398">
                  <a:extLst>
                    <a:ext uri="{9D8B030D-6E8A-4147-A177-3AD203B41FA5}">
                      <a16:colId xmlns:a16="http://schemas.microsoft.com/office/drawing/2014/main" val="4188819399"/>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中央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協定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設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在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ベッド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algn="l" fontAlgn="ctr"/>
                      <a:r>
                        <a:rPr kumimoji="1" lang="en-US" sz="1200" kern="1200" dirty="0">
                          <a:solidFill>
                            <a:schemeClr val="tx1"/>
                          </a:solidFill>
                          <a:latin typeface="+mj-lt"/>
                          <a:ea typeface="ＭＳ Ｐゴシック" panose="020B0600070205080204" pitchFamily="50" charset="-128"/>
                          <a:cs typeface="Arial" panose="020B0604020202020204" pitchFamily="34" charset="0"/>
                        </a:rPr>
                        <a:t>Chris Hani Baragwanath Academic Hospita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University of the Witwatersrand Medical School,</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4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Johannesburg</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ヨハネスブルク）</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a:solidFill>
                            <a:srgbClr val="000000"/>
                          </a:solidFill>
                          <a:effectLst/>
                          <a:latin typeface="+mj-lt"/>
                          <a:ea typeface="游ゴシック" panose="020B0400000000000000" pitchFamily="50" charset="-128"/>
                        </a:rPr>
                        <a:t>3,200</a:t>
                      </a: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5">
                            <a:extLst>
                              <a:ext uri="{A12FA001-AC4F-418D-AE19-62706E023703}">
                                <ahyp:hlinkClr xmlns:ahyp="http://schemas.microsoft.com/office/drawing/2018/hyperlinkcolor" val="tx"/>
                              </a:ext>
                            </a:extLst>
                          </a:hlinkClick>
                        </a:rPr>
                        <a:t>https://www.chrishanibaragwanathhospital.co.za/</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37636">
                <a:tc>
                  <a:txBody>
                    <a:bodyPr/>
                    <a:lstStyle/>
                    <a:p>
                      <a:pPr algn="l" fontAlgn="ctr"/>
                      <a:r>
                        <a:rPr kumimoji="1" lang="en-US" sz="1200" kern="1200" dirty="0">
                          <a:solidFill>
                            <a:schemeClr val="tx1"/>
                          </a:solidFill>
                          <a:latin typeface="+mj-lt"/>
                          <a:ea typeface="ＭＳ Ｐゴシック" panose="020B0600070205080204" pitchFamily="50" charset="-128"/>
                          <a:cs typeface="Arial" panose="020B0604020202020204" pitchFamily="34" charset="0"/>
                        </a:rPr>
                        <a:t>Dr George </a:t>
                      </a:r>
                      <a:r>
                        <a:rPr kumimoji="1" lang="en-US" sz="1200" kern="1200" dirty="0" err="1">
                          <a:solidFill>
                            <a:schemeClr val="tx1"/>
                          </a:solidFill>
                          <a:latin typeface="+mj-lt"/>
                          <a:ea typeface="ＭＳ Ｐゴシック" panose="020B0600070205080204" pitchFamily="50" charset="-128"/>
                          <a:cs typeface="Arial" panose="020B0604020202020204" pitchFamily="34" charset="0"/>
                        </a:rPr>
                        <a:t>Mukhari</a:t>
                      </a:r>
                      <a:r>
                        <a:rPr kumimoji="1" lang="en-US" sz="1200" kern="1200" dirty="0">
                          <a:solidFill>
                            <a:schemeClr val="tx1"/>
                          </a:solidFill>
                          <a:latin typeface="+mj-lt"/>
                          <a:ea typeface="ＭＳ Ｐゴシック" panose="020B0600070205080204" pitchFamily="50" charset="-128"/>
                          <a:cs typeface="Arial" panose="020B0604020202020204" pitchFamily="34" charset="0"/>
                        </a:rPr>
                        <a:t>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dirty="0" err="1">
                          <a:solidFill>
                            <a:schemeClr val="tx1"/>
                          </a:solidFill>
                          <a:latin typeface="+mj-lt"/>
                          <a:ea typeface="ＭＳ Ｐゴシック" panose="020B0600070205080204" pitchFamily="50" charset="-128"/>
                          <a:cs typeface="Arial" panose="020B0604020202020204" pitchFamily="34" charset="0"/>
                        </a:rPr>
                        <a:t>Sefako</a:t>
                      </a:r>
                      <a:r>
                        <a:rPr kumimoji="1" lang="en-US" sz="1200" kern="1200" dirty="0">
                          <a:solidFill>
                            <a:schemeClr val="tx1"/>
                          </a:solidFill>
                          <a:latin typeface="+mj-lt"/>
                          <a:ea typeface="ＭＳ Ｐゴシック" panose="020B0600070205080204" pitchFamily="50" charset="-128"/>
                          <a:cs typeface="Arial" panose="020B0604020202020204" pitchFamily="34" charset="0"/>
                        </a:rPr>
                        <a:t>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7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Pretoria</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65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sng" strike="noStrike" dirty="0">
                          <a:solidFill>
                            <a:schemeClr val="tx1"/>
                          </a:solidFill>
                          <a:effectLst/>
                          <a:latin typeface="+mj-lt"/>
                          <a:ea typeface="游ゴシック" panose="020B0400000000000000" pitchFamily="50" charset="-128"/>
                        </a:rPr>
                        <a:t>https://www.nioh.ac.za/wp-content/uploads/2020/08/Updated-Sr-Lesego-Seabelo-COVID-19-EXPERIENCES.pdf</a:t>
                      </a:r>
                    </a:p>
                    <a:p>
                      <a:pPr algn="l" fontAlgn="ctr"/>
                      <a:r>
                        <a:rPr lang="en-US" sz="800" b="0" i="0" u="sng" strike="noStrike" dirty="0">
                          <a:solidFill>
                            <a:schemeClr val="tx1"/>
                          </a:solidFill>
                          <a:effectLst/>
                          <a:latin typeface="+mj-lt"/>
                          <a:ea typeface="游ゴシック" panose="020B0400000000000000" pitchFamily="50" charset="-128"/>
                        </a:rPr>
                        <a:t>https://www.wikiwand.com/en/Dr_George_Mukhari_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39618597"/>
                  </a:ext>
                </a:extLst>
              </a:tr>
              <a:tr h="537636">
                <a:tc>
                  <a:txBody>
                    <a:bodyPr/>
                    <a:lstStyle/>
                    <a:p>
                      <a:pPr algn="l" fontAlgn="ctr"/>
                      <a:r>
                        <a:rPr kumimoji="1" lang="en-US" sz="1200" kern="1200" dirty="0" err="1">
                          <a:solidFill>
                            <a:schemeClr val="tx1"/>
                          </a:solidFill>
                          <a:latin typeface="+mj-lt"/>
                          <a:ea typeface="ＭＳ Ｐゴシック" panose="020B0600070205080204" pitchFamily="50" charset="-128"/>
                          <a:cs typeface="Arial" panose="020B0604020202020204" pitchFamily="34" charset="0"/>
                        </a:rPr>
                        <a:t>Weskoppies</a:t>
                      </a:r>
                      <a:r>
                        <a:rPr kumimoji="1" lang="en-US" sz="1200" kern="1200" dirty="0">
                          <a:solidFill>
                            <a:schemeClr val="tx1"/>
                          </a:solidFill>
                          <a:latin typeface="+mj-lt"/>
                          <a:ea typeface="ＭＳ Ｐゴシック" panose="020B0600070205080204" pitchFamily="50" charset="-128"/>
                          <a:cs typeface="Arial" panose="020B0604020202020204" pitchFamily="34" charset="0"/>
                        </a:rPr>
                        <a:t>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University of Pretoria, Sefako Makgatho Health Sciences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892</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Pretoria</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400</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6">
                            <a:extLst>
                              <a:ext uri="{A12FA001-AC4F-418D-AE19-62706E023703}">
                                <ahyp:hlinkClr xmlns:ahyp="http://schemas.microsoft.com/office/drawing/2018/hyperlinkcolor" val="tx"/>
                              </a:ext>
                            </a:extLst>
                          </a:hlinkClick>
                        </a:rPr>
                        <a:t>https://www.up.ac.za/psychiatry/article/1949330/weskoppies-hospital</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18359870"/>
                  </a:ext>
                </a:extLst>
              </a:tr>
              <a:tr h="422536">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Tygerberg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kumimoji="1" lang="en-US" sz="1200" kern="1200">
                          <a:solidFill>
                            <a:schemeClr val="tx1"/>
                          </a:solidFill>
                          <a:latin typeface="+mj-lt"/>
                          <a:ea typeface="ＭＳ Ｐゴシック" panose="020B0600070205080204" pitchFamily="50" charset="-128"/>
                          <a:cs typeface="Arial" panose="020B0604020202020204" pitchFamily="34" charset="0"/>
                        </a:rPr>
                        <a:t>Cape Peninsula University of Technolog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200" kern="1200" dirty="0">
                          <a:solidFill>
                            <a:schemeClr val="tx1"/>
                          </a:solidFill>
                          <a:latin typeface="+mj-lt"/>
                          <a:ea typeface="ＭＳ Ｐゴシック" panose="020B0600070205080204" pitchFamily="50" charset="-128"/>
                          <a:cs typeface="Arial" panose="020B0604020202020204" pitchFamily="34" charset="0"/>
                        </a:rPr>
                        <a:t>1976</a:t>
                      </a: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200" noProof="1">
                          <a:solidFill>
                            <a:schemeClr val="tx1"/>
                          </a:solidFill>
                          <a:latin typeface="+mj-lt"/>
                          <a:ea typeface="ＭＳ Ｐゴシック" panose="020B0600070205080204" pitchFamily="50" charset="-128"/>
                          <a:cs typeface="Arial" panose="020B0604020202020204" pitchFamily="34" charset="0"/>
                        </a:rPr>
                        <a:t>Cape Town</a:t>
                      </a:r>
                    </a:p>
                    <a:p>
                      <a:pPr algn="ctr" fontAlgn="ctr"/>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ケープタウン）</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384</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7">
                            <a:extLst>
                              <a:ext uri="{A12FA001-AC4F-418D-AE19-62706E023703}">
                                <ahyp:hlinkClr xmlns:ahyp="http://schemas.microsoft.com/office/drawing/2018/hyperlinkcolor" val="tx"/>
                              </a:ext>
                            </a:extLst>
                          </a:hlinkClick>
                        </a:rPr>
                        <a:t>https://www.cput.ac.za/about/visit/tygerberg-hospital</a:t>
                      </a:r>
                      <a:endParaRPr lang="en-US" sz="800" b="0" i="0" u="none" strike="noStrike" dirty="0">
                        <a:solidFill>
                          <a:schemeClr val="tx1"/>
                        </a:solidFill>
                        <a:effectLst/>
                        <a:latin typeface="+mj-lt"/>
                        <a:ea typeface="游ゴシック" panose="020B0400000000000000" pitchFamily="50" charset="-128"/>
                      </a:endParaRPr>
                    </a:p>
                    <a:p>
                      <a:pPr algn="l" fontAlgn="ctr"/>
                      <a:r>
                        <a:rPr lang="en-US" sz="800" b="0" i="0" u="none" strike="noStrike" dirty="0">
                          <a:solidFill>
                            <a:schemeClr val="tx1"/>
                          </a:solidFill>
                          <a:effectLst/>
                          <a:latin typeface="+mj-lt"/>
                          <a:ea typeface="游ゴシック" panose="020B0400000000000000" pitchFamily="50" charset="-128"/>
                          <a:hlinkClick r:id="rId8">
                            <a:extLst>
                              <a:ext uri="{A12FA001-AC4F-418D-AE19-62706E023703}">
                                <ahyp:hlinkClr xmlns:ahyp="http://schemas.microsoft.com/office/drawing/2018/hyperlinkcolor" val="tx"/>
                              </a:ext>
                            </a:extLst>
                          </a:hlinkClick>
                        </a:rPr>
                        <a:t>https://www.westerncape.gov.za/assets/departments/health/tygerberg_hospital_information_pamphlet_-_2016.pdf</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algn="l" fontAlgn="ctr"/>
                      <a:r>
                        <a:rPr lang="en-US" sz="1100" b="0" i="0" u="none" strike="noStrike">
                          <a:solidFill>
                            <a:srgbClr val="000000"/>
                          </a:solidFill>
                          <a:effectLst/>
                          <a:latin typeface="+mj-lt"/>
                          <a:ea typeface="游ゴシック" panose="020B0400000000000000" pitchFamily="50" charset="-128"/>
                        </a:rPr>
                        <a:t>Steve Biko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mj-lt"/>
                          <a:ea typeface="游ゴシック" panose="020B0400000000000000" pitchFamily="50" charset="-128"/>
                        </a:rPr>
                        <a:t>University of Pretoria </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1932</a:t>
                      </a:r>
                      <a:r>
                        <a:rPr lang="ja-JP" altLang="en-US" sz="1100" b="0" i="0" u="none" strike="noStrike" dirty="0">
                          <a:solidFill>
                            <a:srgbClr val="000000"/>
                          </a:solidFill>
                          <a:effectLst/>
                          <a:latin typeface="+mj-lt"/>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noProof="1">
                          <a:solidFill>
                            <a:srgbClr val="000000"/>
                          </a:solidFill>
                          <a:effectLst/>
                          <a:latin typeface="+mj-lt"/>
                          <a:ea typeface="游ゴシック" panose="020B0400000000000000" pitchFamily="50" charset="-128"/>
                        </a:rPr>
                        <a:t>Pretoria</a:t>
                      </a:r>
                    </a:p>
                    <a:p>
                      <a:pPr marL="0" algn="ctr" defTabSz="914400" rtl="0" eaLnBrk="1" fontAlgn="ctr" latinLnBrk="0" hangingPunct="1"/>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プレトリア）</a:t>
                      </a:r>
                      <a:endParaRPr kumimoji="1" lang="en-US" altLang="ja-JP" sz="1200" kern="1200" dirty="0">
                        <a:solidFill>
                          <a:schemeClr val="tx1"/>
                        </a:solidFill>
                        <a:latin typeface="+mj-lt"/>
                        <a:ea typeface="ＭＳ Ｐゴシック" panose="020B0600070205080204" pitchFamily="50" charset="-128"/>
                        <a:cs typeface="Arial" panose="020B0604020202020204" pitchFamily="34" charset="0"/>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83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none" strike="noStrike" dirty="0">
                          <a:solidFill>
                            <a:schemeClr val="tx1"/>
                          </a:solidFill>
                          <a:effectLst/>
                          <a:latin typeface="+mj-lt"/>
                          <a:ea typeface="游ゴシック" panose="020B0400000000000000" pitchFamily="50" charset="-128"/>
                          <a:hlinkClick r:id="rId9">
                            <a:extLst>
                              <a:ext uri="{A12FA001-AC4F-418D-AE19-62706E023703}">
                                <ahyp:hlinkClr xmlns:ahyp="http://schemas.microsoft.com/office/drawing/2018/hyperlinkcolor" val="tx"/>
                              </a:ext>
                            </a:extLst>
                          </a:hlinkClick>
                        </a:rPr>
                        <a:t>https://sbah.org.za/</a:t>
                      </a:r>
                      <a:endParaRPr lang="en-US" sz="800" b="0" i="0" u="none"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algn="l" fontAlgn="ctr"/>
                      <a:r>
                        <a:rPr lang="en-US" sz="1100" b="0" i="0" u="none" strike="noStrike">
                          <a:solidFill>
                            <a:srgbClr val="000000"/>
                          </a:solidFill>
                          <a:effectLst/>
                          <a:latin typeface="+mj-lt"/>
                          <a:ea typeface="游ゴシック" panose="020B0400000000000000" pitchFamily="50" charset="-128"/>
                        </a:rPr>
                        <a:t>Nelson Mandela Academic Hospital</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1100" b="0" i="0" u="none" strike="noStrike">
                          <a:solidFill>
                            <a:srgbClr val="000000"/>
                          </a:solidFill>
                          <a:effectLst/>
                          <a:latin typeface="+mj-lt"/>
                          <a:ea typeface="游ゴシック" panose="020B0400000000000000" pitchFamily="50" charset="-128"/>
                        </a:rPr>
                        <a:t>Walter Sisulu University</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2004</a:t>
                      </a:r>
                      <a:r>
                        <a:rPr lang="ja-JP" altLang="en-US" sz="1100" b="0" i="0" u="none" strike="noStrike" dirty="0">
                          <a:solidFill>
                            <a:srgbClr val="000000"/>
                          </a:solidFill>
                          <a:effectLst/>
                          <a:latin typeface="+mj-lt"/>
                          <a:ea typeface="游ゴシック" panose="020B0400000000000000" pitchFamily="50" charset="-128"/>
                        </a:rPr>
                        <a:t>年</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100" b="0" i="0" u="none" strike="noStrike" noProof="1">
                          <a:solidFill>
                            <a:srgbClr val="000000"/>
                          </a:solidFill>
                          <a:effectLst/>
                          <a:latin typeface="+mj-lt"/>
                          <a:ea typeface="游ゴシック" panose="020B0400000000000000" pitchFamily="50" charset="-128"/>
                        </a:rPr>
                        <a:t>Umutata</a:t>
                      </a:r>
                    </a:p>
                    <a:p>
                      <a:pPr marL="0" algn="ctr" defTabSz="914400" rtl="0" eaLnBrk="1" fontAlgn="ctr" latinLnBrk="0" hangingPunct="1"/>
                      <a:r>
                        <a:rPr kumimoji="1" lang="ja-JP" altLang="en-US" sz="1200" kern="1200" dirty="0">
                          <a:solidFill>
                            <a:schemeClr val="tx1"/>
                          </a:solidFill>
                          <a:latin typeface="+mj-lt"/>
                          <a:ea typeface="ＭＳ Ｐゴシック" panose="020B0600070205080204" pitchFamily="50" charset="-128"/>
                          <a:cs typeface="Arial" panose="020B0604020202020204" pitchFamily="34" charset="0"/>
                        </a:rPr>
                        <a:t>（ウムタタ）</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100" b="0" i="0" u="none" strike="noStrike" dirty="0">
                          <a:solidFill>
                            <a:srgbClr val="000000"/>
                          </a:solidFill>
                          <a:effectLst/>
                          <a:latin typeface="+mj-lt"/>
                          <a:ea typeface="游ゴシック" panose="020B0400000000000000" pitchFamily="50" charset="-128"/>
                        </a:rPr>
                        <a:t>512</a:t>
                      </a: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r>
                        <a:rPr lang="en-US" sz="800" b="0" i="0" u="sng" strike="noStrike" dirty="0">
                          <a:solidFill>
                            <a:schemeClr val="tx1"/>
                          </a:solidFill>
                          <a:effectLst/>
                          <a:latin typeface="+mj-lt"/>
                          <a:ea typeface="游ゴシック" panose="020B0400000000000000" pitchFamily="50" charset="-128"/>
                          <a:hlinkClick r:id="rId10">
                            <a:extLst>
                              <a:ext uri="{A12FA001-AC4F-418D-AE19-62706E023703}">
                                <ahyp:hlinkClr xmlns:ahyp="http://schemas.microsoft.com/office/drawing/2018/hyperlinkcolor" val="tx"/>
                              </a:ext>
                            </a:extLst>
                          </a:hlinkClick>
                        </a:rPr>
                        <a:t>http://www.ecdoh.gov.za/hospitals/71/Nelson_Mandela_Academic_Hospital</a:t>
                      </a:r>
                      <a:endParaRPr lang="en-US" sz="800" b="0" i="0" u="sng" strike="noStrike" dirty="0">
                        <a:solidFill>
                          <a:schemeClr val="tx1"/>
                        </a:solidFill>
                        <a:effectLst/>
                        <a:latin typeface="+mj-lt"/>
                        <a:ea typeface="游ゴシック" panose="020B0400000000000000" pitchFamily="50" charset="-128"/>
                      </a:endParaRPr>
                    </a:p>
                  </a:txBody>
                  <a:tcPr marL="6350" marR="6350" marT="635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
        <p:nvSpPr>
          <p:cNvPr id="12" name="テキスト ボックス 28">
            <a:extLst>
              <a:ext uri="{FF2B5EF4-FFF2-40B4-BE49-F238E27FC236}">
                <a16:creationId xmlns:a16="http://schemas.microsoft.com/office/drawing/2014/main" id="{93824C1F-11B2-437C-A3FB-7A7ADF9221DF}"/>
              </a:ext>
            </a:extLst>
          </p:cNvPr>
          <p:cNvSpPr txBox="1"/>
          <p:nvPr/>
        </p:nvSpPr>
        <p:spPr>
          <a:xfrm>
            <a:off x="7041232" y="6165208"/>
            <a:ext cx="2959772" cy="123111"/>
          </a:xfrm>
          <a:prstGeom prst="rect">
            <a:avLst/>
          </a:prstGeom>
          <a:noFill/>
        </p:spPr>
        <p:txBody>
          <a:bodyPr wrap="square" lIns="0" tIns="0" rIns="0" bIns="0" rtlCol="0">
            <a:spAutoFit/>
          </a:bodyPr>
          <a:lstStyle/>
          <a:p>
            <a:pPr marL="355600" indent="-355600"/>
            <a:r>
              <a:rPr lang="ja-JP" altLang="en-US" sz="800" dirty="0">
                <a:latin typeface="+mn-ea"/>
                <a:cs typeface="Arial" panose="020B0604020202020204" pitchFamily="34" charset="0"/>
              </a:rPr>
              <a:t>注）</a:t>
            </a:r>
            <a:r>
              <a:rPr lang="ja-JP" altLang="ja-JP" sz="800" dirty="0">
                <a:effectLst/>
                <a:latin typeface="+mn-ea"/>
                <a:cs typeface="ＭＳ Ｐゴシック" panose="020B0600070205080204" pitchFamily="50" charset="-128"/>
              </a:rPr>
              <a:t>網羅的ではなく、最新の状況は確認する必要</a:t>
            </a:r>
            <a:r>
              <a:rPr lang="ja-JP" altLang="en-US" sz="800" dirty="0">
                <a:latin typeface="+mn-ea"/>
                <a:cs typeface="ＭＳ Ｐゴシック" panose="020B0600070205080204" pitchFamily="50" charset="-128"/>
              </a:rPr>
              <a:t>あり</a:t>
            </a:r>
            <a:endParaRPr lang="en-US" altLang="ja-JP" sz="800" dirty="0">
              <a:effectLst/>
              <a:latin typeface="+mn-ea"/>
              <a:cs typeface="ＭＳ Ｐゴシック" panose="020B0600070205080204" pitchFamily="50" charset="-128"/>
            </a:endParaRPr>
          </a:p>
        </p:txBody>
      </p:sp>
    </p:spTree>
    <p:extLst>
      <p:ext uri="{BB962C8B-B14F-4D97-AF65-F5344CB8AC3E}">
        <p14:creationId xmlns:p14="http://schemas.microsoft.com/office/powerpoint/2010/main" val="1455599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3F809F-569D-4510-B2D5-6B5485409A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863F809F-569D-4510-B2D5-6B5485409A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民間医療機関</a:t>
            </a:r>
            <a:endParaRPr lang="en-US" altLang="ja-JP" dirty="0"/>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４つの私立病院グループが大きなシェアを占めている。</a:t>
            </a:r>
            <a:endParaRPr lang="en-US" altLang="ja-JP" sz="14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200472" y="6597053"/>
            <a:ext cx="9289032" cy="72307"/>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jetro.go.jp/ext_images/_Reports/02/2021/a817acb6070d228b/202107.pdf</a:t>
            </a:r>
            <a:endParaRPr lang="ja-JP" altLang="ja-JP" sz="800" dirty="0"/>
          </a:p>
        </p:txBody>
      </p:sp>
      <p:graphicFrame>
        <p:nvGraphicFramePr>
          <p:cNvPr id="10" name="表 4">
            <a:extLst>
              <a:ext uri="{FF2B5EF4-FFF2-40B4-BE49-F238E27FC236}">
                <a16:creationId xmlns:a16="http://schemas.microsoft.com/office/drawing/2014/main" id="{FA0F7AD5-ACF5-4970-8504-DBA3ED24FE93}"/>
              </a:ext>
            </a:extLst>
          </p:cNvPr>
          <p:cNvGraphicFramePr>
            <a:graphicFrameLocks noGrp="1"/>
          </p:cNvGraphicFramePr>
          <p:nvPr>
            <p:extLst>
              <p:ext uri="{D42A27DB-BD31-4B8C-83A1-F6EECF244321}">
                <p14:modId xmlns:p14="http://schemas.microsoft.com/office/powerpoint/2010/main" val="2654467023"/>
              </p:ext>
            </p:extLst>
          </p:nvPr>
        </p:nvGraphicFramePr>
        <p:xfrm>
          <a:off x="200025" y="1811914"/>
          <a:ext cx="9217471" cy="3449258"/>
        </p:xfrm>
        <a:graphic>
          <a:graphicData uri="http://schemas.openxmlformats.org/drawingml/2006/table">
            <a:tbl>
              <a:tblPr firstRow="1" bandRow="1">
                <a:tableStyleId>{5C22544A-7EE6-4342-B048-85BDC9FD1C3A}</a:tableStyleId>
              </a:tblPr>
              <a:tblGrid>
                <a:gridCol w="2108949">
                  <a:extLst>
                    <a:ext uri="{9D8B030D-6E8A-4147-A177-3AD203B41FA5}">
                      <a16:colId xmlns:a16="http://schemas.microsoft.com/office/drawing/2014/main" val="20001"/>
                    </a:ext>
                  </a:extLst>
                </a:gridCol>
                <a:gridCol w="7108522">
                  <a:extLst>
                    <a:ext uri="{9D8B030D-6E8A-4147-A177-3AD203B41FA5}">
                      <a16:colId xmlns:a16="http://schemas.microsoft.com/office/drawing/2014/main" val="3386509722"/>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私立病院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76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Netcare</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et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以下の施設を 持つ南アフリカ最大の私立病院グ ループであ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0,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がん治療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小売薬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プライマリーヘルスケアセ ンターと歯科センター</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22536">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Mediclinic</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lini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フリカ の私立病院の約</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運営しており、 以下の施設で多くの専門領域のチー ムによる急性期医療を提供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外来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手術室</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79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つの亜急性期および専門病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Life</a:t>
                      </a:r>
                      <a:r>
                        <a:rPr kumimoji="1" lang="ja-JP" altLang="en-US" sz="1000" kern="1200" dirty="0">
                          <a:solidFill>
                            <a:schemeClr val="dk1"/>
                          </a:solidFill>
                          <a:latin typeface="+mn-ea"/>
                          <a:ea typeface="+mn-ea"/>
                          <a:cs typeface="Arial" panose="020B0604020202020204" pitchFamily="34" charset="0"/>
                        </a:rPr>
                        <a:t> </a:t>
                      </a:r>
                      <a:r>
                        <a:rPr kumimoji="1" lang="en-US" altLang="ja-JP" sz="1000" kern="1200" dirty="0">
                          <a:solidFill>
                            <a:schemeClr val="dk1"/>
                          </a:solidFill>
                          <a:latin typeface="+mn-ea"/>
                          <a:ea typeface="+mn-ea"/>
                          <a:cs typeface="Arial" panose="020B0604020202020204" pitchFamily="34" charset="0"/>
                        </a:rPr>
                        <a:t>Healthcare</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Life Healthcare</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グループは、南ア フリカのトッ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私立病院グルー プのひとつで、以下の医療施設で年 間</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以上の患者にサービスを提 供している。 </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急性期病院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9,0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超の病床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心臓の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2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腎臓透析科病棟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3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従業員用健康管理のため のクリニック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4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緊急病棟</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8622">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南アフリカ病院ネットワーク（</a:t>
                      </a:r>
                      <a:r>
                        <a:rPr kumimoji="1" lang="en-US" altLang="ja-JP" sz="1000" kern="1200" dirty="0">
                          <a:solidFill>
                            <a:schemeClr val="dk1"/>
                          </a:solidFill>
                          <a:latin typeface="+mn-ea"/>
                          <a:ea typeface="+mn-ea"/>
                          <a:cs typeface="Arial" panose="020B0604020202020204" pitchFamily="34" charset="0"/>
                        </a:rPr>
                        <a:t>NHN</a:t>
                      </a:r>
                      <a:r>
                        <a:rPr kumimoji="1" lang="ja-JP" altLang="en-US" sz="1000" kern="1200" dirty="0">
                          <a:solidFill>
                            <a:schemeClr val="dk1"/>
                          </a:solidFill>
                          <a:latin typeface="+mn-ea"/>
                          <a:ea typeface="+mn-ea"/>
                          <a:cs typeface="Arial" panose="020B0604020202020204" pitchFamily="34" charset="0"/>
                        </a:rPr>
                        <a:t>）</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は、南アフリカの独立経営の私 立病院を包括する組織である。</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NHN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ネットワーク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未満の小規 模な病院から</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床を越える大規模 な病院まで多岐にわたっている。独 立した病院がコスト効率と患者サー ビスの向上を達成する機会を提供し ている。ブランドとしては、 </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Busamed</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ure Day</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Melomed</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などがある。 </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bl>
          </a:graphicData>
        </a:graphic>
      </p:graphicFrame>
    </p:spTree>
    <p:extLst>
      <p:ext uri="{BB962C8B-B14F-4D97-AF65-F5344CB8AC3E}">
        <p14:creationId xmlns:p14="http://schemas.microsoft.com/office/powerpoint/2010/main" val="3170803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9" imgW="360" imgH="360" progId="TCLayout.ActiveDocument.1">
                  <p:embed/>
                </p:oleObj>
              </mc:Choice>
              <mc:Fallback>
                <p:oleObj name="think-cell Slide" r:id="rId69" imgW="360" imgH="360" progId="TCLayout.ActiveDocument.1">
                  <p:embed/>
                  <p:pic>
                    <p:nvPicPr>
                      <p:cNvPr id="8" name="Object 7"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における医師の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人以上増加しているが、それ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の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少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看護評議会によれば、看護師・助産師の数は近年減少しており、不足が拡大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2</a:t>
            </a:r>
            <a:r>
              <a:rPr kumimoji="0" lang="ja-JP" altLang="en-US" sz="800" dirty="0" bmk=""/>
              <a:t>年</a:t>
            </a:r>
            <a:r>
              <a:rPr kumimoji="0" lang="en-US" altLang="ja-JP" sz="800" dirty="0" bmk=""/>
              <a:t>11</a:t>
            </a:r>
            <a:r>
              <a:rPr kumimoji="0" lang="ja-JP" altLang="en-US" sz="800" dirty="0" bmk=""/>
              <a:t>月現在</a:t>
            </a:r>
            <a:r>
              <a:rPr kumimoji="0" lang="en-US" altLang="ja-JP" sz="800" dirty="0" bmk="">
                <a:hlinkClick r:id="rId71">
                  <a:extLst>
                    <a:ext uri="{A12FA001-AC4F-418D-AE19-62706E023703}">
                      <ahyp:hlinkClr xmlns:ahyp="http://schemas.microsoft.com/office/drawing/2018/hyperlinkcolor" val="tx"/>
                    </a:ext>
                  </a:extLst>
                </a:hlinkClick>
              </a:rPr>
              <a:t>https://www.who.int/data/gho/data/themes/topics/health-workforce)</a:t>
            </a:r>
            <a:r>
              <a:rPr kumimoji="0" lang="ja-JP" altLang="en-US" sz="800" dirty="0" bmk="">
                <a:hlinkClick r:id="rId71">
                  <a:extLst>
                    <a:ext uri="{A12FA001-AC4F-418D-AE19-62706E023703}">
                      <ahyp:hlinkClr xmlns:ahyp="http://schemas.microsoft.com/office/drawing/2018/hyperlinkcolor" val="tx"/>
                    </a:ext>
                  </a:extLst>
                </a:hlinkClick>
              </a:rPr>
              <a:t>、</a:t>
            </a:r>
            <a:endParaRPr kumimoji="0" lang="en-US" altLang="ja-JP" sz="800" dirty="0" bmk=""/>
          </a:p>
          <a:p>
            <a:pPr>
              <a:tabLst>
                <a:tab pos="361950" algn="l"/>
              </a:tabLst>
            </a:pPr>
            <a:r>
              <a:rPr kumimoji="0" lang="en-US" altLang="ja-JP" sz="800" dirty="0" bmk=""/>
              <a:t>South African Nursing Council</a:t>
            </a:r>
            <a:endParaRPr kumimoji="0" lang="ja-JP" altLang="en-US" sz="800" dirty="0" bmk=""/>
          </a:p>
          <a:p>
            <a:pPr>
              <a:tabLst>
                <a:tab pos="361950" algn="l"/>
              </a:tabLst>
            </a:pPr>
            <a:endParaRPr kumimoji="0" lang="en-US" altLang="ja-JP" sz="800" dirty="0" bmk=""/>
          </a:p>
          <a:p>
            <a:pPr>
              <a:tabLst>
                <a:tab pos="361950" algn="l"/>
              </a:tabLst>
            </a:pPr>
            <a:endParaRPr kumimoji="0" lang="en-US" altLang="ja-JP" sz="800" dirty="0" bmk=""/>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89" name="Chart 88">
            <a:extLst>
              <a:ext uri="{FF2B5EF4-FFF2-40B4-BE49-F238E27FC236}">
                <a16:creationId xmlns:a16="http://schemas.microsoft.com/office/drawing/2014/main" id="{4FF41BF4-B35B-4578-84B1-C6E619383733}"/>
              </a:ext>
            </a:extLst>
          </p:cNvPr>
          <p:cNvGraphicFramePr/>
          <p:nvPr>
            <p:custDataLst>
              <p:tags r:id="rId3"/>
            </p:custDataLst>
          </p:nvPr>
        </p:nvGraphicFramePr>
        <p:xfrm>
          <a:off x="236538" y="2473325"/>
          <a:ext cx="4616450" cy="3717925"/>
        </p:xfrm>
        <a:graphic>
          <a:graphicData uri="http://schemas.openxmlformats.org/drawingml/2006/chart">
            <c:chart xmlns:c="http://schemas.openxmlformats.org/drawingml/2006/chart" xmlns:r="http://schemas.openxmlformats.org/officeDocument/2006/relationships" r:id="rId72"/>
          </a:graphicData>
        </a:graphic>
      </p:graphicFrame>
      <p:sp useBgFill="1">
        <p:nvSpPr>
          <p:cNvPr id="112" name="テキスト プレースホルダ 9">
            <a:extLst>
              <a:ext uri="{FF2B5EF4-FFF2-40B4-BE49-F238E27FC236}">
                <a16:creationId xmlns:a16="http://schemas.microsoft.com/office/drawing/2014/main" id="{60C1EB6F-156A-4990-8365-AECAE5293D3B}"/>
              </a:ext>
            </a:extLst>
          </p:cNvPr>
          <p:cNvSpPr>
            <a:spLocks noGrp="1"/>
          </p:cNvSpPr>
          <p:nvPr>
            <p:custDataLst>
              <p:tags r:id="rId4"/>
            </p:custDataLst>
          </p:nvPr>
        </p:nvSpPr>
        <p:spPr bwMode="gray">
          <a:xfrm>
            <a:off x="4076701" y="5942013"/>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59EF68-F32B-499D-A03F-782D1BD597B5}" type="datetime'''1'''''''''''''''''''''''''''">
              <a:rPr lang="ja-JP" altLang="en-US" sz="1000" smtClean="0">
                <a:effectLst/>
              </a:rPr>
              <a:pPr/>
              <a:t>1</a:t>
            </a:fld>
            <a:endParaRPr lang="ja-JP" altLang="en-US" sz="1000" dirty="0">
              <a:sym typeface="+mn-lt"/>
            </a:endParaRPr>
          </a:p>
        </p:txBody>
      </p:sp>
      <p:sp useBgFill="1">
        <p:nvSpPr>
          <p:cNvPr id="97" name="テキスト プレースホルダ 9">
            <a:extLst>
              <a:ext uri="{FF2B5EF4-FFF2-40B4-BE49-F238E27FC236}">
                <a16:creationId xmlns:a16="http://schemas.microsoft.com/office/drawing/2014/main" id="{9C4D702E-3205-455B-9C4B-C4A96A1DAC49}"/>
              </a:ext>
            </a:extLst>
          </p:cNvPr>
          <p:cNvSpPr>
            <a:spLocks noGrp="1"/>
          </p:cNvSpPr>
          <p:nvPr>
            <p:custDataLst>
              <p:tags r:id="rId5"/>
            </p:custDataLst>
          </p:nvPr>
        </p:nvSpPr>
        <p:spPr bwMode="gray">
          <a:xfrm>
            <a:off x="1776414" y="594995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EF3776-531F-4306-B723-F367BD016E91}" type="datetime'''''''''''''''''''''''1'''''''''''''''''''">
              <a:rPr lang="ja-JP" altLang="en-US" sz="1000" smtClean="0">
                <a:effectLst/>
              </a:rPr>
              <a:pPr/>
              <a:t>1</a:t>
            </a:fld>
            <a:endParaRPr lang="ja-JP" altLang="en-US" sz="1000" dirty="0">
              <a:sym typeface="+mn-lt"/>
            </a:endParaRPr>
          </a:p>
        </p:txBody>
      </p:sp>
      <p:sp useBgFill="1">
        <p:nvSpPr>
          <p:cNvPr id="96" name="テキスト プレースホルダ 9">
            <a:extLst>
              <a:ext uri="{FF2B5EF4-FFF2-40B4-BE49-F238E27FC236}">
                <a16:creationId xmlns:a16="http://schemas.microsoft.com/office/drawing/2014/main" id="{9B76FF25-4C61-42A6-8F41-2F00387B7139}"/>
              </a:ext>
            </a:extLst>
          </p:cNvPr>
          <p:cNvSpPr>
            <a:spLocks noGrp="1"/>
          </p:cNvSpPr>
          <p:nvPr>
            <p:custDataLst>
              <p:tags r:id="rId6"/>
            </p:custDataLst>
          </p:nvPr>
        </p:nvSpPr>
        <p:spPr bwMode="gray">
          <a:xfrm>
            <a:off x="1317626" y="5953125"/>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80CA54-623E-41F4-9F97-1AE67BC7F6B5}" type="datetime'''''''''1'''''''''''''''''''''''''''''''''''''">
              <a:rPr lang="ja-JP" altLang="en-US" sz="1000" smtClean="0">
                <a:effectLst/>
              </a:rPr>
              <a:pPr/>
              <a:t>1</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0E0770BD-6AA0-4A6D-A02E-5784D013A10E}"/>
              </a:ext>
            </a:extLst>
          </p:cNvPr>
          <p:cNvSpPr>
            <a:spLocks noGrp="1"/>
          </p:cNvSpPr>
          <p:nvPr>
            <p:custDataLst>
              <p:tags r:id="rId7"/>
            </p:custDataLst>
          </p:nvPr>
        </p:nvSpPr>
        <p:spPr bwMode="gray">
          <a:xfrm>
            <a:off x="1004888" y="6038850"/>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541D65-942E-4EE0-A7E4-C5BD46E76C2D}"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30" name="テキスト プレースホルダ 9"/>
          <p:cNvSpPr>
            <a:spLocks noGrp="1"/>
          </p:cNvSpPr>
          <p:nvPr>
            <p:custDataLst>
              <p:tags r:id="rId8"/>
            </p:custDataLst>
          </p:nvPr>
        </p:nvSpPr>
        <p:spPr bwMode="auto">
          <a:xfrm>
            <a:off x="450850" y="6234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2AD88-8EA9-44DA-9595-220415F2B069}" type="datetime'''''''''''''''''''''''''''''''''''''''2''0''1''''''''''0'''">
              <a:rPr lang="ja-JP" altLang="en-US" sz="1000" smtClean="0"/>
              <a:pPr/>
              <a:t>2010</a:t>
            </a:fld>
            <a:endParaRPr kumimoji="0" lang="ja-JP" altLang="en-US" sz="1000" dirty="0">
              <a:sym typeface="+mn-lt"/>
            </a:endParaRPr>
          </a:p>
        </p:txBody>
      </p:sp>
      <p:sp>
        <p:nvSpPr>
          <p:cNvPr id="27" name="テキスト プレースホルダ 9"/>
          <p:cNvSpPr>
            <a:spLocks noGrp="1"/>
          </p:cNvSpPr>
          <p:nvPr>
            <p:custDataLst>
              <p:tags r:id="rId9"/>
            </p:custDataLst>
          </p:nvPr>
        </p:nvSpPr>
        <p:spPr bwMode="auto">
          <a:xfrm>
            <a:off x="98107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C14EBF-01EA-4BC8-9B53-F9E4CA0DAAE7}" type="datetime'''''''''''1''''''1'''''''''''''''''">
              <a:rPr lang="ja-JP" altLang="en-US" sz="1000" smtClean="0"/>
              <a:pPr/>
              <a:t>11</a:t>
            </a:fld>
            <a:endParaRPr kumimoji="0" lang="ja-JP" altLang="en-US" sz="1000" dirty="0">
              <a:sym typeface="+mn-lt"/>
            </a:endParaRPr>
          </a:p>
        </p:txBody>
      </p:sp>
      <p:sp useBgFill="1">
        <p:nvSpPr>
          <p:cNvPr id="61" name="テキスト プレースホルダ 9">
            <a:extLst>
              <a:ext uri="{FF2B5EF4-FFF2-40B4-BE49-F238E27FC236}">
                <a16:creationId xmlns:a16="http://schemas.microsoft.com/office/drawing/2014/main" id="{DB24E674-573C-4EFC-9288-26FD68A64633}"/>
              </a:ext>
            </a:extLst>
          </p:cNvPr>
          <p:cNvSpPr>
            <a:spLocks noGrp="1"/>
          </p:cNvSpPr>
          <p:nvPr>
            <p:custDataLst>
              <p:tags r:id="rId10"/>
            </p:custDataLst>
          </p:nvPr>
        </p:nvSpPr>
        <p:spPr bwMode="gray">
          <a:xfrm>
            <a:off x="857251" y="5954713"/>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5185065-2F32-4582-B0E8-D8B5A2D8BC50}" type="datetime'''''''''''''''''''1'''''''''">
              <a:rPr lang="ja-JP" altLang="en-US" sz="1000" smtClean="0">
                <a:effectLst/>
              </a:rPr>
              <a:pPr/>
              <a:t>1</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E85E66D8-989B-442E-8944-7767D5D6FFA9}"/>
              </a:ext>
            </a:extLst>
          </p:cNvPr>
          <p:cNvSpPr>
            <a:spLocks noGrp="1"/>
          </p:cNvSpPr>
          <p:nvPr>
            <p:custDataLst>
              <p:tags r:id="rId11"/>
            </p:custDataLst>
          </p:nvPr>
        </p:nvSpPr>
        <p:spPr bwMode="gray">
          <a:xfrm>
            <a:off x="1465263" y="6029325"/>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4A6412-88C6-4994-9058-EF30FF7FCE22}"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25" name="テキスト プレースホルダ 9"/>
          <p:cNvSpPr>
            <a:spLocks noGrp="1"/>
          </p:cNvSpPr>
          <p:nvPr>
            <p:custDataLst>
              <p:tags r:id="rId12"/>
            </p:custDataLst>
          </p:nvPr>
        </p:nvSpPr>
        <p:spPr bwMode="auto">
          <a:xfrm>
            <a:off x="14414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00C70A-9B4C-45A4-97A6-D63F8705017C}" type="datetime'''''''''''''''''''''''''''''''''''''1''''2'''''''''''''''''''">
              <a:rPr lang="ja-JP" altLang="en-US" sz="1000" smtClean="0"/>
              <a:pPr/>
              <a:t>12</a:t>
            </a:fld>
            <a:endParaRPr kumimoji="0" lang="ja-JP" altLang="en-US" sz="1000" dirty="0">
              <a:sym typeface="+mn-lt"/>
            </a:endParaRPr>
          </a:p>
        </p:txBody>
      </p:sp>
      <p:sp>
        <p:nvSpPr>
          <p:cNvPr id="23" name="テキスト プレースホルダ 9"/>
          <p:cNvSpPr>
            <a:spLocks noGrp="1"/>
          </p:cNvSpPr>
          <p:nvPr>
            <p:custDataLst>
              <p:tags r:id="rId13"/>
            </p:custDataLst>
          </p:nvPr>
        </p:nvSpPr>
        <p:spPr bwMode="auto">
          <a:xfrm>
            <a:off x="190023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7CCEF8-5146-435E-92A1-8633B8977211}" type="datetime'1''''''3'''''''''''''''''''''''''''''''''''">
              <a:rPr lang="ja-JP" altLang="en-US" sz="1000" smtClean="0"/>
              <a:pPr/>
              <a:t>13</a:t>
            </a:fld>
            <a:endParaRPr kumimoji="0" lang="ja-JP" altLang="en-US" sz="1000" dirty="0">
              <a:sym typeface="+mn-lt"/>
            </a:endParaRPr>
          </a:p>
        </p:txBody>
      </p:sp>
      <p:sp useBgFill="1">
        <p:nvSpPr>
          <p:cNvPr id="147" name="テキスト プレースホルダ 9">
            <a:extLst>
              <a:ext uri="{FF2B5EF4-FFF2-40B4-BE49-F238E27FC236}">
                <a16:creationId xmlns:a16="http://schemas.microsoft.com/office/drawing/2014/main" id="{47FF1747-E9D0-4742-8F1C-718A64EE1B7C}"/>
              </a:ext>
            </a:extLst>
          </p:cNvPr>
          <p:cNvSpPr>
            <a:spLocks noGrp="1"/>
          </p:cNvSpPr>
          <p:nvPr>
            <p:custDataLst>
              <p:tags r:id="rId14"/>
            </p:custDataLst>
          </p:nvPr>
        </p:nvSpPr>
        <p:spPr bwMode="gray">
          <a:xfrm>
            <a:off x="2384425" y="6013450"/>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80D35-3886-405A-8B9D-46CC2AC6F839}"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78" name="テキスト プレースホルダ 9"/>
          <p:cNvSpPr>
            <a:spLocks noGrp="1"/>
          </p:cNvSpPr>
          <p:nvPr>
            <p:custDataLst>
              <p:tags r:id="rId15"/>
            </p:custDataLst>
          </p:nvPr>
        </p:nvSpPr>
        <p:spPr bwMode="auto">
          <a:xfrm>
            <a:off x="328136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B4FFB5-1C07-4213-8EB1-B46B1C5D2F4A}" type="datetime'''''''''''''''''''''''''''''''''''''''''''''''''1''6'">
              <a:rPr lang="ja-JP" altLang="en-US" sz="1000" smtClean="0"/>
              <a:pPr/>
              <a:t>16</a:t>
            </a:fld>
            <a:endParaRPr kumimoji="0" lang="ja-JP" altLang="en-US" sz="1000" dirty="0">
              <a:sym typeface="+mn-lt"/>
            </a:endParaRPr>
          </a:p>
        </p:txBody>
      </p:sp>
      <p:sp useBgFill="1">
        <p:nvSpPr>
          <p:cNvPr id="114" name="テキスト プレースホルダ 9">
            <a:extLst>
              <a:ext uri="{FF2B5EF4-FFF2-40B4-BE49-F238E27FC236}">
                <a16:creationId xmlns:a16="http://schemas.microsoft.com/office/drawing/2014/main" id="{41BB43F5-00D7-41FC-B5A6-96B06E58C076}"/>
              </a:ext>
            </a:extLst>
          </p:cNvPr>
          <p:cNvSpPr>
            <a:spLocks noGrp="1"/>
          </p:cNvSpPr>
          <p:nvPr>
            <p:custDataLst>
              <p:tags r:id="rId16"/>
            </p:custDataLst>
          </p:nvPr>
        </p:nvSpPr>
        <p:spPr bwMode="gray">
          <a:xfrm>
            <a:off x="2236789" y="594995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58292C-6A8F-40E5-90A5-C8134DE3CA07}" type="datetime'''''''''''''''''''''''1'''''">
              <a:rPr lang="ja-JP" altLang="en-US" sz="1000" smtClean="0">
                <a:effectLst/>
              </a:rPr>
              <a:pPr/>
              <a:t>1</a:t>
            </a:fld>
            <a:endParaRPr lang="ja-JP" altLang="en-US" sz="1000" dirty="0">
              <a:sym typeface="+mn-lt"/>
            </a:endParaRPr>
          </a:p>
        </p:txBody>
      </p:sp>
      <p:sp>
        <p:nvSpPr>
          <p:cNvPr id="21" name="テキスト プレースホルダ 9"/>
          <p:cNvSpPr>
            <a:spLocks noGrp="1"/>
          </p:cNvSpPr>
          <p:nvPr>
            <p:custDataLst>
              <p:tags r:id="rId17"/>
            </p:custDataLst>
          </p:nvPr>
        </p:nvSpPr>
        <p:spPr bwMode="auto">
          <a:xfrm>
            <a:off x="2360613"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99EDA2-E8D4-47A2-81CC-0C2891BA41E8}" type="datetime'''''''''''''''''''''''''''14'''''''''''">
              <a:rPr lang="ja-JP" altLang="en-US" sz="1000" smtClean="0"/>
              <a:pPr/>
              <a:t>14</a:t>
            </a:fld>
            <a:endParaRPr kumimoji="0" lang="ja-JP" altLang="en-US" sz="1000" dirty="0">
              <a:sym typeface="+mn-lt"/>
            </a:endParaRPr>
          </a:p>
        </p:txBody>
      </p:sp>
      <p:sp useBgFill="1">
        <p:nvSpPr>
          <p:cNvPr id="148" name="テキスト プレースホルダ 9">
            <a:extLst>
              <a:ext uri="{FF2B5EF4-FFF2-40B4-BE49-F238E27FC236}">
                <a16:creationId xmlns:a16="http://schemas.microsoft.com/office/drawing/2014/main" id="{23BE7C9F-72E6-4567-9443-27C271BC1BED}"/>
              </a:ext>
            </a:extLst>
          </p:cNvPr>
          <p:cNvSpPr>
            <a:spLocks noGrp="1"/>
          </p:cNvSpPr>
          <p:nvPr>
            <p:custDataLst>
              <p:tags r:id="rId18"/>
            </p:custDataLst>
          </p:nvPr>
        </p:nvSpPr>
        <p:spPr bwMode="gray">
          <a:xfrm>
            <a:off x="2844800" y="6003925"/>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A2E39B-0FD6-435A-B342-6874B5B1957A}" type="datetime'''2'''''''''''''''''''''''''''''''''''''">
              <a:rPr lang="ja-JP" altLang="en-US" sz="1000" smtClean="0">
                <a:effectLst/>
                <a:sym typeface="+mn-lt"/>
              </a:rPr>
              <a:pPr marL="0" indent="0" algn="ctr">
                <a:spcBef>
                  <a:spcPct val="0"/>
                </a:spcBef>
                <a:buNone/>
              </a:pPr>
              <a:t>2</a:t>
            </a:fld>
            <a:endParaRPr lang="ja-JP" altLang="en-US" sz="1000" dirty="0">
              <a:sym typeface="+mn-lt"/>
            </a:endParaRPr>
          </a:p>
        </p:txBody>
      </p:sp>
      <p:sp useBgFill="1">
        <p:nvSpPr>
          <p:cNvPr id="115" name="テキスト プレースホルダ 9">
            <a:extLst>
              <a:ext uri="{FF2B5EF4-FFF2-40B4-BE49-F238E27FC236}">
                <a16:creationId xmlns:a16="http://schemas.microsoft.com/office/drawing/2014/main" id="{5A8C2989-202C-467E-BC5F-5809FC1793E0}"/>
              </a:ext>
            </a:extLst>
          </p:cNvPr>
          <p:cNvSpPr>
            <a:spLocks noGrp="1"/>
          </p:cNvSpPr>
          <p:nvPr>
            <p:custDataLst>
              <p:tags r:id="rId19"/>
            </p:custDataLst>
          </p:nvPr>
        </p:nvSpPr>
        <p:spPr bwMode="gray">
          <a:xfrm>
            <a:off x="2697164" y="5946775"/>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7B45F69-E1A0-4B94-B186-D0C986BDB4FC}" type="datetime'''''1'''''''''''''''''''''''''''''''''''''''''''''''''''''''">
              <a:rPr lang="ja-JP" altLang="en-US" sz="1000" smtClean="0">
                <a:effectLst/>
              </a:rPr>
              <a:pPr/>
              <a:t>1</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84C4C9B7-D43B-4B58-8C20-18FC50416850}"/>
              </a:ext>
            </a:extLst>
          </p:cNvPr>
          <p:cNvSpPr>
            <a:spLocks noGrp="1"/>
          </p:cNvSpPr>
          <p:nvPr>
            <p:custDataLst>
              <p:tags r:id="rId20"/>
            </p:custDataLst>
          </p:nvPr>
        </p:nvSpPr>
        <p:spPr bwMode="auto">
          <a:xfrm>
            <a:off x="4200525"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259255-C7D9-4832-A339-F91F27C9A4B4}" type="datetime'''1''''''''''''''''''8'''''''''''''''''''">
              <a:rPr kumimoji="0" lang="ja-JP" altLang="en-US" sz="1000" smtClean="0"/>
              <a:pPr/>
              <a:t>18</a:t>
            </a:fld>
            <a:endParaRPr kumimoji="0" lang="ja-JP" altLang="en-US" sz="1000" dirty="0">
              <a:sym typeface="+mn-lt"/>
            </a:endParaRPr>
          </a:p>
        </p:txBody>
      </p:sp>
      <p:sp>
        <p:nvSpPr>
          <p:cNvPr id="19" name="テキスト プレースホルダ 9"/>
          <p:cNvSpPr>
            <a:spLocks noGrp="1"/>
          </p:cNvSpPr>
          <p:nvPr>
            <p:custDataLst>
              <p:tags r:id="rId21"/>
            </p:custDataLst>
          </p:nvPr>
        </p:nvSpPr>
        <p:spPr bwMode="auto">
          <a:xfrm>
            <a:off x="2820988"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864F48-E7CC-495B-90D8-39943B41FD15}" type="datetime'''''1''''''''''''''''''''''5'''''''''''''''''''''''''''''">
              <a:rPr lang="ja-JP" altLang="en-US" sz="1000" smtClean="0"/>
              <a:pPr/>
              <a:t>15</a:t>
            </a:fld>
            <a:endParaRPr kumimoji="0" lang="ja-JP" altLang="en-US" sz="1000" dirty="0">
              <a:sym typeface="+mn-lt"/>
            </a:endParaRPr>
          </a:p>
        </p:txBody>
      </p:sp>
      <p:sp useBgFill="1">
        <p:nvSpPr>
          <p:cNvPr id="149" name="テキスト プレースホルダ 9">
            <a:extLst>
              <a:ext uri="{FF2B5EF4-FFF2-40B4-BE49-F238E27FC236}">
                <a16:creationId xmlns:a16="http://schemas.microsoft.com/office/drawing/2014/main" id="{C7B3272D-EEF2-4FD2-8EAF-2B96237C3F06}"/>
              </a:ext>
            </a:extLst>
          </p:cNvPr>
          <p:cNvSpPr>
            <a:spLocks noGrp="1"/>
          </p:cNvSpPr>
          <p:nvPr>
            <p:custDataLst>
              <p:tags r:id="rId22"/>
            </p:custDataLst>
          </p:nvPr>
        </p:nvSpPr>
        <p:spPr bwMode="gray">
          <a:xfrm>
            <a:off x="3305175" y="6010275"/>
            <a:ext cx="104775"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DC5706-AD0A-440E-9700-A39C515124C6}" type="datetime'''''''2'''''''''''''''''''''''''">
              <a:rPr lang="ja-JP" altLang="en-US" sz="1000" smtClean="0">
                <a:effectLst/>
                <a:sym typeface="+mn-lt"/>
              </a:rPr>
              <a:pPr marL="0" indent="0" algn="ctr">
                <a:spcBef>
                  <a:spcPct val="0"/>
                </a:spcBef>
                <a:buNone/>
              </a:pPr>
              <a:t>2</a:t>
            </a:fld>
            <a:endParaRPr lang="ja-JP" altLang="en-US" sz="1000" dirty="0">
              <a:sym typeface="+mn-lt"/>
            </a:endParaRPr>
          </a:p>
        </p:txBody>
      </p:sp>
      <p:sp useBgFill="1">
        <p:nvSpPr>
          <p:cNvPr id="103" name="テキスト プレースホルダ 9">
            <a:extLst>
              <a:ext uri="{FF2B5EF4-FFF2-40B4-BE49-F238E27FC236}">
                <a16:creationId xmlns:a16="http://schemas.microsoft.com/office/drawing/2014/main" id="{575B56AB-1C45-44F6-852E-D893EFC6A10D}"/>
              </a:ext>
            </a:extLst>
          </p:cNvPr>
          <p:cNvSpPr>
            <a:spLocks noGrp="1"/>
          </p:cNvSpPr>
          <p:nvPr>
            <p:custDataLst>
              <p:tags r:id="rId23"/>
            </p:custDataLst>
          </p:nvPr>
        </p:nvSpPr>
        <p:spPr bwMode="gray">
          <a:xfrm>
            <a:off x="3157539" y="5945188"/>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142666D-CD0E-4AFB-9426-71E755198C34}" type="datetime'''''''''''1'''''''''''''''''''''''''''''''''''''''''''">
              <a:rPr lang="ja-JP" altLang="en-US" sz="1000" smtClean="0">
                <a:effectLst/>
              </a:rPr>
              <a:pPr/>
              <a:t>1</a:t>
            </a:fld>
            <a:endParaRPr lang="ja-JP" altLang="en-US" sz="1000" dirty="0">
              <a:sym typeface="+mn-lt"/>
            </a:endParaRPr>
          </a:p>
        </p:txBody>
      </p:sp>
      <p:sp useBgFill="1">
        <p:nvSpPr>
          <p:cNvPr id="116" name="テキスト プレースホルダ 9">
            <a:extLst>
              <a:ext uri="{FF2B5EF4-FFF2-40B4-BE49-F238E27FC236}">
                <a16:creationId xmlns:a16="http://schemas.microsoft.com/office/drawing/2014/main" id="{BFE84A40-B38F-4B00-B220-052D53AA7181}"/>
              </a:ext>
            </a:extLst>
          </p:cNvPr>
          <p:cNvSpPr>
            <a:spLocks noGrp="1"/>
          </p:cNvSpPr>
          <p:nvPr>
            <p:custDataLst>
              <p:tags r:id="rId24"/>
            </p:custDataLst>
          </p:nvPr>
        </p:nvSpPr>
        <p:spPr bwMode="gray">
          <a:xfrm>
            <a:off x="3616326" y="594360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FE80BD4-7E81-4649-8BDC-E1BF43C7411E}" type="datetime'''''''''''1'''''''''''''''''''''''''''''''''''">
              <a:rPr lang="ja-JP" altLang="en-US" sz="1000" smtClean="0">
                <a:effectLst/>
              </a:rPr>
              <a:pPr/>
              <a:t>1</a:t>
            </a:fld>
            <a:endParaRPr lang="ja-JP" altLang="en-US" sz="1000" dirty="0">
              <a:sym typeface="+mn-lt"/>
            </a:endParaRPr>
          </a:p>
        </p:txBody>
      </p:sp>
      <p:sp>
        <p:nvSpPr>
          <p:cNvPr id="57" name="テキスト プレースホルダ 9"/>
          <p:cNvSpPr>
            <a:spLocks noGrp="1"/>
          </p:cNvSpPr>
          <p:nvPr>
            <p:custDataLst>
              <p:tags r:id="rId25"/>
            </p:custDataLst>
          </p:nvPr>
        </p:nvSpPr>
        <p:spPr bwMode="auto">
          <a:xfrm>
            <a:off x="374015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7CD62-1EE8-4936-9403-90AE2A562515}" type="datetime'''''''''''''1''''''''''7'''''''''''''''">
              <a:rPr lang="ja-JP" altLang="en-US" sz="1000" smtClean="0"/>
              <a:pPr/>
              <a:t>17</a:t>
            </a:fld>
            <a:endParaRPr kumimoji="0" lang="ja-JP" altLang="en-US" sz="1000" dirty="0">
              <a:sym typeface="+mn-lt"/>
            </a:endParaRPr>
          </a:p>
        </p:txBody>
      </p:sp>
      <p:sp useBgFill="1">
        <p:nvSpPr>
          <p:cNvPr id="117" name="テキスト プレースホルダ 9">
            <a:extLst>
              <a:ext uri="{FF2B5EF4-FFF2-40B4-BE49-F238E27FC236}">
                <a16:creationId xmlns:a16="http://schemas.microsoft.com/office/drawing/2014/main" id="{31833460-7286-4464-BB2E-1B1A35B471B7}"/>
              </a:ext>
            </a:extLst>
          </p:cNvPr>
          <p:cNvSpPr>
            <a:spLocks noGrp="1"/>
          </p:cNvSpPr>
          <p:nvPr>
            <p:custDataLst>
              <p:tags r:id="rId26"/>
            </p:custDataLst>
          </p:nvPr>
        </p:nvSpPr>
        <p:spPr bwMode="gray">
          <a:xfrm>
            <a:off x="4537076" y="5943600"/>
            <a:ext cx="104775"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226D320-048D-41D2-A069-C11A552DFBBD}" type="datetime'''''''''''''''''''''''''''''''''''''''''''''1'''''''''''">
              <a:rPr lang="ja-JP" altLang="en-US" sz="1000" smtClean="0">
                <a:effectLst/>
              </a:rPr>
              <a:pPr/>
              <a:t>1</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459ABDF9-988A-409E-9420-519D8272B12A}"/>
              </a:ext>
            </a:extLst>
          </p:cNvPr>
          <p:cNvSpPr>
            <a:spLocks noGrp="1"/>
          </p:cNvSpPr>
          <p:nvPr>
            <p:custDataLst>
              <p:tags r:id="rId27"/>
            </p:custDataLst>
          </p:nvPr>
        </p:nvSpPr>
        <p:spPr bwMode="auto">
          <a:xfrm>
            <a:off x="4660900" y="6234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13DFC-BAC7-43E0-957A-D74A00E74D37}" type="datetime'''''''''''1''''''''''''9'''''''''''''''''''">
              <a:rPr kumimoji="0" lang="ja-JP" altLang="en-US" sz="1000" smtClean="0"/>
              <a:pPr/>
              <a:t>19</a:t>
            </a:fld>
            <a:endParaRPr kumimoji="0" lang="ja-JP" altLang="en-US" sz="1000" dirty="0">
              <a:sym typeface="+mn-lt"/>
            </a:endParaRPr>
          </a:p>
        </p:txBody>
      </p:sp>
      <p:cxnSp>
        <p:nvCxnSpPr>
          <p:cNvPr id="11" name="Straight Connector 10">
            <a:extLst>
              <a:ext uri="{FF2B5EF4-FFF2-40B4-BE49-F238E27FC236}">
                <a16:creationId xmlns:a16="http://schemas.microsoft.com/office/drawing/2014/main" id="{478D8398-BD2F-4058-A095-6F7BB508397F}"/>
              </a:ext>
            </a:extLst>
          </p:cNvPr>
          <p:cNvCxnSpPr/>
          <p:nvPr>
            <p:custDataLst>
              <p:tags r:id="rId28"/>
            </p:custDataLst>
          </p:nvPr>
        </p:nvCxnSpPr>
        <p:spPr bwMode="gray">
          <a:xfrm>
            <a:off x="3549650" y="4276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D74E7FD-8836-426B-BF9A-77A845954F82}"/>
              </a:ext>
            </a:extLst>
          </p:cNvPr>
          <p:cNvCxnSpPr/>
          <p:nvPr>
            <p:custDataLst>
              <p:tags r:id="rId29"/>
            </p:custDataLst>
          </p:nvPr>
        </p:nvCxnSpPr>
        <p:spPr bwMode="gray">
          <a:xfrm>
            <a:off x="3549650" y="468312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2468D93-43EF-48C9-BED0-7F7CCE660F4C}"/>
              </a:ext>
            </a:extLst>
          </p:cNvPr>
          <p:cNvCxnSpPr/>
          <p:nvPr>
            <p:custDataLst>
              <p:tags r:id="rId30"/>
            </p:custDataLst>
          </p:nvPr>
        </p:nvCxnSpPr>
        <p:spPr bwMode="gray">
          <a:xfrm>
            <a:off x="3549650" y="4479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B8E8B40-2C81-40EA-A18B-74E65D406E84}"/>
              </a:ext>
            </a:extLst>
          </p:cNvPr>
          <p:cNvCxnSpPr/>
          <p:nvPr>
            <p:custDataLst>
              <p:tags r:id="rId31"/>
            </p:custDataLst>
          </p:nvPr>
        </p:nvCxnSpPr>
        <p:spPr bwMode="gray">
          <a:xfrm>
            <a:off x="3549650" y="4073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Oval 39"/>
          <p:cNvSpPr/>
          <p:nvPr>
            <p:custDataLst>
              <p:tags r:id="rId32"/>
            </p:custDataLst>
          </p:nvPr>
        </p:nvSpPr>
        <p:spPr bwMode="gray">
          <a:xfrm>
            <a:off x="3638550" y="403542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Isosceles Triangle 143">
            <a:extLst>
              <a:ext uri="{FF2B5EF4-FFF2-40B4-BE49-F238E27FC236}">
                <a16:creationId xmlns:a16="http://schemas.microsoft.com/office/drawing/2014/main" id="{0C9365DB-219B-4354-82FD-E11FBC4D131E}"/>
              </a:ext>
            </a:extLst>
          </p:cNvPr>
          <p:cNvSpPr/>
          <p:nvPr>
            <p:custDataLst>
              <p:tags r:id="rId33"/>
            </p:custDataLst>
          </p:nvPr>
        </p:nvSpPr>
        <p:spPr bwMode="auto">
          <a:xfrm>
            <a:off x="3638550" y="4441825"/>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1200" dirty="0"/>
          </a:p>
        </p:txBody>
      </p:sp>
      <p:sp>
        <p:nvSpPr>
          <p:cNvPr id="38" name="Rectangle 37"/>
          <p:cNvSpPr/>
          <p:nvPr>
            <p:custDataLst>
              <p:tags r:id="rId34"/>
            </p:custDataLst>
          </p:nvPr>
        </p:nvSpPr>
        <p:spPr bwMode="gray">
          <a:xfrm>
            <a:off x="3638550" y="423862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Diamond 110">
            <a:extLst>
              <a:ext uri="{FF2B5EF4-FFF2-40B4-BE49-F238E27FC236}">
                <a16:creationId xmlns:a16="http://schemas.microsoft.com/office/drawing/2014/main" id="{7EFF38F8-1C52-4964-8C89-C5707076F988}"/>
              </a:ext>
            </a:extLst>
          </p:cNvPr>
          <p:cNvSpPr/>
          <p:nvPr>
            <p:custDataLst>
              <p:tags r:id="rId35"/>
            </p:custDataLst>
          </p:nvPr>
        </p:nvSpPr>
        <p:spPr bwMode="auto">
          <a:xfrm>
            <a:off x="3638550" y="4645025"/>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テキスト プレースホルダ 9"/>
          <p:cNvSpPr>
            <a:spLocks noGrp="1"/>
          </p:cNvSpPr>
          <p:nvPr>
            <p:custDataLst>
              <p:tags r:id="rId36"/>
            </p:custDataLst>
          </p:nvPr>
        </p:nvSpPr>
        <p:spPr bwMode="auto">
          <a:xfrm>
            <a:off x="3860800" y="400208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5F839BE-A1F5-4330-AC0D-6F390533DD5E}" type="datetime'''''''''看''''護''''''''''師''''''''・助''''''''産''師'''''''''">
              <a:rPr lang="ja-JP" altLang="en-US" sz="1000" smtClean="0"/>
              <a:pPr/>
              <a:t>看護師・助産師</a:t>
            </a:fld>
            <a:endParaRPr kumimoji="0" lang="ja-JP" altLang="en-US" sz="1000" dirty="0">
              <a:sym typeface="+mn-lt"/>
            </a:endParaRPr>
          </a:p>
        </p:txBody>
      </p:sp>
      <p:sp>
        <p:nvSpPr>
          <p:cNvPr id="51" name="テキスト プレースホルダ 9"/>
          <p:cNvSpPr>
            <a:spLocks noGrp="1"/>
          </p:cNvSpPr>
          <p:nvPr>
            <p:custDataLst>
              <p:tags r:id="rId37"/>
            </p:custDataLst>
          </p:nvPr>
        </p:nvSpPr>
        <p:spPr bwMode="auto">
          <a:xfrm>
            <a:off x="3860800" y="4205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39EACD-CCC1-4648-8E21-D5713C8B4DB7}" type="datetime'''''医''''''''''''''''''師'''''''''''''''''''''''''''''''''''">
              <a:rPr lang="ja-JP" altLang="en-US" sz="1000" smtClean="0"/>
              <a:pPr/>
              <a:t>医師</a:t>
            </a:fld>
            <a:endParaRPr kumimoji="0" lang="ja-JP" altLang="en-US" sz="1000" dirty="0">
              <a:sym typeface="+mn-lt"/>
            </a:endParaRPr>
          </a:p>
        </p:txBody>
      </p:sp>
      <p:sp>
        <p:nvSpPr>
          <p:cNvPr id="50" name="テキスト プレースホルダ 9"/>
          <p:cNvSpPr>
            <a:spLocks noGrp="1"/>
          </p:cNvSpPr>
          <p:nvPr>
            <p:custDataLst>
              <p:tags r:id="rId38"/>
            </p:custDataLst>
          </p:nvPr>
        </p:nvSpPr>
        <p:spPr bwMode="auto">
          <a:xfrm>
            <a:off x="3860800" y="4408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78E021-626C-422A-B3DF-62D778DA5EB3}" type="datetime'''薬''''剤''''''''''''''師'''''''''''''''''''''''''''''">
              <a:rPr lang="ja-JP" altLang="en-US" sz="1000"/>
              <a:pPr marL="0" indent="0">
                <a:spcBef>
                  <a:spcPct val="0"/>
                </a:spcBef>
                <a:buNone/>
              </a:pPr>
              <a:t>薬剤師</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779D776E-EF8A-466A-97E2-6E43E4C05A3E}"/>
              </a:ext>
            </a:extLst>
          </p:cNvPr>
          <p:cNvSpPr>
            <a:spLocks noGrp="1"/>
          </p:cNvSpPr>
          <p:nvPr>
            <p:custDataLst>
              <p:tags r:id="rId39"/>
            </p:custDataLst>
          </p:nvPr>
        </p:nvSpPr>
        <p:spPr bwMode="auto">
          <a:xfrm>
            <a:off x="3860800" y="4611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609B3B-E118-4E50-ADC5-2428958BCFEB}" type="datetime'''''歯''''''''''科''医'''''''''">
              <a:rPr kumimoji="0" lang="ja-JP" altLang="en-US" sz="1000" smtClean="0"/>
              <a:pPr/>
              <a:t>歯科医</a:t>
            </a:fld>
            <a:endParaRPr kumimoji="0" lang="ja-JP" altLang="en-US" sz="1000" dirty="0">
              <a:sym typeface="+mn-lt"/>
            </a:endParaRPr>
          </a:p>
        </p:txBody>
      </p:sp>
      <p:graphicFrame>
        <p:nvGraphicFramePr>
          <p:cNvPr id="98" name="Chart 97">
            <a:extLst>
              <a:ext uri="{FF2B5EF4-FFF2-40B4-BE49-F238E27FC236}">
                <a16:creationId xmlns:a16="http://schemas.microsoft.com/office/drawing/2014/main" id="{67B4E93B-E138-440D-BFBE-98B251E9E762}"/>
              </a:ext>
            </a:extLst>
          </p:cNvPr>
          <p:cNvGraphicFramePr/>
          <p:nvPr>
            <p:custDataLst>
              <p:tags r:id="rId40"/>
            </p:custDataLst>
          </p:nvPr>
        </p:nvGraphicFramePr>
        <p:xfrm>
          <a:off x="5240338" y="2498725"/>
          <a:ext cx="4581525" cy="3692525"/>
        </p:xfrm>
        <a:graphic>
          <a:graphicData uri="http://schemas.openxmlformats.org/drawingml/2006/chart">
            <c:chart xmlns:c="http://schemas.openxmlformats.org/drawingml/2006/chart" xmlns:r="http://schemas.openxmlformats.org/officeDocument/2006/relationships" r:id="rId73"/>
          </a:graphicData>
        </a:graphic>
      </p:graphicFrame>
      <p:sp>
        <p:nvSpPr>
          <p:cNvPr id="64" name="テキスト プレースホルダ 9"/>
          <p:cNvSpPr>
            <a:spLocks noGrp="1"/>
          </p:cNvSpPr>
          <p:nvPr>
            <p:custDataLst>
              <p:tags r:id="rId41"/>
            </p:custDataLst>
          </p:nvPr>
        </p:nvSpPr>
        <p:spPr bwMode="auto">
          <a:xfrm>
            <a:off x="54546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a:t>2010</a:t>
            </a:fld>
            <a:endParaRPr kumimoji="0" lang="ja-JP" altLang="en-US" sz="1000" dirty="0">
              <a:sym typeface="+mn-lt"/>
            </a:endParaRPr>
          </a:p>
        </p:txBody>
      </p:sp>
      <p:sp useBgFill="1">
        <p:nvSpPr>
          <p:cNvPr id="162" name="テキスト プレースホルダ 9">
            <a:extLst>
              <a:ext uri="{FF2B5EF4-FFF2-40B4-BE49-F238E27FC236}">
                <a16:creationId xmlns:a16="http://schemas.microsoft.com/office/drawing/2014/main" id="{E5876141-AF4B-4F2A-A5FC-3B5650C277F5}"/>
              </a:ext>
            </a:extLst>
          </p:cNvPr>
          <p:cNvSpPr>
            <a:spLocks noGrp="1"/>
          </p:cNvSpPr>
          <p:nvPr>
            <p:custDataLst>
              <p:tags r:id="rId42"/>
            </p:custDataLst>
          </p:nvPr>
        </p:nvSpPr>
        <p:spPr bwMode="gray">
          <a:xfrm>
            <a:off x="6461125" y="5778500"/>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F572D5-B024-4AD5-9AB9-B9537372F18F}" type="datetime'''''''''1'">
              <a:rPr lang="ja-JP" altLang="en-US" sz="1000" smtClean="0">
                <a:effectLst/>
                <a:sym typeface="+mn-lt"/>
              </a:rPr>
              <a:pPr marL="0" indent="0" algn="ctr">
                <a:spcBef>
                  <a:spcPct val="0"/>
                </a:spcBef>
                <a:buNone/>
              </a:pPr>
              <a:t>1</a:t>
            </a:fld>
            <a:endParaRPr lang="ja-JP" altLang="en-US" sz="1000" dirty="0">
              <a:sym typeface="+mn-lt"/>
            </a:endParaRPr>
          </a:p>
        </p:txBody>
      </p:sp>
      <p:sp useBgFill="1">
        <p:nvSpPr>
          <p:cNvPr id="161" name="テキスト プレースホルダ 9">
            <a:extLst>
              <a:ext uri="{FF2B5EF4-FFF2-40B4-BE49-F238E27FC236}">
                <a16:creationId xmlns:a16="http://schemas.microsoft.com/office/drawing/2014/main" id="{4BB8813F-B109-4F69-8C73-D28C842FD99A}"/>
              </a:ext>
            </a:extLst>
          </p:cNvPr>
          <p:cNvSpPr>
            <a:spLocks noGrp="1"/>
          </p:cNvSpPr>
          <p:nvPr>
            <p:custDataLst>
              <p:tags r:id="rId43"/>
            </p:custDataLst>
          </p:nvPr>
        </p:nvSpPr>
        <p:spPr bwMode="gray">
          <a:xfrm>
            <a:off x="6003925" y="5780088"/>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CA6B99-7F07-4670-AEF9-BA856539CE65}"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56" name="テキスト プレースホルダ 9"/>
          <p:cNvSpPr>
            <a:spLocks noGrp="1"/>
          </p:cNvSpPr>
          <p:nvPr>
            <p:custDataLst>
              <p:tags r:id="rId44"/>
            </p:custDataLst>
          </p:nvPr>
        </p:nvSpPr>
        <p:spPr bwMode="auto">
          <a:xfrm>
            <a:off x="73485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a:t>14</a:t>
            </a:fld>
            <a:endParaRPr kumimoji="0" lang="ja-JP" altLang="en-US" sz="1000" dirty="0">
              <a:sym typeface="+mn-lt"/>
            </a:endParaRPr>
          </a:p>
        </p:txBody>
      </p:sp>
      <p:sp>
        <p:nvSpPr>
          <p:cNvPr id="62" name="テキスト プレースホルダ 9"/>
          <p:cNvSpPr>
            <a:spLocks noGrp="1"/>
          </p:cNvSpPr>
          <p:nvPr>
            <p:custDataLst>
              <p:tags r:id="rId45"/>
            </p:custDataLst>
          </p:nvPr>
        </p:nvSpPr>
        <p:spPr bwMode="auto">
          <a:xfrm>
            <a:off x="5980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46"/>
            </p:custDataLst>
          </p:nvPr>
        </p:nvSpPr>
        <p:spPr bwMode="auto">
          <a:xfrm>
            <a:off x="64373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a:t>12</a:t>
            </a:fld>
            <a:endParaRPr kumimoji="0" lang="ja-JP" altLang="en-US" sz="1000" dirty="0">
              <a:sym typeface="+mn-lt"/>
            </a:endParaRPr>
          </a:p>
        </p:txBody>
      </p:sp>
      <p:sp useBgFill="1">
        <p:nvSpPr>
          <p:cNvPr id="165" name="テキスト プレースホルダ 9">
            <a:extLst>
              <a:ext uri="{FF2B5EF4-FFF2-40B4-BE49-F238E27FC236}">
                <a16:creationId xmlns:a16="http://schemas.microsoft.com/office/drawing/2014/main" id="{29846122-C425-4877-8864-F465D45AE0B5}"/>
              </a:ext>
            </a:extLst>
          </p:cNvPr>
          <p:cNvSpPr>
            <a:spLocks noGrp="1"/>
          </p:cNvSpPr>
          <p:nvPr>
            <p:custDataLst>
              <p:tags r:id="rId47"/>
            </p:custDataLst>
          </p:nvPr>
        </p:nvSpPr>
        <p:spPr bwMode="gray">
          <a:xfrm>
            <a:off x="7372350" y="5776913"/>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93229-69BC-4AE1-AABD-1D06D447D54B}"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58" name="テキスト プレースホルダ 9"/>
          <p:cNvSpPr>
            <a:spLocks noGrp="1"/>
          </p:cNvSpPr>
          <p:nvPr>
            <p:custDataLst>
              <p:tags r:id="rId48"/>
            </p:custDataLst>
          </p:nvPr>
        </p:nvSpPr>
        <p:spPr bwMode="auto">
          <a:xfrm>
            <a:off x="68929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a:t>13</a:t>
            </a:fld>
            <a:endParaRPr kumimoji="0" lang="ja-JP" altLang="en-US" sz="1000" dirty="0">
              <a:sym typeface="+mn-lt"/>
            </a:endParaRPr>
          </a:p>
        </p:txBody>
      </p:sp>
      <p:sp useBgFill="1">
        <p:nvSpPr>
          <p:cNvPr id="166" name="テキスト プレースホルダ 9">
            <a:extLst>
              <a:ext uri="{FF2B5EF4-FFF2-40B4-BE49-F238E27FC236}">
                <a16:creationId xmlns:a16="http://schemas.microsoft.com/office/drawing/2014/main" id="{76292AC8-5A49-4D57-BDA3-9E0A43C54D0D}"/>
              </a:ext>
            </a:extLst>
          </p:cNvPr>
          <p:cNvSpPr>
            <a:spLocks noGrp="1"/>
          </p:cNvSpPr>
          <p:nvPr>
            <p:custDataLst>
              <p:tags r:id="rId49"/>
            </p:custDataLst>
          </p:nvPr>
        </p:nvSpPr>
        <p:spPr bwMode="gray">
          <a:xfrm>
            <a:off x="7829550" y="5776913"/>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F3B2F6-553A-403F-AE75-A2D909B2189B}"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54" name="テキスト プレースホルダ 9"/>
          <p:cNvSpPr>
            <a:spLocks noGrp="1"/>
          </p:cNvSpPr>
          <p:nvPr>
            <p:custDataLst>
              <p:tags r:id="rId50"/>
            </p:custDataLst>
          </p:nvPr>
        </p:nvSpPr>
        <p:spPr bwMode="auto">
          <a:xfrm>
            <a:off x="78057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a:t>15</a:t>
            </a:fld>
            <a:endParaRPr kumimoji="0" lang="ja-JP" altLang="en-US" sz="1000" dirty="0">
              <a:sym typeface="+mn-lt"/>
            </a:endParaRPr>
          </a:p>
        </p:txBody>
      </p:sp>
      <p:sp>
        <p:nvSpPr>
          <p:cNvPr id="65" name="テキスト プレースホルダ 9"/>
          <p:cNvSpPr>
            <a:spLocks noGrp="1"/>
          </p:cNvSpPr>
          <p:nvPr>
            <p:custDataLst>
              <p:tags r:id="rId51"/>
            </p:custDataLst>
          </p:nvPr>
        </p:nvSpPr>
        <p:spPr bwMode="auto">
          <a:xfrm>
            <a:off x="8716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a:t>17</a:t>
            </a:fld>
            <a:endParaRPr kumimoji="0" lang="ja-JP" altLang="en-US" sz="1000" dirty="0">
              <a:sym typeface="+mn-lt"/>
            </a:endParaRPr>
          </a:p>
        </p:txBody>
      </p:sp>
      <p:sp useBgFill="1">
        <p:nvSpPr>
          <p:cNvPr id="167" name="テキスト プレースホルダ 9">
            <a:extLst>
              <a:ext uri="{FF2B5EF4-FFF2-40B4-BE49-F238E27FC236}">
                <a16:creationId xmlns:a16="http://schemas.microsoft.com/office/drawing/2014/main" id="{EF605627-E864-4C66-80FC-0FE8272CD813}"/>
              </a:ext>
            </a:extLst>
          </p:cNvPr>
          <p:cNvSpPr>
            <a:spLocks noGrp="1"/>
          </p:cNvSpPr>
          <p:nvPr>
            <p:custDataLst>
              <p:tags r:id="rId52"/>
            </p:custDataLst>
          </p:nvPr>
        </p:nvSpPr>
        <p:spPr bwMode="gray">
          <a:xfrm>
            <a:off x="8285163" y="5775325"/>
            <a:ext cx="1047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DE9AB8-ABAB-4ACC-B6CA-ADFD4B1A79BC}"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83" name="テキスト プレースホルダ 9"/>
          <p:cNvSpPr>
            <a:spLocks noGrp="1"/>
          </p:cNvSpPr>
          <p:nvPr>
            <p:custDataLst>
              <p:tags r:id="rId53"/>
            </p:custDataLst>
          </p:nvPr>
        </p:nvSpPr>
        <p:spPr bwMode="auto">
          <a:xfrm>
            <a:off x="82613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a:t>16</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7E4A0001-32F7-4383-8285-F70225DBD84E}"/>
              </a:ext>
            </a:extLst>
          </p:cNvPr>
          <p:cNvSpPr>
            <a:spLocks noGrp="1"/>
          </p:cNvSpPr>
          <p:nvPr>
            <p:custDataLst>
              <p:tags r:id="rId54"/>
            </p:custDataLst>
          </p:nvPr>
        </p:nvSpPr>
        <p:spPr bwMode="auto">
          <a:xfrm>
            <a:off x="91741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432BE9-8B46-4C1E-8620-98A9DDC80143}" type="datetime'''''''''''''''''''''''''''''''''''''''''''''1''''''8'''''">
              <a:rPr kumimoji="0" lang="ja-JP" altLang="en-US" sz="1000" smtClean="0"/>
              <a:pPr/>
              <a:t>18</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2BD9B734-8DD5-493D-A590-66D006FF6BBF}"/>
              </a:ext>
            </a:extLst>
          </p:cNvPr>
          <p:cNvSpPr>
            <a:spLocks noGrp="1"/>
          </p:cNvSpPr>
          <p:nvPr>
            <p:custDataLst>
              <p:tags r:id="rId55"/>
            </p:custDataLst>
          </p:nvPr>
        </p:nvSpPr>
        <p:spPr bwMode="auto">
          <a:xfrm>
            <a:off x="96297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5E13B-2133-4120-B127-05ECE1B67444}" type="datetime'1''''''''''9'''''''''''''''''''''''''''''''''''''''">
              <a:rPr kumimoji="0" lang="ja-JP" altLang="en-US" sz="1000" smtClean="0"/>
              <a:pPr/>
              <a:t>19</a:t>
            </a:fld>
            <a:endParaRPr kumimoji="0" lang="ja-JP" altLang="en-US" sz="1000" dirty="0">
              <a:sym typeface="+mn-lt"/>
            </a:endParaRPr>
          </a:p>
        </p:txBody>
      </p:sp>
      <p:cxnSp>
        <p:nvCxnSpPr>
          <p:cNvPr id="156" name="Straight Connector 155">
            <a:extLst>
              <a:ext uri="{FF2B5EF4-FFF2-40B4-BE49-F238E27FC236}">
                <a16:creationId xmlns:a16="http://schemas.microsoft.com/office/drawing/2014/main" id="{DCFC892F-3A44-4637-8952-CA0BB781E381}"/>
              </a:ext>
            </a:extLst>
          </p:cNvPr>
          <p:cNvCxnSpPr/>
          <p:nvPr>
            <p:custDataLst>
              <p:tags r:id="rId56"/>
            </p:custDataLst>
          </p:nvPr>
        </p:nvCxnSpPr>
        <p:spPr bwMode="gray">
          <a:xfrm>
            <a:off x="8393113" y="468312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A8E8ECC8-A67F-43C1-8361-1F0CC00A8220}"/>
              </a:ext>
            </a:extLst>
          </p:cNvPr>
          <p:cNvCxnSpPr/>
          <p:nvPr>
            <p:custDataLst>
              <p:tags r:id="rId57"/>
            </p:custDataLst>
          </p:nvPr>
        </p:nvCxnSpPr>
        <p:spPr bwMode="gray">
          <a:xfrm>
            <a:off x="8393113" y="44799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37EA63D-8085-451A-A419-B1424A7A04DD}"/>
              </a:ext>
            </a:extLst>
          </p:cNvPr>
          <p:cNvCxnSpPr/>
          <p:nvPr>
            <p:custDataLst>
              <p:tags r:id="rId58"/>
            </p:custDataLst>
          </p:nvPr>
        </p:nvCxnSpPr>
        <p:spPr bwMode="gray">
          <a:xfrm>
            <a:off x="8393113" y="40735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F85707BF-4DB6-4A5D-B907-0E37A280B308}"/>
              </a:ext>
            </a:extLst>
          </p:cNvPr>
          <p:cNvCxnSpPr/>
          <p:nvPr>
            <p:custDataLst>
              <p:tags r:id="rId59"/>
            </p:custDataLst>
          </p:nvPr>
        </p:nvCxnSpPr>
        <p:spPr bwMode="gray">
          <a:xfrm>
            <a:off x="8393113" y="42767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Oval 48">
            <a:extLst>
              <a:ext uri="{FF2B5EF4-FFF2-40B4-BE49-F238E27FC236}">
                <a16:creationId xmlns:a16="http://schemas.microsoft.com/office/drawing/2014/main" id="{47340735-8DD0-491E-B4DA-C5E56ECA4E16}"/>
              </a:ext>
            </a:extLst>
          </p:cNvPr>
          <p:cNvSpPr/>
          <p:nvPr>
            <p:custDataLst>
              <p:tags r:id="rId60"/>
            </p:custDataLst>
          </p:nvPr>
        </p:nvSpPr>
        <p:spPr bwMode="auto">
          <a:xfrm>
            <a:off x="8482013" y="4035425"/>
            <a:ext cx="76200" cy="76200"/>
          </a:xfrm>
          <a:prstGeom prst="ellipse">
            <a:avLst/>
          </a:prstGeom>
          <a:solidFill>
            <a:schemeClr val="tx2"/>
          </a:solidFill>
          <a:ln w="9525" algn="ctr">
            <a:solidFill>
              <a:schemeClr val="tx2"/>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63" name="Rectangle 62">
            <a:extLst>
              <a:ext uri="{FF2B5EF4-FFF2-40B4-BE49-F238E27FC236}">
                <a16:creationId xmlns:a16="http://schemas.microsoft.com/office/drawing/2014/main" id="{542BFB7F-E688-4DEF-AD33-92C12B165E47}"/>
              </a:ext>
            </a:extLst>
          </p:cNvPr>
          <p:cNvSpPr/>
          <p:nvPr>
            <p:custDataLst>
              <p:tags r:id="rId61"/>
            </p:custDataLst>
          </p:nvPr>
        </p:nvSpPr>
        <p:spPr bwMode="auto">
          <a:xfrm>
            <a:off x="8482013" y="4238625"/>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50" name="Isosceles Triangle 149">
            <a:extLst>
              <a:ext uri="{FF2B5EF4-FFF2-40B4-BE49-F238E27FC236}">
                <a16:creationId xmlns:a16="http://schemas.microsoft.com/office/drawing/2014/main" id="{FB6DDAEC-3775-4AF9-BBE2-A570BE696DEC}"/>
              </a:ext>
            </a:extLst>
          </p:cNvPr>
          <p:cNvSpPr/>
          <p:nvPr>
            <p:custDataLst>
              <p:tags r:id="rId62"/>
            </p:custDataLst>
          </p:nvPr>
        </p:nvSpPr>
        <p:spPr bwMode="auto">
          <a:xfrm>
            <a:off x="8482013" y="4441825"/>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57" name="Diamond 156">
            <a:extLst>
              <a:ext uri="{FF2B5EF4-FFF2-40B4-BE49-F238E27FC236}">
                <a16:creationId xmlns:a16="http://schemas.microsoft.com/office/drawing/2014/main" id="{F4AED4AA-C756-49D9-989F-EA4889BF8307}"/>
              </a:ext>
            </a:extLst>
          </p:cNvPr>
          <p:cNvSpPr/>
          <p:nvPr>
            <p:custDataLst>
              <p:tags r:id="rId63"/>
            </p:custDataLst>
          </p:nvPr>
        </p:nvSpPr>
        <p:spPr bwMode="auto">
          <a:xfrm>
            <a:off x="8482013" y="4645025"/>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152" name="テキスト プレースホルダ 9">
            <a:extLst>
              <a:ext uri="{FF2B5EF4-FFF2-40B4-BE49-F238E27FC236}">
                <a16:creationId xmlns:a16="http://schemas.microsoft.com/office/drawing/2014/main" id="{871D7B72-D0DD-4422-A9F6-C2A179452946}"/>
              </a:ext>
            </a:extLst>
          </p:cNvPr>
          <p:cNvSpPr>
            <a:spLocks noGrp="1"/>
          </p:cNvSpPr>
          <p:nvPr>
            <p:custDataLst>
              <p:tags r:id="rId64"/>
            </p:custDataLst>
          </p:nvPr>
        </p:nvSpPr>
        <p:spPr bwMode="auto">
          <a:xfrm>
            <a:off x="8704263" y="4408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695E77-886C-47F5-B75C-67C580B80FED}" type="datetime'''''''''''''''''''''''''''''''''''薬''''''''''''''''''''剤''師'">
              <a:rPr kumimoji="0" lang="ja-JP" altLang="en-US" sz="1000" smtClean="0"/>
              <a:pPr/>
              <a:t>薬剤師</a:t>
            </a:fld>
            <a:endParaRPr kumimoji="0" lang="ja-JP" altLang="en-US" sz="1000" dirty="0">
              <a:sym typeface="+mn-lt"/>
            </a:endParaRPr>
          </a:p>
        </p:txBody>
      </p:sp>
      <p:sp>
        <p:nvSpPr>
          <p:cNvPr id="77" name="テキスト プレースホルダ 9"/>
          <p:cNvSpPr>
            <a:spLocks noGrp="1"/>
          </p:cNvSpPr>
          <p:nvPr>
            <p:custDataLst>
              <p:tags r:id="rId65"/>
            </p:custDataLst>
          </p:nvPr>
        </p:nvSpPr>
        <p:spPr bwMode="auto">
          <a:xfrm>
            <a:off x="8704263" y="400208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BFDCE9F-F586-4A8D-A46B-FCBDE0C7F98C}" type="datetime'''看''''護''''''師''''''''''''''''''''''''・''助''''産''''''師'">
              <a:rPr lang="ja-JP" altLang="en-US" sz="1000" smtClean="0"/>
              <a:pPr/>
              <a:t>看護師・助産師</a:t>
            </a:fld>
            <a:endParaRPr kumimoji="0" lang="ja-JP" altLang="en-US" sz="1000" dirty="0">
              <a:sym typeface="+mn-lt"/>
            </a:endParaRPr>
          </a:p>
        </p:txBody>
      </p:sp>
      <p:sp>
        <p:nvSpPr>
          <p:cNvPr id="135" name="テキスト プレースホルダ 9">
            <a:extLst>
              <a:ext uri="{FF2B5EF4-FFF2-40B4-BE49-F238E27FC236}">
                <a16:creationId xmlns:a16="http://schemas.microsoft.com/office/drawing/2014/main" id="{2D22FBD8-B581-40F0-98EC-9B41BD968C8E}"/>
              </a:ext>
            </a:extLst>
          </p:cNvPr>
          <p:cNvSpPr>
            <a:spLocks noGrp="1"/>
          </p:cNvSpPr>
          <p:nvPr>
            <p:custDataLst>
              <p:tags r:id="rId66"/>
            </p:custDataLst>
          </p:nvPr>
        </p:nvSpPr>
        <p:spPr bwMode="auto">
          <a:xfrm>
            <a:off x="8704263" y="42052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D0B7D28-3347-40FD-9BEA-6839BA422A57}" type="datetime'''''''医''''師'''''''''''''''''''''''''''''''''''''''''">
              <a:rPr kumimoji="0" lang="ja-JP" altLang="en-US" sz="1000" smtClean="0"/>
              <a:pPr/>
              <a:t>医師</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9968393B-89DF-4C05-92EE-06EC1ED8D41E}"/>
              </a:ext>
            </a:extLst>
          </p:cNvPr>
          <p:cNvSpPr>
            <a:spLocks noGrp="1"/>
          </p:cNvSpPr>
          <p:nvPr>
            <p:custDataLst>
              <p:tags r:id="rId67"/>
            </p:custDataLst>
          </p:nvPr>
        </p:nvSpPr>
        <p:spPr bwMode="auto">
          <a:xfrm>
            <a:off x="8704263" y="4611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8DA01F2-1993-49F6-A4A3-C477AAE21B1B}"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32043816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402701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272480" y="1110518"/>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理学療法士などの資格制度が存在しているが、職種別の登録状況の詳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把握している人数は以下の通り。</a:t>
            </a:r>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388602"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5C0BEB72-1F44-4DA3-A681-AF027759C4AF}"/>
              </a:ext>
            </a:extLst>
          </p:cNvPr>
          <p:cNvSpPr txBox="1"/>
          <p:nvPr/>
        </p:nvSpPr>
        <p:spPr>
          <a:xfrm>
            <a:off x="1568622" y="310837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6" name="テキスト ボックス 45">
            <a:extLst>
              <a:ext uri="{FF2B5EF4-FFF2-40B4-BE49-F238E27FC236}">
                <a16:creationId xmlns:a16="http://schemas.microsoft.com/office/drawing/2014/main" id="{7CB988F6-96AD-48AC-9F4C-6767ABA6B162}"/>
              </a:ext>
            </a:extLst>
          </p:cNvPr>
          <p:cNvSpPr txBox="1"/>
          <p:nvPr/>
        </p:nvSpPr>
        <p:spPr>
          <a:xfrm>
            <a:off x="1568622" y="36930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9" name="テキスト ボックス 45">
            <a:extLst>
              <a:ext uri="{FF2B5EF4-FFF2-40B4-BE49-F238E27FC236}">
                <a16:creationId xmlns:a16="http://schemas.microsoft.com/office/drawing/2014/main" id="{E1623107-83C0-4D6C-A573-B69AF95F1881}"/>
              </a:ext>
            </a:extLst>
          </p:cNvPr>
          <p:cNvSpPr txBox="1"/>
          <p:nvPr/>
        </p:nvSpPr>
        <p:spPr>
          <a:xfrm>
            <a:off x="1568622" y="427196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環境・産業保健衛生専門家 </a:t>
            </a:r>
          </a:p>
        </p:txBody>
      </p:sp>
      <p:sp>
        <p:nvSpPr>
          <p:cNvPr id="21" name="テキスト ボックス 45">
            <a:extLst>
              <a:ext uri="{FF2B5EF4-FFF2-40B4-BE49-F238E27FC236}">
                <a16:creationId xmlns:a16="http://schemas.microsoft.com/office/drawing/2014/main" id="{AF10C9C8-89FD-4B34-91F6-6E2D959846A0}"/>
              </a:ext>
            </a:extLst>
          </p:cNvPr>
          <p:cNvSpPr txBox="1"/>
          <p:nvPr/>
        </p:nvSpPr>
        <p:spPr>
          <a:xfrm>
            <a:off x="1568622" y="487786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2" name="テキスト ボックス 45">
            <a:extLst>
              <a:ext uri="{FF2B5EF4-FFF2-40B4-BE49-F238E27FC236}">
                <a16:creationId xmlns:a16="http://schemas.microsoft.com/office/drawing/2014/main" id="{FB52C5D0-ABF3-4A8C-A6B9-333FC0B22A54}"/>
              </a:ext>
            </a:extLst>
          </p:cNvPr>
          <p:cNvSpPr txBox="1"/>
          <p:nvPr/>
        </p:nvSpPr>
        <p:spPr>
          <a:xfrm>
            <a:off x="4628964" y="4877869"/>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45">
            <a:extLst>
              <a:ext uri="{FF2B5EF4-FFF2-40B4-BE49-F238E27FC236}">
                <a16:creationId xmlns:a16="http://schemas.microsoft.com/office/drawing/2014/main" id="{E3C30198-FC49-44C7-8D67-C5E3A0DFD7BF}"/>
              </a:ext>
            </a:extLst>
          </p:cNvPr>
          <p:cNvSpPr txBox="1"/>
          <p:nvPr/>
        </p:nvSpPr>
        <p:spPr>
          <a:xfrm>
            <a:off x="6141132" y="31127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6,3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8B8B1E04-641A-4C5E-91A5-4025DC0318A9}"/>
              </a:ext>
            </a:extLst>
          </p:cNvPr>
          <p:cNvSpPr txBox="1"/>
          <p:nvPr/>
        </p:nvSpPr>
        <p:spPr>
          <a:xfrm>
            <a:off x="6141132" y="371131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8,34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3C898992-E489-490F-A9CF-65B87135B0D4}"/>
              </a:ext>
            </a:extLst>
          </p:cNvPr>
          <p:cNvSpPr txBox="1"/>
          <p:nvPr/>
        </p:nvSpPr>
        <p:spPr>
          <a:xfrm>
            <a:off x="6141132" y="434152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4,19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6" name="テキスト ボックス 45">
            <a:extLst>
              <a:ext uri="{FF2B5EF4-FFF2-40B4-BE49-F238E27FC236}">
                <a16:creationId xmlns:a16="http://schemas.microsoft.com/office/drawing/2014/main" id="{AF7C76DA-CAB8-4B78-8D8A-A1D8A3C27702}"/>
              </a:ext>
            </a:extLst>
          </p:cNvPr>
          <p:cNvSpPr txBox="1"/>
          <p:nvPr/>
        </p:nvSpPr>
        <p:spPr>
          <a:xfrm>
            <a:off x="6108216" y="488036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9" name="テキスト ボックス 45">
            <a:extLst>
              <a:ext uri="{FF2B5EF4-FFF2-40B4-BE49-F238E27FC236}">
                <a16:creationId xmlns:a16="http://schemas.microsoft.com/office/drawing/2014/main" id="{76663235-D73B-F50F-68DB-D44425A6608E}"/>
              </a:ext>
            </a:extLst>
          </p:cNvPr>
          <p:cNvSpPr txBox="1"/>
          <p:nvPr/>
        </p:nvSpPr>
        <p:spPr>
          <a:xfrm>
            <a:off x="4623551" y="312664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45">
            <a:extLst>
              <a:ext uri="{FF2B5EF4-FFF2-40B4-BE49-F238E27FC236}">
                <a16:creationId xmlns:a16="http://schemas.microsoft.com/office/drawing/2014/main" id="{4A5976FA-2D5B-D7EE-0619-0B39D25F20BA}"/>
              </a:ext>
            </a:extLst>
          </p:cNvPr>
          <p:cNvSpPr txBox="1"/>
          <p:nvPr/>
        </p:nvSpPr>
        <p:spPr>
          <a:xfrm>
            <a:off x="4628964" y="371131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45">
            <a:extLst>
              <a:ext uri="{FF2B5EF4-FFF2-40B4-BE49-F238E27FC236}">
                <a16:creationId xmlns:a16="http://schemas.microsoft.com/office/drawing/2014/main" id="{CAA44D8D-A27D-FBC9-7CC0-A444D6D56A54}"/>
              </a:ext>
            </a:extLst>
          </p:cNvPr>
          <p:cNvSpPr txBox="1"/>
          <p:nvPr/>
        </p:nvSpPr>
        <p:spPr>
          <a:xfrm>
            <a:off x="4623551" y="4341370"/>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43989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853052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jetro.go.jp/ext_images/_Reports/02/2021/a817acb6070d228b/202107.pdf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民健康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が提出され、国民皆保険制度の確立を目指しているが、新型コロナの影響で活動は停滞している。目標としている導入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ではプライマリーケアは無料。入院費用も所得レベルに合わせて無料からごく低額に抑えられ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879241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2355688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6" progId="TCLayout.ActiveDocument.1">
                  <p:embed/>
                </p:oleObj>
              </mc:Choice>
              <mc:Fallback>
                <p:oleObj name="think-cell Slide" r:id="rId2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025"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26">
                  <a:extLst>
                    <a:ext uri="{A12FA001-AC4F-418D-AE19-62706E023703}">
                      <ahyp:hlinkClr xmlns:ahyp="http://schemas.microsoft.com/office/drawing/2018/hyperlinkcolor" val="tx"/>
                    </a:ext>
                  </a:extLst>
                </a:hlinkClick>
              </a:rPr>
              <a:t>https://www.statssa.gov.za/publications/P0318/P03182021.pd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The South African Insurance Industry Survey 2017-2022 (KPMG)</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テキスト ボックス 45">
            <a:extLst>
              <a:ext uri="{FF2B5EF4-FFF2-40B4-BE49-F238E27FC236}">
                <a16:creationId xmlns:a16="http://schemas.microsoft.com/office/drawing/2014/main" id="{A7C4B65F-482E-467E-B845-6C2840D016D0}"/>
              </a:ext>
            </a:extLst>
          </p:cNvPr>
          <p:cNvSpPr txBox="1"/>
          <p:nvPr/>
        </p:nvSpPr>
        <p:spPr>
          <a:xfrm>
            <a:off x="200025"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現地の民間保険であるメディカルエイドへの加入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大きくは伸び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収入自体は近年、年平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増加している。</a:t>
            </a:r>
          </a:p>
        </p:txBody>
      </p:sp>
      <p:sp>
        <p:nvSpPr>
          <p:cNvPr id="25" name="Rectangle 6">
            <a:extLst>
              <a:ext uri="{FF2B5EF4-FFF2-40B4-BE49-F238E27FC236}">
                <a16:creationId xmlns:a16="http://schemas.microsoft.com/office/drawing/2014/main" id="{84211E3B-6900-4BD6-8D73-06C56DE6CD4A}"/>
              </a:ext>
            </a:extLst>
          </p:cNvPr>
          <p:cNvSpPr>
            <a:spLocks noChangeArrowheads="1"/>
          </p:cNvSpPr>
          <p:nvPr/>
        </p:nvSpPr>
        <p:spPr bwMode="auto">
          <a:xfrm>
            <a:off x="200025" y="1845131"/>
            <a:ext cx="5591175"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メディカルエイドへの加入率</a:t>
            </a:r>
          </a:p>
        </p:txBody>
      </p:sp>
      <p:sp>
        <p:nvSpPr>
          <p:cNvPr id="26" name="Rectangle 6">
            <a:extLst>
              <a:ext uri="{FF2B5EF4-FFF2-40B4-BE49-F238E27FC236}">
                <a16:creationId xmlns:a16="http://schemas.microsoft.com/office/drawing/2014/main" id="{375992DD-E958-4821-B6F7-545D694699B0}"/>
              </a:ext>
            </a:extLst>
          </p:cNvPr>
          <p:cNvSpPr>
            <a:spLocks noChangeArrowheads="1"/>
          </p:cNvSpPr>
          <p:nvPr/>
        </p:nvSpPr>
        <p:spPr bwMode="auto">
          <a:xfrm>
            <a:off x="6281033" y="1844675"/>
            <a:ext cx="3424048" cy="430213"/>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mj-lt"/>
                <a:ea typeface="HGP創英角ｺﾞｼｯｸUB" pitchFamily="50" charset="-128"/>
              </a:rPr>
              <a:t>民間医療保険の保険料収入</a:t>
            </a:r>
          </a:p>
          <a:p>
            <a:r>
              <a:rPr lang="ja-JP" altLang="en-US" sz="1400" dirty="0">
                <a:latin typeface="+mj-lt"/>
                <a:ea typeface="HGP創英角ｺﾞｼｯｸUB" pitchFamily="50" charset="-128"/>
              </a:rPr>
              <a:t>百万</a:t>
            </a:r>
            <a:r>
              <a:rPr lang="en-US" altLang="ja-JP" sz="1400" dirty="0">
                <a:latin typeface="+mj-lt"/>
                <a:ea typeface="HGP創英角ｺﾞｼｯｸUB" pitchFamily="50" charset="-128"/>
              </a:rPr>
              <a:t>US$</a:t>
            </a:r>
          </a:p>
        </p:txBody>
      </p:sp>
      <p:graphicFrame>
        <p:nvGraphicFramePr>
          <p:cNvPr id="31" name="Chart 30">
            <a:extLst>
              <a:ext uri="{FF2B5EF4-FFF2-40B4-BE49-F238E27FC236}">
                <a16:creationId xmlns:a16="http://schemas.microsoft.com/office/drawing/2014/main" id="{64C17E88-961A-403B-9762-E191E7EE89AA}"/>
              </a:ext>
            </a:extLst>
          </p:cNvPr>
          <p:cNvGraphicFramePr/>
          <p:nvPr>
            <p:custDataLst>
              <p:tags r:id="rId2"/>
            </p:custDataLst>
            <p:extLst>
              <p:ext uri="{D42A27DB-BD31-4B8C-83A1-F6EECF244321}">
                <p14:modId xmlns:p14="http://schemas.microsoft.com/office/powerpoint/2010/main" val="2106022195"/>
              </p:ext>
            </p:extLst>
          </p:nvPr>
        </p:nvGraphicFramePr>
        <p:xfrm>
          <a:off x="6199188" y="2805113"/>
          <a:ext cx="3587750" cy="3370262"/>
        </p:xfrm>
        <a:graphic>
          <a:graphicData uri="http://schemas.openxmlformats.org/drawingml/2006/chart">
            <c:chart xmlns:c="http://schemas.openxmlformats.org/drawingml/2006/chart" xmlns:r="http://schemas.openxmlformats.org/officeDocument/2006/relationships" r:id="rId27"/>
          </a:graphicData>
        </a:graphic>
      </p:graphicFrame>
      <p:cxnSp>
        <p:nvCxnSpPr>
          <p:cNvPr id="28" name="Straight Connector 27">
            <a:extLst>
              <a:ext uri="{FF2B5EF4-FFF2-40B4-BE49-F238E27FC236}">
                <a16:creationId xmlns:a16="http://schemas.microsoft.com/office/drawing/2014/main" id="{DDB45F6D-6BCD-4661-A307-5A51CF54D432}"/>
              </a:ext>
            </a:extLst>
          </p:cNvPr>
          <p:cNvCxnSpPr/>
          <p:nvPr>
            <p:custDataLst>
              <p:tags r:id="rId3"/>
            </p:custDataLst>
          </p:nvPr>
        </p:nvCxnSpPr>
        <p:spPr bwMode="auto">
          <a:xfrm flipV="1">
            <a:off x="6565899" y="2595563"/>
            <a:ext cx="2852738" cy="9286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3" name="テキスト プレースホルダ 9">
            <a:extLst>
              <a:ext uri="{FF2B5EF4-FFF2-40B4-BE49-F238E27FC236}">
                <a16:creationId xmlns:a16="http://schemas.microsoft.com/office/drawing/2014/main" id="{0BFD4BDB-3193-43D0-9526-E39F95B7F504}"/>
              </a:ext>
            </a:extLst>
          </p:cNvPr>
          <p:cNvSpPr>
            <a:spLocks noGrp="1"/>
          </p:cNvSpPr>
          <p:nvPr>
            <p:custDataLst>
              <p:tags r:id="rId4"/>
            </p:custDataLst>
          </p:nvPr>
        </p:nvSpPr>
        <p:spPr bwMode="auto">
          <a:xfrm>
            <a:off x="86741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0F8A75-F12C-4B84-B30F-E23F88FAB7B0}" type="datetime'''''''''2''''''''''''''''''''''''0''''''''''''1''''''''''9'">
              <a:rPr lang="en-US" altLang="en-US" sz="1200" smtClean="0"/>
              <a:pPr/>
              <a:t>2019</a:t>
            </a:fld>
            <a:endParaRPr lang="ja-JP" altLang="en-US" sz="1200" dirty="0"/>
          </a:p>
        </p:txBody>
      </p:sp>
      <p:sp>
        <p:nvSpPr>
          <p:cNvPr id="36" name="テキスト プレースホルダ 9">
            <a:extLst>
              <a:ext uri="{FF2B5EF4-FFF2-40B4-BE49-F238E27FC236}">
                <a16:creationId xmlns:a16="http://schemas.microsoft.com/office/drawing/2014/main" id="{A55B01BD-6372-41EB-BD9D-C4B4273F9AE1}"/>
              </a:ext>
            </a:extLst>
          </p:cNvPr>
          <p:cNvSpPr>
            <a:spLocks noGrp="1"/>
          </p:cNvSpPr>
          <p:nvPr>
            <p:custDataLst>
              <p:tags r:id="rId5"/>
            </p:custDataLst>
          </p:nvPr>
        </p:nvSpPr>
        <p:spPr bwMode="auto">
          <a:xfrm>
            <a:off x="63912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504AEA-B236-40C1-A140-689BF1F7CCB8}" type="datetime'''''2''''''''''''''''''0''''''''''''''''''1''5'''''">
              <a:rPr lang="en-US" altLang="en-US" sz="1200" smtClean="0"/>
              <a:pPr/>
              <a:t>2015</a:t>
            </a:fld>
            <a:endParaRPr lang="ja-JP" altLang="en-US" sz="1200" dirty="0"/>
          </a:p>
        </p:txBody>
      </p:sp>
      <p:sp>
        <p:nvSpPr>
          <p:cNvPr id="38" name="テキスト プレースホルダ 9">
            <a:extLst>
              <a:ext uri="{FF2B5EF4-FFF2-40B4-BE49-F238E27FC236}">
                <a16:creationId xmlns:a16="http://schemas.microsoft.com/office/drawing/2014/main" id="{2C76050F-1654-4190-9E7A-6A69F9283B0D}"/>
              </a:ext>
            </a:extLst>
          </p:cNvPr>
          <p:cNvSpPr>
            <a:spLocks noGrp="1"/>
          </p:cNvSpPr>
          <p:nvPr>
            <p:custDataLst>
              <p:tags r:id="rId6"/>
            </p:custDataLst>
          </p:nvPr>
        </p:nvSpPr>
        <p:spPr bwMode="auto">
          <a:xfrm>
            <a:off x="81026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222A7-2E1E-4FB4-B6C9-F29AF3D798FA}" type="datetime'''''''''''''''''''''''''''''''''''''2''0''''''''''''''1''8'">
              <a:rPr lang="en-US" altLang="en-US" sz="1200" smtClean="0"/>
              <a:pPr/>
              <a:t>2018</a:t>
            </a:fld>
            <a:endParaRPr lang="ja-JP" altLang="en-US" sz="1200" dirty="0"/>
          </a:p>
        </p:txBody>
      </p:sp>
      <p:sp>
        <p:nvSpPr>
          <p:cNvPr id="34" name="テキスト プレースホルダ 9">
            <a:extLst>
              <a:ext uri="{FF2B5EF4-FFF2-40B4-BE49-F238E27FC236}">
                <a16:creationId xmlns:a16="http://schemas.microsoft.com/office/drawing/2014/main" id="{94C9646C-BAD7-4653-B6AA-43134215EE4D}"/>
              </a:ext>
            </a:extLst>
          </p:cNvPr>
          <p:cNvSpPr>
            <a:spLocks noGrp="1"/>
          </p:cNvSpPr>
          <p:nvPr>
            <p:custDataLst>
              <p:tags r:id="rId7"/>
            </p:custDataLst>
          </p:nvPr>
        </p:nvSpPr>
        <p:spPr bwMode="auto">
          <a:xfrm>
            <a:off x="69627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2B6EA5-6C32-46B9-86F8-C0B7E70EF9C0}" type="datetime'''''20''''''''''''''''''''''''16'''''''''''''''">
              <a:rPr lang="en-US" altLang="en-US" sz="1200" smtClean="0"/>
              <a:pPr/>
              <a:t>2016</a:t>
            </a:fld>
            <a:endParaRPr lang="ja-JP" altLang="en-US" sz="1200" dirty="0"/>
          </a:p>
        </p:txBody>
      </p:sp>
      <p:sp>
        <p:nvSpPr>
          <p:cNvPr id="30" name="テキスト プレースホルダ 9">
            <a:extLst>
              <a:ext uri="{FF2B5EF4-FFF2-40B4-BE49-F238E27FC236}">
                <a16:creationId xmlns:a16="http://schemas.microsoft.com/office/drawing/2014/main" id="{AA20D263-C946-4E64-92FB-998384B63C7D}"/>
              </a:ext>
            </a:extLst>
          </p:cNvPr>
          <p:cNvSpPr>
            <a:spLocks noGrp="1"/>
          </p:cNvSpPr>
          <p:nvPr>
            <p:custDataLst>
              <p:tags r:id="rId8"/>
            </p:custDataLst>
          </p:nvPr>
        </p:nvSpPr>
        <p:spPr bwMode="auto">
          <a:xfrm>
            <a:off x="75326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580CEA-A208-48BF-BF9B-2EDABE65D846}" type="datetime'''''2''''0''''''''''1''''7'''''''">
              <a:rPr lang="en-US" altLang="en-US" sz="1200" smtClean="0"/>
              <a:pPr/>
              <a:t>2017</a:t>
            </a:fld>
            <a:endParaRPr lang="ja-JP" altLang="en-US" sz="1200" dirty="0"/>
          </a:p>
        </p:txBody>
      </p:sp>
      <p:sp>
        <p:nvSpPr>
          <p:cNvPr id="44" name="テキスト プレースホルダ 9">
            <a:extLst>
              <a:ext uri="{FF2B5EF4-FFF2-40B4-BE49-F238E27FC236}">
                <a16:creationId xmlns:a16="http://schemas.microsoft.com/office/drawing/2014/main" id="{B3957AF7-53A1-458D-907A-436467B951A6}"/>
              </a:ext>
            </a:extLst>
          </p:cNvPr>
          <p:cNvSpPr>
            <a:spLocks noGrp="1"/>
          </p:cNvSpPr>
          <p:nvPr>
            <p:custDataLst>
              <p:tags r:id="rId9"/>
            </p:custDataLst>
          </p:nvPr>
        </p:nvSpPr>
        <p:spPr bwMode="auto">
          <a:xfrm>
            <a:off x="9244013"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9BFB3F-C451-43AF-BEDD-74908994D46B}" type="datetime'''''''2''''''''''0''''''2''''''''0'''''''''''''''''''''''''">
              <a:rPr lang="en-US" altLang="en-US" sz="1200" smtClean="0"/>
              <a:pPr/>
              <a:t>2020</a:t>
            </a:fld>
            <a:endParaRPr lang="ja-JP" altLang="en-US" sz="1200" dirty="0"/>
          </a:p>
        </p:txBody>
      </p:sp>
      <p:sp>
        <p:nvSpPr>
          <p:cNvPr id="45" name="テキスト プレースホルダ 9">
            <a:extLst>
              <a:ext uri="{FF2B5EF4-FFF2-40B4-BE49-F238E27FC236}">
                <a16:creationId xmlns:a16="http://schemas.microsoft.com/office/drawing/2014/main" id="{3E8DD0D9-78B5-465D-ADC3-EBD1F523241E}"/>
              </a:ext>
            </a:extLst>
          </p:cNvPr>
          <p:cNvSpPr>
            <a:spLocks noGrp="1"/>
          </p:cNvSpPr>
          <p:nvPr>
            <p:custDataLst>
              <p:tags r:id="rId10"/>
            </p:custDataLst>
          </p:nvPr>
        </p:nvSpPr>
        <p:spPr bwMode="auto">
          <a:xfrm>
            <a:off x="7558088" y="2930525"/>
            <a:ext cx="866775" cy="258763"/>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200" b="1" dirty="0">
                <a:effectLst/>
              </a:rPr>
              <a:t>年率</a:t>
            </a:r>
            <a:fld id="{21831D87-0CA1-4002-8839-CF12A4399EF8}" type="datetime'''''''''+''''''''''''''''''''''''''''''''''''''''''''8''''''%'">
              <a:rPr lang="en-US" altLang="en-US" sz="1200" b="1" smtClean="0">
                <a:effectLst/>
              </a:rPr>
              <a:pPr/>
              <a:t>+8%</a:t>
            </a:fld>
            <a:endParaRPr lang="ja-JP" altLang="en-US" sz="1200" b="1" dirty="0"/>
          </a:p>
        </p:txBody>
      </p:sp>
      <p:sp>
        <p:nvSpPr>
          <p:cNvPr id="52" name="テキスト プレースホルダ 9">
            <a:extLst>
              <a:ext uri="{FF2B5EF4-FFF2-40B4-BE49-F238E27FC236}">
                <a16:creationId xmlns:a16="http://schemas.microsoft.com/office/drawing/2014/main" id="{17B5A09B-04C8-4353-986C-CF58901408E8}"/>
              </a:ext>
            </a:extLst>
          </p:cNvPr>
          <p:cNvSpPr>
            <a:spLocks noGrp="1"/>
          </p:cNvSpPr>
          <p:nvPr>
            <p:custDataLst>
              <p:tags r:id="rId11"/>
            </p:custDataLst>
          </p:nvPr>
        </p:nvSpPr>
        <p:spPr bwMode="auto">
          <a:xfrm>
            <a:off x="2312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5AA6E9-735F-46D0-835F-07F0BE7EEC28}" type="datetime'''''''''''''''''''''2''''''''''''''0''''''''''''12'''''''''">
              <a:rPr lang="en-US" altLang="en-US" sz="1200" smtClean="0"/>
              <a:pPr/>
              <a:t>2012</a:t>
            </a:fld>
            <a:endParaRPr lang="ja-JP" altLang="en-US" sz="1200" dirty="0"/>
          </a:p>
        </p:txBody>
      </p:sp>
      <p:sp>
        <p:nvSpPr>
          <p:cNvPr id="54" name="テキスト プレースホルダ 9">
            <a:extLst>
              <a:ext uri="{FF2B5EF4-FFF2-40B4-BE49-F238E27FC236}">
                <a16:creationId xmlns:a16="http://schemas.microsoft.com/office/drawing/2014/main" id="{7842B505-0AFE-4883-B1D6-5D6E27BEB2C2}"/>
              </a:ext>
            </a:extLst>
          </p:cNvPr>
          <p:cNvSpPr>
            <a:spLocks noGrp="1"/>
          </p:cNvSpPr>
          <p:nvPr>
            <p:custDataLst>
              <p:tags r:id="rId12"/>
            </p:custDataLst>
          </p:nvPr>
        </p:nvSpPr>
        <p:spPr bwMode="auto">
          <a:xfrm>
            <a:off x="3328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11AC60-BAA0-4A0E-95AC-B9AD08A62C83}" type="datetime'''''''''''''20''''''''''''''1''''''''''''''''''6'">
              <a:rPr lang="en-US" altLang="en-US" sz="1200" smtClean="0"/>
              <a:pPr/>
              <a:t>2016</a:t>
            </a:fld>
            <a:endParaRPr lang="ja-JP" altLang="en-US" sz="1200" dirty="0"/>
          </a:p>
        </p:txBody>
      </p:sp>
      <p:sp>
        <p:nvSpPr>
          <p:cNvPr id="50" name="テキスト プレースホルダ 9">
            <a:extLst>
              <a:ext uri="{FF2B5EF4-FFF2-40B4-BE49-F238E27FC236}">
                <a16:creationId xmlns:a16="http://schemas.microsoft.com/office/drawing/2014/main" id="{F5574D3E-843D-48CD-87AA-286D62FE353F}"/>
              </a:ext>
            </a:extLst>
          </p:cNvPr>
          <p:cNvSpPr>
            <a:spLocks noGrp="1"/>
          </p:cNvSpPr>
          <p:nvPr>
            <p:custDataLst>
              <p:tags r:id="rId13"/>
            </p:custDataLst>
          </p:nvPr>
        </p:nvSpPr>
        <p:spPr bwMode="auto">
          <a:xfrm>
            <a:off x="12954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84756C-8E9B-4111-9210-082E91D7C8AE}" type="datetime'''''''''2''''''0''''''0''''''''''''''''''''''''''''''''''''8'">
              <a:rPr lang="en-US" altLang="en-US" sz="1200" smtClean="0"/>
              <a:pPr/>
              <a:t>2008</a:t>
            </a:fld>
            <a:endParaRPr lang="ja-JP" altLang="en-US" sz="1200" dirty="0"/>
          </a:p>
        </p:txBody>
      </p:sp>
      <p:sp>
        <p:nvSpPr>
          <p:cNvPr id="48" name="テキスト プレースホルダ 9">
            <a:extLst>
              <a:ext uri="{FF2B5EF4-FFF2-40B4-BE49-F238E27FC236}">
                <a16:creationId xmlns:a16="http://schemas.microsoft.com/office/drawing/2014/main" id="{D89979FF-90A5-4A3C-93C3-955B4A4AFE47}"/>
              </a:ext>
            </a:extLst>
          </p:cNvPr>
          <p:cNvSpPr>
            <a:spLocks noGrp="1"/>
          </p:cNvSpPr>
          <p:nvPr>
            <p:custDataLst>
              <p:tags r:id="rId14"/>
            </p:custDataLst>
          </p:nvPr>
        </p:nvSpPr>
        <p:spPr bwMode="auto">
          <a:xfrm>
            <a:off x="2794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B1BB69-596C-4A6C-A2B7-9170891E440F}" type="datetime'2''''''''''''''''0''''0''''''''''''''''''2'''''''''''''''''">
              <a:rPr lang="en-US" altLang="en-US" sz="1200" smtClean="0"/>
              <a:pPr/>
              <a:t>2002</a:t>
            </a:fld>
            <a:endParaRPr lang="ja-JP" altLang="en-US" sz="1200" dirty="0"/>
          </a:p>
        </p:txBody>
      </p:sp>
      <p:sp>
        <p:nvSpPr>
          <p:cNvPr id="49" name="テキスト プレースホルダ 9">
            <a:extLst>
              <a:ext uri="{FF2B5EF4-FFF2-40B4-BE49-F238E27FC236}">
                <a16:creationId xmlns:a16="http://schemas.microsoft.com/office/drawing/2014/main" id="{5644146E-61DA-4060-97DF-DA5F200A60E0}"/>
              </a:ext>
            </a:extLst>
          </p:cNvPr>
          <p:cNvSpPr>
            <a:spLocks noGrp="1"/>
          </p:cNvSpPr>
          <p:nvPr>
            <p:custDataLst>
              <p:tags r:id="rId15"/>
            </p:custDataLst>
          </p:nvPr>
        </p:nvSpPr>
        <p:spPr bwMode="auto">
          <a:xfrm>
            <a:off x="787400"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285F9-E783-4852-B4AB-DF61058204D8}" type="datetime'''2''''0''''''''''''''''0''''''''''''''''''''''''''4'">
              <a:rPr lang="en-US" altLang="en-US" sz="1200" smtClean="0"/>
              <a:pPr/>
              <a:t>2004</a:t>
            </a:fld>
            <a:endParaRPr lang="ja-JP" altLang="en-US" sz="1200" dirty="0"/>
          </a:p>
        </p:txBody>
      </p:sp>
      <p:sp>
        <p:nvSpPr>
          <p:cNvPr id="51" name="テキスト プレースホルダ 9">
            <a:extLst>
              <a:ext uri="{FF2B5EF4-FFF2-40B4-BE49-F238E27FC236}">
                <a16:creationId xmlns:a16="http://schemas.microsoft.com/office/drawing/2014/main" id="{784C6FC5-1B6F-429A-B161-73D8A80EDB92}"/>
              </a:ext>
            </a:extLst>
          </p:cNvPr>
          <p:cNvSpPr>
            <a:spLocks noGrp="1"/>
          </p:cNvSpPr>
          <p:nvPr>
            <p:custDataLst>
              <p:tags r:id="rId16"/>
            </p:custDataLst>
          </p:nvPr>
        </p:nvSpPr>
        <p:spPr bwMode="auto">
          <a:xfrm>
            <a:off x="1804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69AD8A-6301-472E-8E9A-5AA6BBED5EDA}" type="datetime'''2''''0''''''''''''1''''''''''''''''''''''0'''''''''''''''">
              <a:rPr lang="en-US" altLang="en-US" sz="1200" smtClean="0"/>
              <a:pPr/>
              <a:t>2010</a:t>
            </a:fld>
            <a:endParaRPr lang="ja-JP" altLang="en-US" sz="1200" dirty="0"/>
          </a:p>
        </p:txBody>
      </p:sp>
      <p:sp>
        <p:nvSpPr>
          <p:cNvPr id="55" name="テキスト プレースホルダ 9">
            <a:extLst>
              <a:ext uri="{FF2B5EF4-FFF2-40B4-BE49-F238E27FC236}">
                <a16:creationId xmlns:a16="http://schemas.microsoft.com/office/drawing/2014/main" id="{32948B71-894F-4E29-8C5A-817450C9D40D}"/>
              </a:ext>
            </a:extLst>
          </p:cNvPr>
          <p:cNvSpPr>
            <a:spLocks noGrp="1"/>
          </p:cNvSpPr>
          <p:nvPr>
            <p:custDataLst>
              <p:tags r:id="rId17"/>
            </p:custDataLst>
          </p:nvPr>
        </p:nvSpPr>
        <p:spPr bwMode="auto">
          <a:xfrm>
            <a:off x="3836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F0BD59-58A0-4538-ABEE-E671ABB7DEC9}" type="datetime'''2''''''''''''''''''''''''''''''''0''''''1''''''8'''''''''">
              <a:rPr lang="en-US" altLang="en-US" sz="1200" smtClean="0"/>
              <a:pPr/>
              <a:t>2018</a:t>
            </a:fld>
            <a:endParaRPr lang="ja-JP" altLang="en-US" sz="1200" dirty="0"/>
          </a:p>
        </p:txBody>
      </p:sp>
      <p:sp>
        <p:nvSpPr>
          <p:cNvPr id="53" name="テキスト プレースホルダ 9">
            <a:extLst>
              <a:ext uri="{FF2B5EF4-FFF2-40B4-BE49-F238E27FC236}">
                <a16:creationId xmlns:a16="http://schemas.microsoft.com/office/drawing/2014/main" id="{447888D5-CE32-4BAF-8071-8FDC181271F0}"/>
              </a:ext>
            </a:extLst>
          </p:cNvPr>
          <p:cNvSpPr>
            <a:spLocks noGrp="1"/>
          </p:cNvSpPr>
          <p:nvPr>
            <p:custDataLst>
              <p:tags r:id="rId18"/>
            </p:custDataLst>
          </p:nvPr>
        </p:nvSpPr>
        <p:spPr bwMode="auto">
          <a:xfrm>
            <a:off x="2820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A9206E-FFB4-46E9-946C-078A676D3086}" type="datetime'''''''''2''''''''''''''''''''''''''''01''''''''''''''4'''">
              <a:rPr lang="en-US" altLang="en-US" sz="1200" smtClean="0"/>
              <a:pPr/>
              <a:t>2014</a:t>
            </a:fld>
            <a:endParaRPr lang="ja-JP" altLang="en-US" sz="1200" dirty="0"/>
          </a:p>
        </p:txBody>
      </p:sp>
      <p:sp>
        <p:nvSpPr>
          <p:cNvPr id="56" name="テキスト プレースホルダ 9">
            <a:extLst>
              <a:ext uri="{FF2B5EF4-FFF2-40B4-BE49-F238E27FC236}">
                <a16:creationId xmlns:a16="http://schemas.microsoft.com/office/drawing/2014/main" id="{606A497D-8E92-4DE5-846F-DF30BB1BEEB5}"/>
              </a:ext>
            </a:extLst>
          </p:cNvPr>
          <p:cNvSpPr>
            <a:spLocks noGrp="1"/>
          </p:cNvSpPr>
          <p:nvPr>
            <p:custDataLst>
              <p:tags r:id="rId19"/>
            </p:custDataLst>
          </p:nvPr>
        </p:nvSpPr>
        <p:spPr bwMode="auto">
          <a:xfrm>
            <a:off x="4344988"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A4707-3927-4BD9-B47C-191A610A3187}" type="datetime'''''''''2''''''''''''''''0''1''''''9'''''''''''''''''''''">
              <a:rPr lang="en-US" altLang="en-US" sz="1200" smtClean="0"/>
              <a:pPr/>
              <a:t>2019</a:t>
            </a:fld>
            <a:endParaRPr lang="ja-JP" altLang="en-US" sz="1200" dirty="0"/>
          </a:p>
        </p:txBody>
      </p:sp>
      <p:sp>
        <p:nvSpPr>
          <p:cNvPr id="58" name="テキスト プレースホルダ 9">
            <a:extLst>
              <a:ext uri="{FF2B5EF4-FFF2-40B4-BE49-F238E27FC236}">
                <a16:creationId xmlns:a16="http://schemas.microsoft.com/office/drawing/2014/main" id="{FE660243-765D-4670-B926-6BF094DD9CB2}"/>
              </a:ext>
            </a:extLst>
          </p:cNvPr>
          <p:cNvSpPr>
            <a:spLocks noGrp="1"/>
          </p:cNvSpPr>
          <p:nvPr>
            <p:custDataLst>
              <p:tags r:id="rId20"/>
            </p:custDataLst>
          </p:nvPr>
        </p:nvSpPr>
        <p:spPr bwMode="auto">
          <a:xfrm>
            <a:off x="53625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BB594-4896-4D3C-9C13-10F5ED86364D}" type="datetime'''''''''2''''''''''''0''''''''''2''''''''''''''''1'''''''">
              <a:rPr lang="en-US" altLang="en-US" sz="1200" smtClean="0"/>
              <a:pPr/>
              <a:t>2021</a:t>
            </a:fld>
            <a:endParaRPr lang="ja-JP" altLang="en-US" sz="1200" dirty="0"/>
          </a:p>
        </p:txBody>
      </p:sp>
      <p:sp>
        <p:nvSpPr>
          <p:cNvPr id="57" name="テキスト プレースホルダ 9">
            <a:extLst>
              <a:ext uri="{FF2B5EF4-FFF2-40B4-BE49-F238E27FC236}">
                <a16:creationId xmlns:a16="http://schemas.microsoft.com/office/drawing/2014/main" id="{5CAD880F-EF52-441B-BE0E-A9ADE3F3B565}"/>
              </a:ext>
            </a:extLst>
          </p:cNvPr>
          <p:cNvSpPr>
            <a:spLocks noGrp="1"/>
          </p:cNvSpPr>
          <p:nvPr>
            <p:custDataLst>
              <p:tags r:id="rId21"/>
            </p:custDataLst>
          </p:nvPr>
        </p:nvSpPr>
        <p:spPr bwMode="auto">
          <a:xfrm>
            <a:off x="4854575" y="6143625"/>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006A0F-11B7-45F8-A70F-84545B4D3D60}" type="datetime'''''''''''''''''''''''''''''''''''2''''0''''2''''''''''0'">
              <a:rPr lang="en-US" altLang="en-US" sz="1200" smtClean="0"/>
              <a:pPr/>
              <a:t>2020</a:t>
            </a:fld>
            <a:endParaRPr lang="ja-JP" altLang="en-US" sz="1200" dirty="0"/>
          </a:p>
        </p:txBody>
      </p:sp>
      <p:graphicFrame>
        <p:nvGraphicFramePr>
          <p:cNvPr id="2" name="Chart 61">
            <a:extLst>
              <a:ext uri="{FF2B5EF4-FFF2-40B4-BE49-F238E27FC236}">
                <a16:creationId xmlns:a16="http://schemas.microsoft.com/office/drawing/2014/main" id="{E00A1821-0B46-7F93-1460-73F2FCC632E6}"/>
              </a:ext>
            </a:extLst>
          </p:cNvPr>
          <p:cNvGraphicFramePr/>
          <p:nvPr>
            <p:custDataLst>
              <p:tags r:id="rId22"/>
            </p:custDataLst>
            <p:extLst>
              <p:ext uri="{D42A27DB-BD31-4B8C-83A1-F6EECF244321}">
                <p14:modId xmlns:p14="http://schemas.microsoft.com/office/powerpoint/2010/main" val="2270886427"/>
              </p:ext>
            </p:extLst>
          </p:nvPr>
        </p:nvGraphicFramePr>
        <p:xfrm>
          <a:off x="117475" y="2622550"/>
          <a:ext cx="5756275" cy="3552825"/>
        </p:xfrm>
        <a:graphic>
          <a:graphicData uri="http://schemas.openxmlformats.org/drawingml/2006/chart">
            <c:chart xmlns:c="http://schemas.openxmlformats.org/drawingml/2006/chart" xmlns:r="http://schemas.openxmlformats.org/officeDocument/2006/relationships" r:id="rId28"/>
          </a:graphicData>
        </a:graphic>
      </p:graphicFrame>
      <p:sp>
        <p:nvSpPr>
          <p:cNvPr id="5" name="TextBox 3">
            <a:extLst>
              <a:ext uri="{FF2B5EF4-FFF2-40B4-BE49-F238E27FC236}">
                <a16:creationId xmlns:a16="http://schemas.microsoft.com/office/drawing/2014/main" id="{5B8EF827-F3F2-1DB0-F509-E624B8E300D4}"/>
              </a:ext>
            </a:extLst>
          </p:cNvPr>
          <p:cNvSpPr txBox="1"/>
          <p:nvPr/>
        </p:nvSpPr>
        <p:spPr>
          <a:xfrm>
            <a:off x="5297340" y="2954048"/>
            <a:ext cx="493860" cy="276999"/>
          </a:xfrm>
          <a:prstGeom prst="rect">
            <a:avLst/>
          </a:prstGeom>
          <a:noFill/>
        </p:spPr>
        <p:txBody>
          <a:bodyPr wrap="square">
            <a:spAutoFit/>
          </a:bodyPr>
          <a:lstStyle/>
          <a:p>
            <a:pPr algn="ctr"/>
            <a:r>
              <a:rPr lang="en-US" altLang="ja-JP" sz="1200" noProof="1">
                <a:latin typeface="+mj-lt"/>
                <a:ea typeface="HGP創英角ｺﾞｼｯｸUB" pitchFamily="50" charset="-128"/>
              </a:rPr>
              <a:t>15.8</a:t>
            </a:r>
            <a:endParaRPr lang="en-US" sz="1200" dirty="0"/>
          </a:p>
        </p:txBody>
      </p:sp>
    </p:spTree>
    <p:extLst>
      <p:ext uri="{BB962C8B-B14F-4D97-AF65-F5344CB8AC3E}">
        <p14:creationId xmlns:p14="http://schemas.microsoft.com/office/powerpoint/2010/main" val="2591633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extLst>
              <p:ext uri="{D42A27DB-BD31-4B8C-83A1-F6EECF244321}">
                <p14:modId xmlns:p14="http://schemas.microsoft.com/office/powerpoint/2010/main" val="299242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保健省が保健サービス提供システムの全体にかかる指針の作成、調整、支援を行うとともに、保険サービスの質の改善や、州のサービス提供にかかる改革計画への支援、リソース配分などを行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州保健局は、郡ベースのプライマリーヘルスケアサービスをベースに、地域の総合的な保険サービス提供の実施と管理を行ってい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保健省ホームページ</a:t>
            </a:r>
          </a:p>
        </p:txBody>
      </p:sp>
      <p:sp>
        <p:nvSpPr>
          <p:cNvPr id="24" name="TextBox 23">
            <a:extLst>
              <a:ext uri="{FF2B5EF4-FFF2-40B4-BE49-F238E27FC236}">
                <a16:creationId xmlns:a16="http://schemas.microsoft.com/office/drawing/2014/main" id="{7F8A656E-00B9-447B-AD0D-08EEF17A1E12}"/>
              </a:ext>
            </a:extLst>
          </p:cNvPr>
          <p:cNvSpPr txBox="1"/>
          <p:nvPr/>
        </p:nvSpPr>
        <p:spPr>
          <a:xfrm>
            <a:off x="3223983" y="4778944"/>
            <a:ext cx="3211513" cy="1477328"/>
          </a:xfrm>
          <a:prstGeom prst="rect">
            <a:avLst/>
          </a:prstGeom>
          <a:noFill/>
        </p:spPr>
        <p:txBody>
          <a:bodyPr wrap="square">
            <a:spAutoFit/>
          </a:bodyPr>
          <a:lstStyle/>
          <a:p>
            <a:r>
              <a:rPr lang="ja-JP" altLang="en-US" sz="1000" b="1" dirty="0"/>
              <a:t>下部公的機関</a:t>
            </a:r>
          </a:p>
          <a:p>
            <a:endParaRPr lang="en-US" altLang="ja-JP" sz="1000" dirty="0"/>
          </a:p>
          <a:p>
            <a:pPr marL="285750" indent="-285750">
              <a:buFont typeface="Arial" panose="020B0604020202020204" pitchFamily="34" charset="0"/>
              <a:buChar char="•"/>
            </a:pPr>
            <a:r>
              <a:rPr lang="ja-JP" altLang="en-US" sz="1000" dirty="0"/>
              <a:t>医療保険協議会</a:t>
            </a:r>
            <a:r>
              <a:rPr lang="en-US" altLang="ja-JP" sz="1000" dirty="0"/>
              <a:t>(</a:t>
            </a:r>
            <a:r>
              <a:rPr lang="en-US" sz="1000" dirty="0"/>
              <a:t>CMS)</a:t>
            </a:r>
          </a:p>
          <a:p>
            <a:pPr marL="285750" indent="-285750">
              <a:buFont typeface="Arial" panose="020B0604020202020204" pitchFamily="34" charset="0"/>
              <a:buChar char="•"/>
            </a:pPr>
            <a:r>
              <a:rPr lang="ja-JP" altLang="en-US" sz="1000" dirty="0"/>
              <a:t>南アフリカ医療製品規制庁 </a:t>
            </a:r>
            <a:r>
              <a:rPr lang="en-US" altLang="ja-JP" sz="1000" dirty="0"/>
              <a:t>(SAHPRA)</a:t>
            </a:r>
            <a:endParaRPr lang="en-US" sz="1000" dirty="0"/>
          </a:p>
          <a:p>
            <a:pPr marL="285750" indent="-285750">
              <a:buFont typeface="Arial" panose="020B0604020202020204" pitchFamily="34" charset="0"/>
              <a:buChar char="•"/>
            </a:pPr>
            <a:r>
              <a:rPr lang="ja-JP" altLang="en-US" sz="1000" dirty="0"/>
              <a:t>南アフリカ医療リサーチ協議会（</a:t>
            </a:r>
            <a:r>
              <a:rPr lang="en-US" sz="1000" dirty="0"/>
              <a:t>South African Medical Research Council</a:t>
            </a:r>
            <a:r>
              <a:rPr lang="ja-JP" altLang="en-US" sz="1000" dirty="0"/>
              <a:t>）</a:t>
            </a:r>
            <a:endParaRPr lang="en-US" sz="1000" dirty="0"/>
          </a:p>
          <a:p>
            <a:pPr marL="285750" indent="-285750">
              <a:buFont typeface="Arial" panose="020B0604020202020204" pitchFamily="34" charset="0"/>
              <a:buChar char="•"/>
            </a:pPr>
            <a:r>
              <a:rPr lang="en-US" sz="1000" dirty="0"/>
              <a:t>Office of Health Standards Compliance (OHSC): </a:t>
            </a:r>
            <a:r>
              <a:rPr lang="en-US" altLang="ja-JP" sz="1000" dirty="0"/>
              <a:t>NHI</a:t>
            </a:r>
            <a:r>
              <a:rPr lang="ja-JP" altLang="en-US" sz="1000" dirty="0"/>
              <a:t>の定める衛生基準の遵守確認機関</a:t>
            </a:r>
            <a:endParaRPr lang="en-US" sz="1000" dirty="0"/>
          </a:p>
          <a:p>
            <a:pPr marL="285750" indent="-285750">
              <a:buFont typeface="Arial" panose="020B0604020202020204" pitchFamily="34" charset="0"/>
              <a:buChar char="•"/>
            </a:pPr>
            <a:r>
              <a:rPr lang="en-US" sz="1000" dirty="0"/>
              <a:t>National Health Laboratory Services (NHLS)</a:t>
            </a:r>
            <a:endParaRPr lang="en-CA" sz="1000" dirty="0"/>
          </a:p>
        </p:txBody>
      </p:sp>
      <p:sp>
        <p:nvSpPr>
          <p:cNvPr id="26" name="TextBox 25">
            <a:extLst>
              <a:ext uri="{FF2B5EF4-FFF2-40B4-BE49-F238E27FC236}">
                <a16:creationId xmlns:a16="http://schemas.microsoft.com/office/drawing/2014/main" id="{916EFF43-A085-48E9-AE11-A9AB389BDEE4}"/>
              </a:ext>
            </a:extLst>
          </p:cNvPr>
          <p:cNvSpPr txBox="1"/>
          <p:nvPr/>
        </p:nvSpPr>
        <p:spPr>
          <a:xfrm>
            <a:off x="6393160" y="4750267"/>
            <a:ext cx="3672408" cy="1477328"/>
          </a:xfrm>
          <a:prstGeom prst="rect">
            <a:avLst/>
          </a:prstGeom>
          <a:noFill/>
        </p:spPr>
        <p:txBody>
          <a:bodyPr wrap="square">
            <a:spAutoFit/>
          </a:bodyPr>
          <a:lstStyle/>
          <a:p>
            <a:r>
              <a:rPr lang="ja-JP" altLang="en-US" sz="1000" b="1" dirty="0"/>
              <a:t>医療専門家の法定機関</a:t>
            </a:r>
          </a:p>
          <a:p>
            <a:endParaRPr lang="en-US" altLang="ja-JP" sz="1000" dirty="0"/>
          </a:p>
          <a:p>
            <a:pPr marL="285750" indent="-285750">
              <a:buFont typeface="Arial" panose="020B0604020202020204" pitchFamily="34" charset="0"/>
              <a:buChar char="•"/>
            </a:pPr>
            <a:r>
              <a:rPr lang="ja-JP" altLang="en-US" sz="1000" dirty="0"/>
              <a:t>保健専門家協議会（</a:t>
            </a:r>
            <a:r>
              <a:rPr lang="en-US" altLang="ja-JP" sz="1000" dirty="0"/>
              <a:t>HPCSA</a:t>
            </a:r>
            <a:r>
              <a:rPr lang="ja-JP" altLang="en-US" sz="1000" dirty="0"/>
              <a:t>）</a:t>
            </a:r>
            <a:endParaRPr lang="en-US" sz="1000" dirty="0"/>
          </a:p>
          <a:p>
            <a:pPr marL="285750" indent="-285750">
              <a:buFont typeface="Arial" panose="020B0604020202020204" pitchFamily="34" charset="0"/>
              <a:buChar char="•"/>
            </a:pPr>
            <a:r>
              <a:rPr lang="ja-JP" altLang="en-US" sz="1000" dirty="0"/>
              <a:t>看護評議会（</a:t>
            </a:r>
            <a:r>
              <a:rPr lang="en-US" sz="1000" dirty="0"/>
              <a:t>South African Nursing Council</a:t>
            </a:r>
            <a:r>
              <a:rPr lang="ja-JP" altLang="en-US" sz="1000" dirty="0"/>
              <a:t>）</a:t>
            </a:r>
            <a:endParaRPr lang="en-US" sz="1000" dirty="0"/>
          </a:p>
          <a:p>
            <a:pPr marL="285750" indent="-285750">
              <a:buFont typeface="Arial" panose="020B0604020202020204" pitchFamily="34" charset="0"/>
              <a:buChar char="•"/>
            </a:pPr>
            <a:r>
              <a:rPr lang="en-US" sz="1000" dirty="0"/>
              <a:t>South African Pharmacy Council</a:t>
            </a:r>
          </a:p>
          <a:p>
            <a:pPr marL="285750" indent="-285750">
              <a:buFont typeface="Arial" panose="020B0604020202020204" pitchFamily="34" charset="0"/>
              <a:buChar char="•"/>
            </a:pPr>
            <a:r>
              <a:rPr lang="en-US" sz="1000" dirty="0"/>
              <a:t>South African Dental Technicians Council</a:t>
            </a:r>
          </a:p>
          <a:p>
            <a:pPr marL="285750" indent="-285750">
              <a:buFont typeface="Arial" panose="020B0604020202020204" pitchFamily="34" charset="0"/>
              <a:buChar char="•"/>
            </a:pPr>
            <a:r>
              <a:rPr lang="en-US" sz="1000" dirty="0"/>
              <a:t>Allied Health Council of South Africa</a:t>
            </a:r>
          </a:p>
          <a:p>
            <a:pPr marL="285750" indent="-285750">
              <a:buFont typeface="Arial" panose="020B0604020202020204" pitchFamily="34" charset="0"/>
              <a:buChar char="•"/>
            </a:pPr>
            <a:r>
              <a:rPr lang="en-US" sz="1000" dirty="0"/>
              <a:t>Interim Traditional Health Council</a:t>
            </a:r>
          </a:p>
          <a:p>
            <a:pPr marL="285750" indent="-285750">
              <a:buFont typeface="Arial" panose="020B0604020202020204" pitchFamily="34" charset="0"/>
              <a:buChar char="•"/>
            </a:pPr>
            <a:r>
              <a:rPr lang="en-US" sz="1000" dirty="0"/>
              <a:t>National Health Research Ethics Council</a:t>
            </a:r>
            <a:endParaRPr lang="en-CA" sz="1000" dirty="0"/>
          </a:p>
        </p:txBody>
      </p:sp>
      <p:sp>
        <p:nvSpPr>
          <p:cNvPr id="28" name="TextBox 27">
            <a:extLst>
              <a:ext uri="{FF2B5EF4-FFF2-40B4-BE49-F238E27FC236}">
                <a16:creationId xmlns:a16="http://schemas.microsoft.com/office/drawing/2014/main" id="{1B49DA91-754E-4B95-A965-5F43923DC46A}"/>
              </a:ext>
            </a:extLst>
          </p:cNvPr>
          <p:cNvSpPr txBox="1"/>
          <p:nvPr/>
        </p:nvSpPr>
        <p:spPr>
          <a:xfrm>
            <a:off x="1136578" y="4750267"/>
            <a:ext cx="1728192" cy="707886"/>
          </a:xfrm>
          <a:prstGeom prst="rect">
            <a:avLst/>
          </a:prstGeom>
          <a:noFill/>
        </p:spPr>
        <p:txBody>
          <a:bodyPr wrap="square">
            <a:spAutoFit/>
          </a:bodyPr>
          <a:lstStyle/>
          <a:p>
            <a:r>
              <a:rPr lang="ja-JP" altLang="en-US" sz="1000" b="1" dirty="0"/>
              <a:t>州保健局</a:t>
            </a:r>
            <a:endParaRPr lang="en-US" altLang="ja-JP" sz="1000" b="1" dirty="0"/>
          </a:p>
          <a:p>
            <a:r>
              <a:rPr lang="ja-JP" altLang="en-US" sz="1000" dirty="0"/>
              <a:t>日々の医療サービスの提供と医療用品・機器の調達を担当</a:t>
            </a:r>
            <a:endParaRPr lang="en-CA" altLang="ja-JP" sz="1000" dirty="0"/>
          </a:p>
        </p:txBody>
      </p:sp>
      <p:sp>
        <p:nvSpPr>
          <p:cNvPr id="39" name="Arrow: Down 38">
            <a:extLst>
              <a:ext uri="{FF2B5EF4-FFF2-40B4-BE49-F238E27FC236}">
                <a16:creationId xmlns:a16="http://schemas.microsoft.com/office/drawing/2014/main" id="{F9E63DE0-8A93-414B-82FE-61A20148FDB0}"/>
              </a:ext>
            </a:extLst>
          </p:cNvPr>
          <p:cNvSpPr/>
          <p:nvPr/>
        </p:nvSpPr>
        <p:spPr>
          <a:xfrm flipV="1">
            <a:off x="1669226" y="424007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0" name="Arrow: Down 39">
            <a:extLst>
              <a:ext uri="{FF2B5EF4-FFF2-40B4-BE49-F238E27FC236}">
                <a16:creationId xmlns:a16="http://schemas.microsoft.com/office/drawing/2014/main" id="{8CBB126E-349F-41B6-921D-BC7D5893E8BE}"/>
              </a:ext>
            </a:extLst>
          </p:cNvPr>
          <p:cNvSpPr/>
          <p:nvPr/>
        </p:nvSpPr>
        <p:spPr>
          <a:xfrm flipV="1">
            <a:off x="4363092" y="4268938"/>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41" name="Arrow: Down 40">
            <a:extLst>
              <a:ext uri="{FF2B5EF4-FFF2-40B4-BE49-F238E27FC236}">
                <a16:creationId xmlns:a16="http://schemas.microsoft.com/office/drawing/2014/main" id="{C8A3DE41-2813-4377-877B-A3D7EE94BB53}"/>
              </a:ext>
            </a:extLst>
          </p:cNvPr>
          <p:cNvSpPr/>
          <p:nvPr/>
        </p:nvSpPr>
        <p:spPr>
          <a:xfrm flipV="1">
            <a:off x="7285013" y="4281861"/>
            <a:ext cx="720080" cy="390604"/>
          </a:xfrm>
          <a:prstGeom prst="downArrow">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grpSp>
        <p:nvGrpSpPr>
          <p:cNvPr id="58" name="Group 57">
            <a:extLst>
              <a:ext uri="{FF2B5EF4-FFF2-40B4-BE49-F238E27FC236}">
                <a16:creationId xmlns:a16="http://schemas.microsoft.com/office/drawing/2014/main" id="{DFFA340E-C86D-4CEA-9BC1-E35F4776EF92}"/>
              </a:ext>
            </a:extLst>
          </p:cNvPr>
          <p:cNvGrpSpPr/>
          <p:nvPr/>
        </p:nvGrpSpPr>
        <p:grpSpPr>
          <a:xfrm>
            <a:off x="1360376" y="2484755"/>
            <a:ext cx="7245188" cy="1568866"/>
            <a:chOff x="516124" y="1068046"/>
            <a:chExt cx="8901372" cy="2432962"/>
          </a:xfrm>
        </p:grpSpPr>
        <p:pic>
          <p:nvPicPr>
            <p:cNvPr id="59" name="Picture 58">
              <a:extLst>
                <a:ext uri="{FF2B5EF4-FFF2-40B4-BE49-F238E27FC236}">
                  <a16:creationId xmlns:a16="http://schemas.microsoft.com/office/drawing/2014/main" id="{5E41F3D3-74EE-441D-B666-70824781186C}"/>
                </a:ext>
              </a:extLst>
            </p:cNvPr>
            <p:cNvPicPr>
              <a:picLocks noChangeAspect="1"/>
            </p:cNvPicPr>
            <p:nvPr/>
          </p:nvPicPr>
          <p:blipFill>
            <a:blip r:embed="rId5"/>
            <a:stretch>
              <a:fillRect/>
            </a:stretch>
          </p:blipFill>
          <p:spPr>
            <a:xfrm>
              <a:off x="668524" y="1544286"/>
              <a:ext cx="1944216" cy="703499"/>
            </a:xfrm>
            <a:prstGeom prst="rect">
              <a:avLst/>
            </a:prstGeom>
          </p:spPr>
        </p:pic>
        <p:sp>
          <p:nvSpPr>
            <p:cNvPr id="60" name="TextBox 59">
              <a:extLst>
                <a:ext uri="{FF2B5EF4-FFF2-40B4-BE49-F238E27FC236}">
                  <a16:creationId xmlns:a16="http://schemas.microsoft.com/office/drawing/2014/main" id="{C763284A-EF4B-469D-AF8C-9A89483CD441}"/>
                </a:ext>
              </a:extLst>
            </p:cNvPr>
            <p:cNvSpPr txBox="1"/>
            <p:nvPr/>
          </p:nvSpPr>
          <p:spPr>
            <a:xfrm>
              <a:off x="668525" y="1155381"/>
              <a:ext cx="3149555" cy="381834"/>
            </a:xfrm>
            <a:prstGeom prst="rect">
              <a:avLst/>
            </a:prstGeom>
            <a:noFill/>
          </p:spPr>
          <p:txBody>
            <a:bodyPr wrap="square">
              <a:spAutoFit/>
            </a:bodyPr>
            <a:lstStyle/>
            <a:p>
              <a:r>
                <a:rPr lang="ja-JP" altLang="en-US" sz="1000" b="1" dirty="0"/>
                <a:t>南アフリカ保健省</a:t>
              </a:r>
              <a:endParaRPr lang="en-US" altLang="ja-JP" sz="1000" b="1" dirty="0"/>
            </a:p>
          </p:txBody>
        </p:sp>
        <p:sp>
          <p:nvSpPr>
            <p:cNvPr id="61" name="Rectangle 60">
              <a:extLst>
                <a:ext uri="{FF2B5EF4-FFF2-40B4-BE49-F238E27FC236}">
                  <a16:creationId xmlns:a16="http://schemas.microsoft.com/office/drawing/2014/main" id="{8E6FBCA2-16D8-4686-9931-45E1C5C784A7}"/>
                </a:ext>
              </a:extLst>
            </p:cNvPr>
            <p:cNvSpPr/>
            <p:nvPr/>
          </p:nvSpPr>
          <p:spPr>
            <a:xfrm>
              <a:off x="8203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国民健康保険</a:t>
              </a:r>
              <a:r>
                <a:rPr kumimoji="1" lang="en-US" altLang="ja-JP" sz="900" dirty="0"/>
                <a:t>(NHI)</a:t>
              </a:r>
              <a:endParaRPr kumimoji="1" lang="en-US" sz="900" dirty="0"/>
            </a:p>
          </p:txBody>
        </p:sp>
        <p:sp>
          <p:nvSpPr>
            <p:cNvPr id="62" name="Rectangle 61">
              <a:extLst>
                <a:ext uri="{FF2B5EF4-FFF2-40B4-BE49-F238E27FC236}">
                  <a16:creationId xmlns:a16="http://schemas.microsoft.com/office/drawing/2014/main" id="{FF1BF4CF-2130-41B9-99E4-5F4C2C7783B3}"/>
                </a:ext>
              </a:extLst>
            </p:cNvPr>
            <p:cNvSpPr/>
            <p:nvPr/>
          </p:nvSpPr>
          <p:spPr>
            <a:xfrm>
              <a:off x="6508279" y="1340768"/>
              <a:ext cx="1559051" cy="320738"/>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コーポレートサービス</a:t>
              </a:r>
              <a:endParaRPr kumimoji="1" lang="en-US" sz="900" dirty="0"/>
            </a:p>
          </p:txBody>
        </p:sp>
        <p:sp>
          <p:nvSpPr>
            <p:cNvPr id="63" name="Rectangle 62">
              <a:extLst>
                <a:ext uri="{FF2B5EF4-FFF2-40B4-BE49-F238E27FC236}">
                  <a16:creationId xmlns:a16="http://schemas.microsoft.com/office/drawing/2014/main" id="{6DD76982-F253-4C88-B27E-51322566D8DD}"/>
                </a:ext>
              </a:extLst>
            </p:cNvPr>
            <p:cNvSpPr/>
            <p:nvPr/>
          </p:nvSpPr>
          <p:spPr>
            <a:xfrm>
              <a:off x="6510015" y="1752844"/>
              <a:ext cx="1557315" cy="304622"/>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en-US" sz="1000" dirty="0"/>
                <a:t>CFO</a:t>
              </a:r>
            </a:p>
          </p:txBody>
        </p:sp>
        <p:sp>
          <p:nvSpPr>
            <p:cNvPr id="64" name="Rectangle 63">
              <a:extLst>
                <a:ext uri="{FF2B5EF4-FFF2-40B4-BE49-F238E27FC236}">
                  <a16:creationId xmlns:a16="http://schemas.microsoft.com/office/drawing/2014/main" id="{4BAACCDB-F7EA-4815-9AB0-95A6043C6ED1}"/>
                </a:ext>
              </a:extLst>
            </p:cNvPr>
            <p:cNvSpPr/>
            <p:nvPr/>
          </p:nvSpPr>
          <p:spPr>
            <a:xfrm>
              <a:off x="2434048"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感染症・非感染症対策</a:t>
              </a:r>
              <a:endParaRPr kumimoji="1" lang="en-US" sz="900" dirty="0"/>
            </a:p>
          </p:txBody>
        </p:sp>
        <p:sp>
          <p:nvSpPr>
            <p:cNvPr id="65" name="Rectangle 64">
              <a:extLst>
                <a:ext uri="{FF2B5EF4-FFF2-40B4-BE49-F238E27FC236}">
                  <a16:creationId xmlns:a16="http://schemas.microsoft.com/office/drawing/2014/main" id="{A8AE6C3C-887A-4EE5-BED0-B420A75B55D6}"/>
                </a:ext>
              </a:extLst>
            </p:cNvPr>
            <p:cNvSpPr/>
            <p:nvPr/>
          </p:nvSpPr>
          <p:spPr>
            <a:xfrm>
              <a:off x="516124" y="1068046"/>
              <a:ext cx="8901372" cy="2432962"/>
            </a:xfrm>
            <a:prstGeom prst="rect">
              <a:avLst/>
            </a:prstGeom>
            <a:noFill/>
            <a:ln>
              <a:solidFill>
                <a:schemeClr val="tx1"/>
              </a:solidFill>
            </a:ln>
          </p:spPr>
          <p:txBody>
            <a:bodyPr wrap="square" rtlCol="0" anchor="ctr">
              <a:noAutofit/>
            </a:bodyPr>
            <a:lstStyle/>
            <a:p>
              <a:pPr marL="0" algn="ctr" fontAlgn="ctr">
                <a:lnSpc>
                  <a:spcPct val="114000"/>
                </a:lnSpc>
                <a:spcAft>
                  <a:spcPts val="400"/>
                </a:spcAft>
              </a:pPr>
              <a:endParaRPr kumimoji="1" lang="en-US" sz="1000" dirty="0"/>
            </a:p>
          </p:txBody>
        </p:sp>
        <p:sp>
          <p:nvSpPr>
            <p:cNvPr id="66" name="Rectangle 65">
              <a:extLst>
                <a:ext uri="{FF2B5EF4-FFF2-40B4-BE49-F238E27FC236}">
                  <a16:creationId xmlns:a16="http://schemas.microsoft.com/office/drawing/2014/main" id="{C67A6C9B-D5FE-46E6-8950-2046E28EA6E2}"/>
                </a:ext>
              </a:extLst>
            </p:cNvPr>
            <p:cNvSpPr/>
            <p:nvPr/>
          </p:nvSpPr>
          <p:spPr>
            <a:xfrm>
              <a:off x="4012972"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900" dirty="0"/>
                <a:t>プライマリー</a:t>
              </a:r>
            </a:p>
            <a:p>
              <a:pPr marL="0" algn="ctr" fontAlgn="ctr">
                <a:lnSpc>
                  <a:spcPct val="114000"/>
                </a:lnSpc>
                <a:spcAft>
                  <a:spcPts val="400"/>
                </a:spcAft>
              </a:pPr>
              <a:r>
                <a:rPr kumimoji="1" lang="ja-JP" altLang="en-US" sz="900" dirty="0"/>
                <a:t>ヘルスケア</a:t>
              </a:r>
              <a:endParaRPr kumimoji="1" lang="en-US" sz="900" dirty="0"/>
            </a:p>
          </p:txBody>
        </p:sp>
        <p:sp>
          <p:nvSpPr>
            <p:cNvPr id="67" name="Rectangle 66">
              <a:extLst>
                <a:ext uri="{FF2B5EF4-FFF2-40B4-BE49-F238E27FC236}">
                  <a16:creationId xmlns:a16="http://schemas.microsoft.com/office/drawing/2014/main" id="{65DC902F-D71A-49B0-BC2A-7EEC73CDA2D8}"/>
                </a:ext>
              </a:extLst>
            </p:cNvPr>
            <p:cNvSpPr/>
            <p:nvPr/>
          </p:nvSpPr>
          <p:spPr>
            <a:xfrm>
              <a:off x="5591896"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病院システム</a:t>
              </a:r>
              <a:endParaRPr kumimoji="1" lang="en-US" sz="900" dirty="0"/>
            </a:p>
          </p:txBody>
        </p:sp>
        <p:sp>
          <p:nvSpPr>
            <p:cNvPr id="68" name="Rectangle 67">
              <a:extLst>
                <a:ext uri="{FF2B5EF4-FFF2-40B4-BE49-F238E27FC236}">
                  <a16:creationId xmlns:a16="http://schemas.microsoft.com/office/drawing/2014/main" id="{7D6677EF-F168-4454-8D3C-6F1B05E58F44}"/>
                </a:ext>
              </a:extLst>
            </p:cNvPr>
            <p:cNvSpPr/>
            <p:nvPr/>
          </p:nvSpPr>
          <p:spPr>
            <a:xfrm>
              <a:off x="7170820" y="2770262"/>
              <a:ext cx="1422953" cy="400110"/>
            </a:xfrm>
            <a:prstGeom prst="rect">
              <a:avLst/>
            </a:prstGeom>
            <a:solidFill>
              <a:schemeClr val="bg1"/>
            </a:solidFill>
            <a:ln>
              <a:solidFill>
                <a:schemeClr val="tx1"/>
              </a:solidFill>
            </a:ln>
          </p:spPr>
          <p:txBody>
            <a:bodyPr wrap="square" rtlCol="0" anchor="ctr">
              <a:noAutofit/>
            </a:bodyPr>
            <a:lstStyle/>
            <a:p>
              <a:pPr marL="0" algn="ctr" fontAlgn="ctr">
                <a:lnSpc>
                  <a:spcPct val="114000"/>
                </a:lnSpc>
                <a:spcAft>
                  <a:spcPts val="400"/>
                </a:spcAft>
              </a:pPr>
              <a:r>
                <a:rPr kumimoji="1" lang="ja-JP" altLang="en-US" sz="900" dirty="0"/>
                <a:t>ガバナンスおよびヘルスケア人材</a:t>
              </a:r>
              <a:endParaRPr kumimoji="1" lang="en-US" sz="900" dirty="0"/>
            </a:p>
          </p:txBody>
        </p:sp>
        <p:sp>
          <p:nvSpPr>
            <p:cNvPr id="69" name="Rectangle 68">
              <a:extLst>
                <a:ext uri="{FF2B5EF4-FFF2-40B4-BE49-F238E27FC236}">
                  <a16:creationId xmlns:a16="http://schemas.microsoft.com/office/drawing/2014/main" id="{91E567B9-ACAB-4D41-B2F8-8BAE53EC3666}"/>
                </a:ext>
              </a:extLst>
            </p:cNvPr>
            <p:cNvSpPr/>
            <p:nvPr/>
          </p:nvSpPr>
          <p:spPr>
            <a:xfrm>
              <a:off x="3574514" y="122017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kumimoji="1" lang="ja-JP" altLang="en-US" sz="1000" dirty="0"/>
                <a:t>大臣</a:t>
              </a:r>
              <a:endParaRPr kumimoji="1" lang="en-US" sz="1000" dirty="0"/>
            </a:p>
          </p:txBody>
        </p:sp>
        <p:sp>
          <p:nvSpPr>
            <p:cNvPr id="70" name="Rectangle 69">
              <a:extLst>
                <a:ext uri="{FF2B5EF4-FFF2-40B4-BE49-F238E27FC236}">
                  <a16:creationId xmlns:a16="http://schemas.microsoft.com/office/drawing/2014/main" id="{D1E23CAF-8F62-4728-AD58-49A267B2C127}"/>
                </a:ext>
              </a:extLst>
            </p:cNvPr>
            <p:cNvSpPr/>
            <p:nvPr/>
          </p:nvSpPr>
          <p:spPr>
            <a:xfrm>
              <a:off x="3574514" y="1605093"/>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副大臣</a:t>
              </a:r>
              <a:endParaRPr kumimoji="1" lang="en-US" sz="1000" dirty="0"/>
            </a:p>
          </p:txBody>
        </p:sp>
        <p:cxnSp>
          <p:nvCxnSpPr>
            <p:cNvPr id="71" name="Straight Connector 70">
              <a:extLst>
                <a:ext uri="{FF2B5EF4-FFF2-40B4-BE49-F238E27FC236}">
                  <a16:creationId xmlns:a16="http://schemas.microsoft.com/office/drawing/2014/main" id="{EE4C578A-AB70-4EA9-844A-3CF2E111ED40}"/>
                </a:ext>
              </a:extLst>
            </p:cNvPr>
            <p:cNvCxnSpPr>
              <a:stCxn id="69" idx="2"/>
              <a:endCxn id="70" idx="0"/>
            </p:cNvCxnSpPr>
            <p:nvPr/>
          </p:nvCxnSpPr>
          <p:spPr>
            <a:xfrm>
              <a:off x="4285991" y="1438040"/>
              <a:ext cx="0" cy="1670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Connector: Elbow 71">
              <a:extLst>
                <a:ext uri="{FF2B5EF4-FFF2-40B4-BE49-F238E27FC236}">
                  <a16:creationId xmlns:a16="http://schemas.microsoft.com/office/drawing/2014/main" id="{9376ECDB-311B-4EB9-831D-D925702FA553}"/>
                </a:ext>
              </a:extLst>
            </p:cNvPr>
            <p:cNvCxnSpPr>
              <a:cxnSpLocks/>
              <a:stCxn id="70" idx="2"/>
              <a:endCxn id="66" idx="0"/>
            </p:cNvCxnSpPr>
            <p:nvPr/>
          </p:nvCxnSpPr>
          <p:spPr>
            <a:xfrm rot="16200000" flipH="1">
              <a:off x="4031571" y="2077383"/>
              <a:ext cx="947299" cy="438458"/>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6464CE29-4BCE-498C-AF88-69787F077613}"/>
                </a:ext>
              </a:extLst>
            </p:cNvPr>
            <p:cNvCxnSpPr>
              <a:cxnSpLocks/>
              <a:stCxn id="70" idx="2"/>
              <a:endCxn id="61" idx="0"/>
            </p:cNvCxnSpPr>
            <p:nvPr/>
          </p:nvCxnSpPr>
          <p:spPr>
            <a:xfrm rot="5400000">
              <a:off x="2435259" y="919529"/>
              <a:ext cx="947299" cy="2754166"/>
            </a:xfrm>
            <a:prstGeom prst="bentConnector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A62C1396-4EB9-46F5-B4CE-E1A0DE33D586}"/>
                </a:ext>
              </a:extLst>
            </p:cNvPr>
            <p:cNvCxnSpPr>
              <a:cxnSpLocks/>
              <a:stCxn id="70" idx="2"/>
              <a:endCxn id="64" idx="0"/>
            </p:cNvCxnSpPr>
            <p:nvPr/>
          </p:nvCxnSpPr>
          <p:spPr>
            <a:xfrm rot="5400000">
              <a:off x="3242109" y="1726379"/>
              <a:ext cx="947299" cy="1140466"/>
            </a:xfrm>
            <a:prstGeom prst="bentConnector3">
              <a:avLst>
                <a:gd name="adj1" fmla="val 50000"/>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AE9C568-F228-4230-8F45-CBB47E655C10}"/>
                </a:ext>
              </a:extLst>
            </p:cNvPr>
            <p:cNvSpPr/>
            <p:nvPr/>
          </p:nvSpPr>
          <p:spPr>
            <a:xfrm>
              <a:off x="3574514" y="1950520"/>
              <a:ext cx="1422953" cy="217870"/>
            </a:xfrm>
            <a:prstGeom prst="rect">
              <a:avLst/>
            </a:prstGeom>
            <a:solidFill>
              <a:schemeClr val="bg1"/>
            </a:solidFill>
            <a:ln>
              <a:solidFill>
                <a:schemeClr val="tx1"/>
              </a:solidFill>
            </a:ln>
          </p:spPr>
          <p:txBody>
            <a:bodyPr wrap="square" rtlCol="0" anchor="ctr">
              <a:noAutofit/>
            </a:bodyPr>
            <a:lstStyle/>
            <a:p>
              <a:pPr marL="0" algn="ctr" fontAlgn="ctr">
                <a:lnSpc>
                  <a:spcPct val="114000"/>
                </a:lnSpc>
              </a:pPr>
              <a:r>
                <a:rPr lang="ja-JP" altLang="en-US" sz="1000" dirty="0"/>
                <a:t>事務局長</a:t>
              </a:r>
              <a:endParaRPr kumimoji="1" lang="en-US" sz="1000" dirty="0"/>
            </a:p>
          </p:txBody>
        </p:sp>
        <p:cxnSp>
          <p:nvCxnSpPr>
            <p:cNvPr id="76" name="Connector: Elbow 75">
              <a:extLst>
                <a:ext uri="{FF2B5EF4-FFF2-40B4-BE49-F238E27FC236}">
                  <a16:creationId xmlns:a16="http://schemas.microsoft.com/office/drawing/2014/main" id="{74ABCC61-5517-4348-8A06-DA5E95D3B9BA}"/>
                </a:ext>
              </a:extLst>
            </p:cNvPr>
            <p:cNvCxnSpPr>
              <a:cxnSpLocks/>
              <a:stCxn id="75" idx="2"/>
              <a:endCxn id="62" idx="1"/>
            </p:cNvCxnSpPr>
            <p:nvPr/>
          </p:nvCxnSpPr>
          <p:spPr>
            <a:xfrm rot="5400000" flipH="1" flipV="1">
              <a:off x="5063508" y="723620"/>
              <a:ext cx="667253" cy="2222288"/>
            </a:xfrm>
            <a:prstGeom prst="bentConnector4">
              <a:avLst>
                <a:gd name="adj1" fmla="val -19033"/>
                <a:gd name="adj2" fmla="val 66008"/>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0F8A9289-6342-464A-A517-42C28E96DE1B}"/>
                </a:ext>
              </a:extLst>
            </p:cNvPr>
            <p:cNvCxnSpPr>
              <a:cxnSpLocks/>
              <a:stCxn id="75" idx="2"/>
              <a:endCxn id="63" idx="1"/>
            </p:cNvCxnSpPr>
            <p:nvPr/>
          </p:nvCxnSpPr>
          <p:spPr>
            <a:xfrm rot="5400000" flipH="1" flipV="1">
              <a:off x="5266385" y="924761"/>
              <a:ext cx="263235" cy="2224024"/>
            </a:xfrm>
            <a:prstGeom prst="bentConnector4">
              <a:avLst>
                <a:gd name="adj1" fmla="val -48246"/>
                <a:gd name="adj2" fmla="val 65995"/>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Connector: Elbow 77">
              <a:extLst>
                <a:ext uri="{FF2B5EF4-FFF2-40B4-BE49-F238E27FC236}">
                  <a16:creationId xmlns:a16="http://schemas.microsoft.com/office/drawing/2014/main" id="{23663CBD-F7DC-49EE-8AC6-8F2FD2BE37AA}"/>
                </a:ext>
              </a:extLst>
            </p:cNvPr>
            <p:cNvCxnSpPr>
              <a:cxnSpLocks/>
              <a:stCxn id="75" idx="2"/>
              <a:endCxn id="67" idx="0"/>
            </p:cNvCxnSpPr>
            <p:nvPr/>
          </p:nvCxnSpPr>
          <p:spPr>
            <a:xfrm rot="16200000" flipH="1">
              <a:off x="4993746" y="1460635"/>
              <a:ext cx="601872" cy="2017382"/>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Connector: Elbow 78">
              <a:extLst>
                <a:ext uri="{FF2B5EF4-FFF2-40B4-BE49-F238E27FC236}">
                  <a16:creationId xmlns:a16="http://schemas.microsoft.com/office/drawing/2014/main" id="{D332642E-0E98-4ED8-A442-40BBFE2B2BD8}"/>
                </a:ext>
              </a:extLst>
            </p:cNvPr>
            <p:cNvCxnSpPr>
              <a:cxnSpLocks/>
              <a:stCxn id="75" idx="2"/>
              <a:endCxn id="68" idx="0"/>
            </p:cNvCxnSpPr>
            <p:nvPr/>
          </p:nvCxnSpPr>
          <p:spPr>
            <a:xfrm rot="16200000" flipH="1">
              <a:off x="5783208" y="671173"/>
              <a:ext cx="601872" cy="3596306"/>
            </a:xfrm>
            <a:prstGeom prst="bentConnector3">
              <a:avLst>
                <a:gd name="adj1" fmla="val 22991"/>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7638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extLst>
              <p:ext uri="{D42A27DB-BD31-4B8C-83A1-F6EECF244321}">
                <p14:modId xmlns:p14="http://schemas.microsoft.com/office/powerpoint/2010/main" val="39243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76BF540-8514-45A4-A78A-361677170F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療機器に対する規制</a:t>
            </a:r>
          </a:p>
        </p:txBody>
      </p:sp>
      <p:sp>
        <p:nvSpPr>
          <p:cNvPr id="34" name="テキスト ボックス 33"/>
          <p:cNvSpPr txBox="1"/>
          <p:nvPr/>
        </p:nvSpPr>
        <p:spPr>
          <a:xfrm>
            <a:off x="412366" y="6563823"/>
            <a:ext cx="8640960" cy="144016"/>
          </a:xfrm>
          <a:prstGeom prst="rect">
            <a:avLst/>
          </a:prstGeom>
          <a:noFill/>
        </p:spPr>
        <p:txBody>
          <a:bodyPr wrap="square" lIns="0" tIns="0" rIns="0" bIns="0" rtlCol="0">
            <a:noAutofit/>
          </a:bodyPr>
          <a:lstStyle/>
          <a:p>
            <a:pPr marL="444500" lvl="0" indent="-444500"/>
            <a:r>
              <a:rPr kumimoji="0" lang="ja-JP" altLang="en-US" sz="800" dirty="0" bmk=""/>
              <a:t>（出所）医療製品規制庁</a:t>
            </a:r>
            <a:r>
              <a:rPr kumimoji="0" lang="en-US" altLang="ja-JP" sz="800" dirty="0" bmk=""/>
              <a:t>(SAHPRA)</a:t>
            </a:r>
            <a:r>
              <a:rPr kumimoji="0" lang="ja-JP" altLang="en-US" sz="800" dirty="0" bmk=""/>
              <a:t>ホームページ、</a:t>
            </a:r>
            <a:r>
              <a:rPr kumimoji="0" lang="en-US" altLang="ja-JP" sz="800" dirty="0" bmk=""/>
              <a:t>JETRO</a:t>
            </a:r>
            <a:r>
              <a:rPr kumimoji="0" lang="ja-JP" altLang="en-US" sz="800" dirty="0" bmk=""/>
              <a:t>ホームページ</a:t>
            </a:r>
          </a:p>
        </p:txBody>
      </p:sp>
      <p:sp>
        <p:nvSpPr>
          <p:cNvPr id="9" name="テキスト ボックス 24">
            <a:extLst>
              <a:ext uri="{FF2B5EF4-FFF2-40B4-BE49-F238E27FC236}">
                <a16:creationId xmlns:a16="http://schemas.microsoft.com/office/drawing/2014/main" id="{8A21BA26-C590-472A-BB55-B70A477CCC6C}"/>
              </a:ext>
            </a:extLst>
          </p:cNvPr>
          <p:cNvSpPr txBox="1"/>
          <p:nvPr/>
        </p:nvSpPr>
        <p:spPr>
          <a:xfrm>
            <a:off x="236208" y="1124744"/>
            <a:ext cx="9331835" cy="20807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医療機器についての規制・監督は医療製品規制庁</a:t>
            </a:r>
            <a:r>
              <a:rPr lang="en-US" altLang="ja-JP" sz="1400" dirty="0">
                <a:latin typeface="+mj-ea"/>
                <a:ea typeface="+mj-ea"/>
                <a:cs typeface="Arial" panose="020B0604020202020204" pitchFamily="34" charset="0"/>
              </a:rPr>
              <a:t>(SAHPRA)</a:t>
            </a:r>
            <a:r>
              <a:rPr lang="ja-JP" altLang="en-US" sz="1400" dirty="0">
                <a:latin typeface="+mj-ea"/>
                <a:ea typeface="+mj-ea"/>
                <a:cs typeface="Arial" panose="020B0604020202020204" pitchFamily="34" charset="0"/>
              </a:rPr>
              <a:t>の</a:t>
            </a:r>
            <a:r>
              <a:rPr lang="en-US" altLang="ja-JP" sz="1400" dirty="0">
                <a:latin typeface="+mj-ea"/>
                <a:ea typeface="+mj-ea"/>
                <a:cs typeface="Arial" panose="020B0604020202020204" pitchFamily="34" charset="0"/>
              </a:rPr>
              <a:t>Medical Devices Unit</a:t>
            </a:r>
            <a:r>
              <a:rPr lang="ja-JP" altLang="en-US" sz="1400" dirty="0">
                <a:latin typeface="+mj-ea"/>
                <a:ea typeface="+mj-ea"/>
                <a:cs typeface="Arial" panose="020B0604020202020204" pitchFamily="34" charset="0"/>
              </a:rPr>
              <a:t>が管轄している。</a:t>
            </a:r>
            <a:endParaRPr lang="en-US" altLang="ja-JP" sz="1400" dirty="0">
              <a:latin typeface="+mj-ea"/>
              <a:ea typeface="+mj-ea"/>
              <a:cs typeface="Arial" panose="020B0604020202020204" pitchFamily="34" charset="0"/>
            </a:endParaRP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36208" y="1694276"/>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dirty="0">
                <a:latin typeface="+mj-ea"/>
                <a:ea typeface="+mj-ea"/>
              </a:rPr>
              <a:t>事業許可</a:t>
            </a:r>
            <a:endParaRPr kumimoji="1" lang="en-US" dirty="0">
              <a:latin typeface="+mj-ea"/>
              <a:ea typeface="+mj-ea"/>
            </a:endParaRPr>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36208" y="4022018"/>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latin typeface="+mj-ea"/>
                <a:ea typeface="+mj-ea"/>
              </a:rPr>
              <a:t>製品登録</a:t>
            </a:r>
            <a:endParaRPr kumimoji="1" lang="en-US" dirty="0">
              <a:latin typeface="+mj-ea"/>
              <a:ea typeface="+mj-ea"/>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2288704" y="1694276"/>
            <a:ext cx="6984776" cy="184665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療機器に関わる企業は、手がける事業によって下記のいずれかの免許を</a:t>
            </a:r>
            <a:r>
              <a:rPr lang="en-US" altLang="ja-JP" sz="1200" dirty="0">
                <a:latin typeface="+mj-ea"/>
                <a:ea typeface="+mj-ea"/>
              </a:rPr>
              <a:t>SAHPRA</a:t>
            </a:r>
            <a:r>
              <a:rPr lang="ja-JP" altLang="en-US" sz="1200" dirty="0">
                <a:latin typeface="+mj-ea"/>
                <a:ea typeface="+mj-ea"/>
              </a:rPr>
              <a:t>より取得する必要がある。ただし、後述の</a:t>
            </a:r>
            <a:r>
              <a:rPr lang="en-US" altLang="ja-JP" sz="1200" dirty="0">
                <a:latin typeface="+mj-ea"/>
                <a:ea typeface="+mj-ea"/>
              </a:rPr>
              <a:t>Class</a:t>
            </a:r>
            <a:r>
              <a:rPr lang="ja-JP" altLang="en-US" sz="1200" dirty="0">
                <a:latin typeface="+mj-ea"/>
                <a:ea typeface="+mj-ea"/>
              </a:rPr>
              <a:t> </a:t>
            </a:r>
            <a:r>
              <a:rPr lang="en-US" altLang="ja-JP" sz="1200" dirty="0">
                <a:latin typeface="+mj-ea"/>
                <a:ea typeface="+mj-ea"/>
              </a:rPr>
              <a:t>A</a:t>
            </a:r>
            <a:r>
              <a:rPr lang="ja-JP" altLang="en-US" sz="1200" dirty="0">
                <a:latin typeface="+mj-ea"/>
                <a:ea typeface="+mj-ea"/>
              </a:rPr>
              <a:t>の製品のみを扱う企業は免許を必要としない。</a:t>
            </a:r>
            <a:endParaRPr lang="en-US" altLang="ja-JP" sz="1200" dirty="0">
              <a:latin typeface="+mj-ea"/>
              <a:ea typeface="+mj-ea"/>
            </a:endParaRPr>
          </a:p>
          <a:p>
            <a:pPr marL="377825" lvl="1" indent="0">
              <a:buNone/>
            </a:pPr>
            <a:r>
              <a:rPr lang="ja-JP" altLang="en-US" sz="1200" dirty="0">
                <a:latin typeface="+mj-ea"/>
                <a:ea typeface="+mj-ea"/>
              </a:rPr>
              <a:t>メーカー（生産、包装、ラベリング、サービス、輸出入）</a:t>
            </a:r>
          </a:p>
          <a:p>
            <a:pPr marL="377825" lvl="1" indent="0">
              <a:buNone/>
            </a:pPr>
            <a:r>
              <a:rPr lang="ja-JP" altLang="en-US" sz="1200" dirty="0">
                <a:latin typeface="+mj-ea"/>
                <a:ea typeface="+mj-ea"/>
              </a:rPr>
              <a:t>流通業者（輸出入、国内流通）</a:t>
            </a:r>
          </a:p>
          <a:p>
            <a:pPr marL="377825" lvl="1" indent="0">
              <a:buNone/>
            </a:pPr>
            <a:r>
              <a:rPr lang="ja-JP" altLang="en-US" sz="1200" dirty="0">
                <a:latin typeface="+mj-ea"/>
                <a:ea typeface="+mj-ea"/>
              </a:rPr>
              <a:t>卸売業者（保管、輸送、配達）</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医療機器に関わる事業許可を得るためには、事業所ごとに最低</a:t>
            </a:r>
            <a:r>
              <a:rPr lang="en-US" altLang="ja-JP" sz="1200" dirty="0">
                <a:latin typeface="+mj-ea"/>
                <a:ea typeface="+mj-ea"/>
              </a:rPr>
              <a:t>1</a:t>
            </a:r>
            <a:r>
              <a:rPr lang="ja-JP" altLang="en-US" sz="1200" dirty="0">
                <a:latin typeface="+mj-ea"/>
                <a:ea typeface="+mj-ea"/>
              </a:rPr>
              <a:t>人の代表者を任命する必要がある。</a:t>
            </a:r>
          </a:p>
          <a:p>
            <a:pPr>
              <a:buFont typeface="Arial" panose="020B0604020202020204" pitchFamily="34" charset="0"/>
              <a:buChar char="•"/>
            </a:pPr>
            <a:r>
              <a:rPr lang="ja-JP" altLang="en-US" sz="1200" dirty="0">
                <a:latin typeface="+mj-ea"/>
                <a:ea typeface="+mj-ea"/>
              </a:rPr>
              <a:t>免許申請にあたっては社内の品質管理システムについての届け出および</a:t>
            </a:r>
            <a:r>
              <a:rPr lang="en-US" altLang="ja-JP" sz="1200" dirty="0">
                <a:latin typeface="+mj-ea"/>
                <a:ea typeface="+mj-ea"/>
              </a:rPr>
              <a:t>ISO13485</a:t>
            </a:r>
            <a:r>
              <a:rPr lang="ja-JP" altLang="en-US" sz="1200" dirty="0">
                <a:latin typeface="+mj-ea"/>
                <a:ea typeface="+mj-ea"/>
              </a:rPr>
              <a:t>の取得が求められる（現在猶予期間が設けられており、申請後</a:t>
            </a:r>
            <a:r>
              <a:rPr lang="en-US" altLang="ja-JP" sz="1200" dirty="0">
                <a:latin typeface="+mj-ea"/>
                <a:ea typeface="+mj-ea"/>
              </a:rPr>
              <a:t>3</a:t>
            </a:r>
            <a:r>
              <a:rPr lang="ja-JP" altLang="en-US" sz="1200" dirty="0">
                <a:latin typeface="+mj-ea"/>
                <a:ea typeface="+mj-ea"/>
              </a:rPr>
              <a:t>年以内に取得すればよい）。</a:t>
            </a:r>
            <a:endParaRPr lang="en-US" altLang="ja-JP" sz="1200" dirty="0">
              <a:latin typeface="+mj-ea"/>
              <a:ea typeface="+mj-ea"/>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2288704" y="4022018"/>
            <a:ext cx="7128792" cy="155119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薬品および関連物質法（</a:t>
            </a:r>
            <a:r>
              <a:rPr lang="en-US" altLang="ja-JP" sz="1200" dirty="0">
                <a:latin typeface="+mj-ea"/>
                <a:ea typeface="+mj-ea"/>
              </a:rPr>
              <a:t>1965</a:t>
            </a:r>
            <a:r>
              <a:rPr lang="ja-JP" altLang="en-US" sz="1200" dirty="0">
                <a:latin typeface="+mj-ea"/>
                <a:ea typeface="+mj-ea"/>
              </a:rPr>
              <a:t>年、</a:t>
            </a:r>
            <a:r>
              <a:rPr lang="en-US" altLang="ja-JP" sz="1200" dirty="0">
                <a:latin typeface="+mj-ea"/>
                <a:ea typeface="+mj-ea"/>
              </a:rPr>
              <a:t>2015</a:t>
            </a:r>
            <a:r>
              <a:rPr lang="ja-JP" altLang="en-US" sz="1200" dirty="0">
                <a:latin typeface="+mj-ea"/>
                <a:ea typeface="+mj-ea"/>
              </a:rPr>
              <a:t>年改正）に基づき、医療機器は生産・輸入前に登録することが義務付けられている。</a:t>
            </a:r>
          </a:p>
          <a:p>
            <a:pPr>
              <a:buFont typeface="Arial" panose="020B0604020202020204" pitchFamily="34" charset="0"/>
              <a:buChar char="•"/>
            </a:pPr>
            <a:r>
              <a:rPr lang="ja-JP" altLang="en-US" sz="1200" dirty="0">
                <a:latin typeface="+mj-ea"/>
                <a:ea typeface="+mj-ea"/>
              </a:rPr>
              <a:t>医療機器は使用時のリスクにより、低リスクな</a:t>
            </a:r>
            <a:r>
              <a:rPr lang="en-US" altLang="ja-JP" sz="1200" dirty="0">
                <a:latin typeface="+mj-ea"/>
                <a:ea typeface="+mj-ea"/>
              </a:rPr>
              <a:t>Class A</a:t>
            </a:r>
            <a:r>
              <a:rPr lang="ja-JP" altLang="en-US" sz="1200" dirty="0">
                <a:latin typeface="+mj-ea"/>
                <a:ea typeface="+mj-ea"/>
              </a:rPr>
              <a:t>から患者自身へのリスクもありうる</a:t>
            </a:r>
            <a:r>
              <a:rPr lang="en-US" altLang="ja-JP" sz="1200" dirty="0">
                <a:latin typeface="+mj-ea"/>
                <a:ea typeface="+mj-ea"/>
              </a:rPr>
              <a:t>Class D</a:t>
            </a:r>
            <a:r>
              <a:rPr lang="ja-JP" altLang="en-US" sz="1200" dirty="0">
                <a:latin typeface="+mj-ea"/>
                <a:ea typeface="+mj-ea"/>
              </a:rPr>
              <a:t>までに分類される。例：患者には原則として触れないもしくは肌に接触するだけのものは</a:t>
            </a:r>
            <a:r>
              <a:rPr lang="en-US" altLang="ja-JP" sz="1200" dirty="0">
                <a:latin typeface="+mj-ea"/>
                <a:ea typeface="+mj-ea"/>
              </a:rPr>
              <a:t>Class A</a:t>
            </a:r>
            <a:r>
              <a:rPr lang="ja-JP" altLang="en-US" sz="1200" dirty="0">
                <a:latin typeface="+mj-ea"/>
                <a:ea typeface="+mj-ea"/>
              </a:rPr>
              <a:t>、血液パックは</a:t>
            </a:r>
            <a:r>
              <a:rPr lang="en-US" altLang="ja-JP" sz="1200" dirty="0">
                <a:latin typeface="+mj-ea"/>
                <a:ea typeface="+mj-ea"/>
              </a:rPr>
              <a:t>Class C</a:t>
            </a:r>
            <a:r>
              <a:rPr lang="ja-JP" altLang="en-US" sz="1200" dirty="0">
                <a:latin typeface="+mj-ea"/>
                <a:ea typeface="+mj-ea"/>
              </a:rPr>
              <a:t>、医薬品を含むものは</a:t>
            </a:r>
            <a:r>
              <a:rPr lang="en-US" altLang="ja-JP" sz="1200" dirty="0">
                <a:latin typeface="+mj-ea"/>
                <a:ea typeface="+mj-ea"/>
              </a:rPr>
              <a:t>Class D</a:t>
            </a:r>
          </a:p>
          <a:p>
            <a:pPr>
              <a:buFont typeface="Arial" panose="020B0604020202020204" pitchFamily="34" charset="0"/>
              <a:buChar char="•"/>
            </a:pPr>
            <a:r>
              <a:rPr lang="ja-JP" altLang="en-US" sz="1200" dirty="0">
                <a:latin typeface="+mj-ea"/>
                <a:ea typeface="+mj-ea"/>
              </a:rPr>
              <a:t>日本などから輸入される医療機器についてはレギュラトリーリライアンスが適用されている。</a:t>
            </a:r>
            <a:endParaRPr lang="ja-JP" altLang="en-US" sz="1200" dirty="0">
              <a:solidFill>
                <a:srgbClr val="FF0000"/>
              </a:solidFill>
              <a:latin typeface="+mj-ea"/>
              <a:ea typeface="+mj-ea"/>
            </a:endParaRPr>
          </a:p>
          <a:p>
            <a:pPr>
              <a:buFont typeface="Arial" panose="020B0604020202020204" pitchFamily="34" charset="0"/>
              <a:buChar char="•"/>
            </a:pPr>
            <a:endParaRPr lang="en-US" altLang="ja-JP" sz="1200" dirty="0">
              <a:latin typeface="+mj-ea"/>
              <a:ea typeface="+mj-ea"/>
            </a:endParaRPr>
          </a:p>
        </p:txBody>
      </p:sp>
    </p:spTree>
    <p:extLst>
      <p:ext uri="{BB962C8B-B14F-4D97-AF65-F5344CB8AC3E}">
        <p14:creationId xmlns:p14="http://schemas.microsoft.com/office/powerpoint/2010/main" val="1334012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extLst>
              <p:ext uri="{D42A27DB-BD31-4B8C-83A1-F6EECF244321}">
                <p14:modId xmlns:p14="http://schemas.microsoft.com/office/powerpoint/2010/main" val="2589651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dirty="0"/>
              <a:t>医薬品に対する規制</a:t>
            </a:r>
          </a:p>
        </p:txBody>
      </p:sp>
      <p:sp>
        <p:nvSpPr>
          <p:cNvPr id="34" name="テキスト ボックス 33"/>
          <p:cNvSpPr txBox="1"/>
          <p:nvPr/>
        </p:nvSpPr>
        <p:spPr>
          <a:xfrm>
            <a:off x="416496" y="671067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医療製品規制庁（</a:t>
            </a:r>
            <a:r>
              <a:rPr kumimoji="0" lang="en-US" altLang="ja-JP" sz="800" dirty="0" bmk=""/>
              <a:t>SAHPRA</a:t>
            </a:r>
            <a:r>
              <a:rPr kumimoji="0" lang="ja-JP" altLang="en-US" sz="800" dirty="0" bmk=""/>
              <a:t>）ホームページ</a:t>
            </a:r>
          </a:p>
        </p:txBody>
      </p:sp>
      <p:sp>
        <p:nvSpPr>
          <p:cNvPr id="20" name="Rectangle: Rounded Corners 19">
            <a:extLst>
              <a:ext uri="{FF2B5EF4-FFF2-40B4-BE49-F238E27FC236}">
                <a16:creationId xmlns:a16="http://schemas.microsoft.com/office/drawing/2014/main" id="{282634AE-C827-4EA1-B979-40A9003E0F7B}"/>
              </a:ext>
            </a:extLst>
          </p:cNvPr>
          <p:cNvSpPr/>
          <p:nvPr/>
        </p:nvSpPr>
        <p:spPr>
          <a:xfrm>
            <a:off x="236208" y="2067404"/>
            <a:ext cx="1872208" cy="647992"/>
          </a:xfrm>
          <a:prstGeom prst="roundRect">
            <a:avLst/>
          </a:prstGeom>
          <a:solidFill>
            <a:srgbClr val="A2BBDC"/>
          </a:solidFill>
        </p:spPr>
        <p:txBody>
          <a:bodyPr wrap="square" rtlCol="0" anchor="ctr">
            <a:noAutofit/>
          </a:bodyPr>
          <a:lstStyle/>
          <a:p>
            <a:pPr algn="ctr" fontAlgn="ctr">
              <a:lnSpc>
                <a:spcPct val="114000"/>
              </a:lnSpc>
              <a:spcAft>
                <a:spcPts val="400"/>
              </a:spcAft>
            </a:pPr>
            <a:r>
              <a:rPr lang="ja-JP" altLang="en-US" dirty="0">
                <a:latin typeface="+mn-ea"/>
              </a:rPr>
              <a:t>事業許可</a:t>
            </a:r>
            <a:endParaRPr lang="en-US" dirty="0">
              <a:latin typeface="+mn-ea"/>
            </a:endParaRPr>
          </a:p>
        </p:txBody>
      </p:sp>
      <p:sp>
        <p:nvSpPr>
          <p:cNvPr id="21" name="Rectangle: Rounded Corners 20">
            <a:extLst>
              <a:ext uri="{FF2B5EF4-FFF2-40B4-BE49-F238E27FC236}">
                <a16:creationId xmlns:a16="http://schemas.microsoft.com/office/drawing/2014/main" id="{22062BE3-0A7C-48D2-BEED-0AACB29B0F02}"/>
              </a:ext>
            </a:extLst>
          </p:cNvPr>
          <p:cNvSpPr/>
          <p:nvPr/>
        </p:nvSpPr>
        <p:spPr>
          <a:xfrm>
            <a:off x="236208" y="3779222"/>
            <a:ext cx="1872208"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dirty="0">
                <a:latin typeface="+mn-ea"/>
              </a:rPr>
              <a:t>製品</a:t>
            </a:r>
            <a:r>
              <a:rPr lang="ja-JP" altLang="en-US" dirty="0">
                <a:latin typeface="+mn-ea"/>
              </a:rPr>
              <a:t>許可</a:t>
            </a:r>
            <a:endParaRPr kumimoji="1" lang="en-US" dirty="0">
              <a:latin typeface="+mn-ea"/>
            </a:endParaRPr>
          </a:p>
        </p:txBody>
      </p:sp>
      <p:sp>
        <p:nvSpPr>
          <p:cNvPr id="23" name="TextBox 22">
            <a:extLst>
              <a:ext uri="{FF2B5EF4-FFF2-40B4-BE49-F238E27FC236}">
                <a16:creationId xmlns:a16="http://schemas.microsoft.com/office/drawing/2014/main" id="{83CF1C78-35B7-47A7-AD57-2D6C3E5E91E8}"/>
              </a:ext>
            </a:extLst>
          </p:cNvPr>
          <p:cNvSpPr txBox="1">
            <a:spLocks/>
          </p:cNvSpPr>
          <p:nvPr/>
        </p:nvSpPr>
        <p:spPr>
          <a:xfrm>
            <a:off x="2288704" y="3779222"/>
            <a:ext cx="7128792" cy="1680460"/>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新薬の申請は、</a:t>
            </a:r>
            <a:r>
              <a:rPr lang="en-US" altLang="ja-JP" sz="1200" dirty="0">
                <a:latin typeface="+mj-ea"/>
                <a:ea typeface="+mj-ea"/>
              </a:rPr>
              <a:t>eCTD</a:t>
            </a:r>
            <a:r>
              <a:rPr lang="ja-JP" altLang="en-US" sz="1200" dirty="0">
                <a:latin typeface="+mj-ea"/>
                <a:ea typeface="+mj-ea"/>
              </a:rPr>
              <a:t>または</a:t>
            </a:r>
            <a:r>
              <a:rPr lang="en-US" altLang="ja-JP" sz="1200" dirty="0" err="1">
                <a:latin typeface="+mj-ea"/>
                <a:ea typeface="+mj-ea"/>
              </a:rPr>
              <a:t>eSubmission</a:t>
            </a:r>
            <a:r>
              <a:rPr lang="ja-JP" altLang="en-US" sz="1200" dirty="0">
                <a:latin typeface="+mj-ea"/>
                <a:ea typeface="+mj-ea"/>
              </a:rPr>
              <a:t>フォーマットで提出する必要がある。この際、申請書に関連する全ての製造・品質管理拠点は、申請書の提出前に</a:t>
            </a:r>
            <a:r>
              <a:rPr lang="en-US" altLang="ja-JP" sz="1200" dirty="0">
                <a:latin typeface="+mj-ea"/>
                <a:ea typeface="+mj-ea"/>
              </a:rPr>
              <a:t>GMP</a:t>
            </a:r>
            <a:r>
              <a:rPr lang="ja-JP" altLang="en-US" sz="1200" dirty="0">
                <a:latin typeface="+mj-ea"/>
                <a:ea typeface="+mj-ea"/>
              </a:rPr>
              <a:t>に適合していることが必要であり、その証拠として、</a:t>
            </a:r>
            <a:r>
              <a:rPr lang="en-US" altLang="ja-JP" sz="1200" dirty="0">
                <a:latin typeface="+mj-ea"/>
                <a:ea typeface="+mj-ea"/>
              </a:rPr>
              <a:t>GMP</a:t>
            </a:r>
            <a:r>
              <a:rPr lang="ja-JP" altLang="en-US" sz="1200" dirty="0">
                <a:latin typeface="+mj-ea"/>
                <a:ea typeface="+mj-ea"/>
              </a:rPr>
              <a:t>証明書または同等の製造許可証が必要とな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申請書提出後、スクリーニングプロセスが開始され、各種法令順守の確認の他、技術的な妥当性確認等が行われ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スクリーニングプロセスを通過した後、審査プロセスが開始され、</a:t>
            </a:r>
            <a:r>
              <a:rPr lang="en-US" altLang="ja-JP" sz="1200" dirty="0">
                <a:latin typeface="+mj-ea"/>
                <a:ea typeface="+mj-ea"/>
              </a:rPr>
              <a:t>SAHPRA</a:t>
            </a:r>
            <a:r>
              <a:rPr lang="ja-JP" altLang="en-US" sz="1200" dirty="0">
                <a:latin typeface="+mj-ea"/>
                <a:ea typeface="+mj-ea"/>
              </a:rPr>
              <a:t>の各関連ユニットの評価者に割り振られる。コンセンサスが形成されない場合などは、諮問委員会からの意見聴取が行われる。</a:t>
            </a:r>
            <a:endParaRPr lang="en-US" altLang="ja-JP" sz="1200" dirty="0">
              <a:latin typeface="+mj-ea"/>
              <a:ea typeface="+mj-ea"/>
            </a:endParaRPr>
          </a:p>
        </p:txBody>
      </p:sp>
      <p:sp>
        <p:nvSpPr>
          <p:cNvPr id="18" name="TextBox 17">
            <a:extLst>
              <a:ext uri="{FF2B5EF4-FFF2-40B4-BE49-F238E27FC236}">
                <a16:creationId xmlns:a16="http://schemas.microsoft.com/office/drawing/2014/main" id="{63CEA924-BEC8-4E11-B7FF-522641CC2601}"/>
              </a:ext>
            </a:extLst>
          </p:cNvPr>
          <p:cNvSpPr txBox="1">
            <a:spLocks/>
          </p:cNvSpPr>
          <p:nvPr/>
        </p:nvSpPr>
        <p:spPr>
          <a:xfrm>
            <a:off x="2288704" y="2067404"/>
            <a:ext cx="7128792" cy="1495794"/>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200" dirty="0">
                <a:latin typeface="+mj-ea"/>
                <a:ea typeface="+mj-ea"/>
              </a:rPr>
              <a:t>医薬品および関連物質法（</a:t>
            </a:r>
            <a:r>
              <a:rPr lang="en-US" altLang="ja-JP" sz="1200" dirty="0">
                <a:latin typeface="+mj-ea"/>
                <a:ea typeface="+mj-ea"/>
              </a:rPr>
              <a:t>1965</a:t>
            </a:r>
            <a:r>
              <a:rPr lang="ja-JP" altLang="en-US" sz="1200" dirty="0">
                <a:latin typeface="+mj-ea"/>
                <a:ea typeface="+mj-ea"/>
              </a:rPr>
              <a:t>年、</a:t>
            </a:r>
            <a:r>
              <a:rPr lang="en-US" altLang="ja-JP" sz="1200" dirty="0">
                <a:latin typeface="+mj-ea"/>
                <a:ea typeface="+mj-ea"/>
              </a:rPr>
              <a:t>2015</a:t>
            </a:r>
            <a:r>
              <a:rPr lang="ja-JP" altLang="en-US" sz="1200" dirty="0">
                <a:latin typeface="+mj-ea"/>
                <a:ea typeface="+mj-ea"/>
              </a:rPr>
              <a:t>年改正）に基づき、品質管理、製造管理、流通管理に関する諸規定への適合が認められた場合に、医薬品等の製造、輸入、輸出、卸売業者としての活動又は流通の許可が発行され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許可申請に当たっては、事業の所有権を証明する書類、管理薬剤師の登録、該当する場合の最新の検査結果等をメールにより提出する必要がある。</a:t>
            </a:r>
            <a:endParaRPr lang="en-US" altLang="ja-JP" sz="1200" dirty="0">
              <a:latin typeface="+mj-ea"/>
              <a:ea typeface="+mj-ea"/>
            </a:endParaRPr>
          </a:p>
          <a:p>
            <a:pPr>
              <a:buFont typeface="Arial" panose="020B0604020202020204" pitchFamily="34" charset="0"/>
              <a:buChar char="•"/>
            </a:pPr>
            <a:r>
              <a:rPr lang="ja-JP" altLang="en-US" sz="1200" dirty="0">
                <a:latin typeface="+mj-ea"/>
                <a:ea typeface="+mj-ea"/>
              </a:rPr>
              <a:t>また、定期的かつ反復的な検査が実施され、ライセンス保持者がライセンスの条件、医薬品法の規定、および適正製造基準（</a:t>
            </a:r>
            <a:r>
              <a:rPr lang="en-US" altLang="ja-JP" sz="1200" dirty="0">
                <a:latin typeface="+mj-ea"/>
                <a:ea typeface="+mj-ea"/>
              </a:rPr>
              <a:t>GMP</a:t>
            </a:r>
            <a:r>
              <a:rPr lang="ja-JP" altLang="en-US" sz="1200" dirty="0">
                <a:latin typeface="+mj-ea"/>
                <a:ea typeface="+mj-ea"/>
              </a:rPr>
              <a:t>）を遵守していることを確認する。</a:t>
            </a:r>
          </a:p>
        </p:txBody>
      </p:sp>
      <p:sp>
        <p:nvSpPr>
          <p:cNvPr id="26" name="Rectangle: Rounded Corners 25">
            <a:extLst>
              <a:ext uri="{FF2B5EF4-FFF2-40B4-BE49-F238E27FC236}">
                <a16:creationId xmlns:a16="http://schemas.microsoft.com/office/drawing/2014/main" id="{F19175BA-AA14-43E0-83D4-9EF4C2549B66}"/>
              </a:ext>
            </a:extLst>
          </p:cNvPr>
          <p:cNvSpPr/>
          <p:nvPr/>
        </p:nvSpPr>
        <p:spPr>
          <a:xfrm>
            <a:off x="1489250"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申請</a:t>
            </a:r>
            <a:endParaRPr kumimoji="1" lang="en-US" sz="1200" dirty="0"/>
          </a:p>
        </p:txBody>
      </p:sp>
      <p:sp>
        <p:nvSpPr>
          <p:cNvPr id="27" name="Rectangle: Rounded Corners 26">
            <a:extLst>
              <a:ext uri="{FF2B5EF4-FFF2-40B4-BE49-F238E27FC236}">
                <a16:creationId xmlns:a16="http://schemas.microsoft.com/office/drawing/2014/main" id="{1D5FCCFF-B1B1-4763-93DE-A9F6F04CE900}"/>
              </a:ext>
            </a:extLst>
          </p:cNvPr>
          <p:cNvSpPr/>
          <p:nvPr/>
        </p:nvSpPr>
        <p:spPr>
          <a:xfrm>
            <a:off x="3471258"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スクリーニング</a:t>
            </a:r>
            <a:endParaRPr kumimoji="1" lang="en-US" sz="1200" dirty="0"/>
          </a:p>
        </p:txBody>
      </p:sp>
      <p:sp>
        <p:nvSpPr>
          <p:cNvPr id="28" name="Rectangle: Rounded Corners 27">
            <a:extLst>
              <a:ext uri="{FF2B5EF4-FFF2-40B4-BE49-F238E27FC236}">
                <a16:creationId xmlns:a16="http://schemas.microsoft.com/office/drawing/2014/main" id="{C993495B-FAC1-43BA-B760-20F092836F22}"/>
              </a:ext>
            </a:extLst>
          </p:cNvPr>
          <p:cNvSpPr/>
          <p:nvPr/>
        </p:nvSpPr>
        <p:spPr>
          <a:xfrm>
            <a:off x="5453266"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200" dirty="0"/>
              <a:t>審査</a:t>
            </a:r>
            <a:endParaRPr kumimoji="1" lang="en-US" sz="1200" dirty="0"/>
          </a:p>
        </p:txBody>
      </p:sp>
      <p:cxnSp>
        <p:nvCxnSpPr>
          <p:cNvPr id="29" name="Straight Arrow Connector 28">
            <a:extLst>
              <a:ext uri="{FF2B5EF4-FFF2-40B4-BE49-F238E27FC236}">
                <a16:creationId xmlns:a16="http://schemas.microsoft.com/office/drawing/2014/main" id="{666E927B-87EA-40DF-8177-276C6F5F4A81}"/>
              </a:ext>
            </a:extLst>
          </p:cNvPr>
          <p:cNvCxnSpPr>
            <a:cxnSpLocks/>
          </p:cNvCxnSpPr>
          <p:nvPr/>
        </p:nvCxnSpPr>
        <p:spPr>
          <a:xfrm>
            <a:off x="2709065"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0ECD95DB-33DC-486A-A20C-7216B427B1C0}"/>
              </a:ext>
            </a:extLst>
          </p:cNvPr>
          <p:cNvSpPr/>
          <p:nvPr/>
        </p:nvSpPr>
        <p:spPr>
          <a:xfrm>
            <a:off x="7435273" y="553883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承認</a:t>
            </a:r>
            <a:endParaRPr kumimoji="1" lang="en-US" sz="1200" dirty="0"/>
          </a:p>
        </p:txBody>
      </p:sp>
      <p:cxnSp>
        <p:nvCxnSpPr>
          <p:cNvPr id="35" name="Straight Arrow Connector 34">
            <a:extLst>
              <a:ext uri="{FF2B5EF4-FFF2-40B4-BE49-F238E27FC236}">
                <a16:creationId xmlns:a16="http://schemas.microsoft.com/office/drawing/2014/main" id="{AACF58DE-ABFA-4A44-ABC6-5C6F7CE037BB}"/>
              </a:ext>
            </a:extLst>
          </p:cNvPr>
          <p:cNvCxnSpPr>
            <a:cxnSpLocks/>
          </p:cNvCxnSpPr>
          <p:nvPr/>
        </p:nvCxnSpPr>
        <p:spPr>
          <a:xfrm>
            <a:off x="4691073"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34EFC62-DC6D-4D88-8D0B-F6B2B10F8941}"/>
              </a:ext>
            </a:extLst>
          </p:cNvPr>
          <p:cNvCxnSpPr>
            <a:cxnSpLocks/>
          </p:cNvCxnSpPr>
          <p:nvPr/>
        </p:nvCxnSpPr>
        <p:spPr>
          <a:xfrm>
            <a:off x="6673081" y="5816065"/>
            <a:ext cx="76219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テキスト ボックス 24">
            <a:extLst>
              <a:ext uri="{FF2B5EF4-FFF2-40B4-BE49-F238E27FC236}">
                <a16:creationId xmlns:a16="http://schemas.microsoft.com/office/drawing/2014/main" id="{3FF8BC36-787B-495E-881F-108A37228376}"/>
              </a:ext>
            </a:extLst>
          </p:cNvPr>
          <p:cNvSpPr txBox="1"/>
          <p:nvPr/>
        </p:nvSpPr>
        <p:spPr>
          <a:xfrm>
            <a:off x="236208" y="1124744"/>
            <a:ext cx="9331835" cy="4450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j-ea"/>
                <a:ea typeface="+mj-ea"/>
                <a:cs typeface="Arial" panose="020B0604020202020204" pitchFamily="34" charset="0"/>
              </a:rPr>
              <a:t>医薬品についての規制・監督は医療製品規制庁</a:t>
            </a:r>
            <a:r>
              <a:rPr lang="en-US" altLang="ja-JP" sz="1400" dirty="0">
                <a:latin typeface="+mj-ea"/>
                <a:ea typeface="+mj-ea"/>
                <a:cs typeface="Arial" panose="020B0604020202020204" pitchFamily="34" charset="0"/>
              </a:rPr>
              <a:t>(SAHPRA)</a:t>
            </a:r>
            <a:r>
              <a:rPr lang="ja-JP" altLang="en-US" sz="1400" dirty="0">
                <a:latin typeface="+mj-ea"/>
                <a:ea typeface="+mj-ea"/>
                <a:cs typeface="Arial" panose="020B0604020202020204" pitchFamily="34" charset="0"/>
              </a:rPr>
              <a:t>が管轄しており、医薬品の種類等に応じて、複数の部署が所管している。</a:t>
            </a:r>
            <a:endParaRPr lang="en-US" altLang="ja-JP" sz="1400" dirty="0">
              <a:latin typeface="+mj-ea"/>
              <a:ea typeface="+mj-ea"/>
              <a:cs typeface="Arial" panose="020B0604020202020204" pitchFamily="34" charset="0"/>
            </a:endParaRPr>
          </a:p>
        </p:txBody>
      </p:sp>
    </p:spTree>
    <p:extLst>
      <p:ext uri="{BB962C8B-B14F-4D97-AF65-F5344CB8AC3E}">
        <p14:creationId xmlns:p14="http://schemas.microsoft.com/office/powerpoint/2010/main" val="42736991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4043424426"/>
              </p:ext>
            </p:extLst>
          </p:nvPr>
        </p:nvGraphicFramePr>
        <p:xfrm>
          <a:off x="200472" y="1152000"/>
          <a:ext cx="4499998"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121941">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51395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276266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351969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6422713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薬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2476814"/>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5901600"/>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8062245"/>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8158982"/>
                  </a:ext>
                </a:extLst>
              </a:tr>
              <a:tr h="121941">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05699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006782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165983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549192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6932539"/>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827865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010043"/>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764839"/>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60386206"/>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altLang="ja-JP"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213704"/>
                  </a:ext>
                </a:extLst>
              </a:tr>
              <a:tr h="1074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9745207"/>
                  </a:ext>
                </a:extLst>
              </a:tr>
              <a:tr h="1074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599360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62546931"/>
              </p:ext>
            </p:extLst>
          </p:nvPr>
        </p:nvGraphicFramePr>
        <p:xfrm>
          <a:off x="5205528" y="1152000"/>
          <a:ext cx="4500000" cy="4416953"/>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algn="l" defTabSz="914400" rtl="0" eaLnBrk="1" latinLnBrk="0" hangingPunct="1">
                        <a:lnSpc>
                          <a:spcPct val="90000"/>
                        </a:lnSpc>
                      </a:pPr>
                      <a:r>
                        <a:rPr kumimoji="1" lang="ja-JP" altLang="en-US" sz="1050" kern="1200" dirty="0">
                          <a:solidFill>
                            <a:schemeClr val="tx1"/>
                          </a:solidFill>
                          <a:latin typeface="+mn-lt"/>
                          <a:ea typeface="+mj-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6694543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951477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89236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774520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団体および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531092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29799865"/>
                  </a:ext>
                </a:extLst>
              </a:tr>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6934728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南アフリカ保健省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699226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508432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49916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1116388"/>
                  </a:ext>
                </a:extLst>
              </a:tr>
            </a:tbl>
          </a:graphicData>
        </a:graphic>
      </p:graphicFrame>
      <p:cxnSp>
        <p:nvCxnSpPr>
          <p:cNvPr id="8" name="Straight Connector 7">
            <a:extLst>
              <a:ext uri="{FF2B5EF4-FFF2-40B4-BE49-F238E27FC236}">
                <a16:creationId xmlns:a16="http://schemas.microsoft.com/office/drawing/2014/main" id="{C15A6B08-CA1C-4DC6-A404-793F16AC4A1E}"/>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extLst>
              <p:ext uri="{D42A27DB-BD31-4B8C-83A1-F6EECF244321}">
                <p14:modId xmlns:p14="http://schemas.microsoft.com/office/powerpoint/2010/main" val="125718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南アフリカ／医療関連／制度</a:t>
            </a:r>
          </a:p>
        </p:txBody>
      </p:sp>
      <p:sp>
        <p:nvSpPr>
          <p:cNvPr id="9" name="テキスト ボックス 3">
            <a:extLst>
              <a:ext uri="{FF2B5EF4-FFF2-40B4-BE49-F238E27FC236}">
                <a16:creationId xmlns:a16="http://schemas.microsoft.com/office/drawing/2014/main" id="{200E9C20-471A-4B49-AD14-33B9C43991E9}"/>
              </a:ext>
            </a:extLst>
          </p:cNvPr>
          <p:cNvSpPr txBox="1"/>
          <p:nvPr/>
        </p:nvSpPr>
        <p:spPr>
          <a:xfrm>
            <a:off x="200472" y="1124744"/>
            <a:ext cx="9505056" cy="29261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南アフリカ健康製品規制局（SAHPRA）の</a:t>
            </a:r>
            <a:r>
              <a:rPr lang="ja-JP" altLang="en-US" sz="1400" dirty="0"/>
              <a:t>臨床試験部門が</a:t>
            </a:r>
            <a:r>
              <a:rPr lang="en-US" altLang="ja-JP" sz="1400" dirty="0"/>
              <a:t>、ヒトを対象とした臨床試験および生物学的同等性試験の審査に関する法的枠組みを提供し、臨床試験実施の承認を</a:t>
            </a:r>
            <a:r>
              <a:rPr lang="ja-JP" altLang="en-US" sz="1400" dirty="0"/>
              <a:t>管轄</a:t>
            </a:r>
            <a:r>
              <a:rPr lang="en-US" altLang="ja-JP" sz="1400" dirty="0"/>
              <a:t>。</a:t>
            </a:r>
            <a:r>
              <a:rPr lang="ja-JP" altLang="en-US" sz="1400" dirty="0"/>
              <a:t>　</a:t>
            </a:r>
            <a:endParaRPr lang="en-US" altLang="ja-JP" sz="1400" dirty="0">
              <a:solidFill>
                <a:srgbClr val="FF0000"/>
              </a:solidFill>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および関連物質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ines and Related Substance Act, Act 101 of 196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未登録医薬品を入手するための法的枠組みを規定しており、当局は、臨床試験を実施する目的で未登録医薬品の販売を許可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南アフリカ臨床試験実施基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 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で実施される研究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基準を明確に示し、南アフリカの人々が参加する臨床試験が、健全な科学・倫理基準に従って設計・実施されていることを確保することを目的としている。この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ガイドラインが作成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では、新規申請書を受領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処理し、チェックリストを発行することを目標としている。治験審査委員会の勧告は、申請書の提出期限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週間以内に送付される予定となっている。ただし、前例の乏しい治験薬については、外部審査機関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他の委員会に意見を求めるなど、この納期が延長される場合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登録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承認を受けなければならな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HP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臨床試験申請書の審査および承認は、並行して実施することができる。</a:t>
            </a:r>
          </a:p>
        </p:txBody>
      </p:sp>
      <p:sp>
        <p:nvSpPr>
          <p:cNvPr id="13" name="Rectangle: Rounded Corners 12">
            <a:extLst>
              <a:ext uri="{FF2B5EF4-FFF2-40B4-BE49-F238E27FC236}">
                <a16:creationId xmlns:a16="http://schemas.microsoft.com/office/drawing/2014/main" id="{C2AE6D14-2B07-4DAD-BDB7-AA94D9E25201}"/>
              </a:ext>
            </a:extLst>
          </p:cNvPr>
          <p:cNvSpPr/>
          <p:nvPr/>
        </p:nvSpPr>
        <p:spPr>
          <a:xfrm>
            <a:off x="365251"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申請</a:t>
            </a:r>
            <a:endParaRPr kumimoji="1" lang="en-US" sz="1000" dirty="0"/>
          </a:p>
        </p:txBody>
      </p:sp>
      <p:sp>
        <p:nvSpPr>
          <p:cNvPr id="14" name="Rectangle: Rounded Corners 13">
            <a:extLst>
              <a:ext uri="{FF2B5EF4-FFF2-40B4-BE49-F238E27FC236}">
                <a16:creationId xmlns:a16="http://schemas.microsoft.com/office/drawing/2014/main" id="{53586700-52A8-4D79-AEE2-50ED7B46128A}"/>
              </a:ext>
            </a:extLst>
          </p:cNvPr>
          <p:cNvSpPr/>
          <p:nvPr/>
        </p:nvSpPr>
        <p:spPr>
          <a:xfrm>
            <a:off x="1721765"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事前審査、審査官割り当て</a:t>
            </a:r>
            <a:endParaRPr lang="en-US" altLang="ja-JP" sz="1000" dirty="0"/>
          </a:p>
          <a:p>
            <a:pPr marL="0" algn="ctr" fontAlgn="ctr">
              <a:lnSpc>
                <a:spcPct val="114000"/>
              </a:lnSpc>
              <a:spcAft>
                <a:spcPts val="400"/>
              </a:spcAft>
            </a:pPr>
            <a:r>
              <a:rPr kumimoji="1" lang="ja-JP" altLang="en-US" sz="1000" dirty="0"/>
              <a:t>（申請後２週間）</a:t>
            </a:r>
            <a:endParaRPr kumimoji="1" lang="en-US" sz="1000" dirty="0"/>
          </a:p>
        </p:txBody>
      </p:sp>
      <p:sp>
        <p:nvSpPr>
          <p:cNvPr id="15" name="Rectangle: Rounded Corners 14">
            <a:extLst>
              <a:ext uri="{FF2B5EF4-FFF2-40B4-BE49-F238E27FC236}">
                <a16:creationId xmlns:a16="http://schemas.microsoft.com/office/drawing/2014/main" id="{10D12DD1-2AB1-4FF2-A62C-E2DC597B46D3}"/>
              </a:ext>
            </a:extLst>
          </p:cNvPr>
          <p:cNvSpPr/>
          <p:nvPr/>
        </p:nvSpPr>
        <p:spPr>
          <a:xfrm>
            <a:off x="3078279"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審査項目受領</a:t>
            </a:r>
            <a:endParaRPr lang="en-US" altLang="ja-JP" sz="1000" dirty="0"/>
          </a:p>
          <a:p>
            <a:pPr marL="0" algn="ctr" fontAlgn="ctr">
              <a:lnSpc>
                <a:spcPct val="114000"/>
              </a:lnSpc>
              <a:spcAft>
                <a:spcPts val="400"/>
              </a:spcAft>
            </a:pPr>
            <a:r>
              <a:rPr kumimoji="1" lang="ja-JP" altLang="en-US" sz="1000" dirty="0"/>
              <a:t>（申請後３週間）</a:t>
            </a:r>
            <a:endParaRPr kumimoji="1" lang="en-US" sz="1000" dirty="0"/>
          </a:p>
        </p:txBody>
      </p:sp>
      <p:cxnSp>
        <p:nvCxnSpPr>
          <p:cNvPr id="20" name="Straight Arrow Connector 19">
            <a:extLst>
              <a:ext uri="{FF2B5EF4-FFF2-40B4-BE49-F238E27FC236}">
                <a16:creationId xmlns:a16="http://schemas.microsoft.com/office/drawing/2014/main" id="{6BD5C9F0-E77E-4158-9503-34C999209DA9}"/>
              </a:ext>
            </a:extLst>
          </p:cNvPr>
          <p:cNvCxnSpPr>
            <a:cxnSpLocks/>
            <a:stCxn id="13" idx="3"/>
            <a:endCxn id="14" idx="1"/>
          </p:cNvCxnSpPr>
          <p:nvPr/>
        </p:nvCxnSpPr>
        <p:spPr>
          <a:xfrm>
            <a:off x="158506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FEC84C08-5F5E-4E6E-B811-6F873AA746E7}"/>
              </a:ext>
            </a:extLst>
          </p:cNvPr>
          <p:cNvSpPr/>
          <p:nvPr/>
        </p:nvSpPr>
        <p:spPr>
          <a:xfrm>
            <a:off x="4434793"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内議論</a:t>
            </a:r>
            <a:endParaRPr lang="en-US" altLang="ja-JP" sz="1000" dirty="0"/>
          </a:p>
          <a:p>
            <a:pPr marL="0" algn="ctr" fontAlgn="ctr">
              <a:lnSpc>
                <a:spcPct val="114000"/>
              </a:lnSpc>
              <a:spcAft>
                <a:spcPts val="400"/>
              </a:spcAft>
            </a:pPr>
            <a:r>
              <a:rPr kumimoji="1" lang="ja-JP" altLang="en-US" sz="1000" dirty="0"/>
              <a:t>（前後６～８週間）</a:t>
            </a:r>
            <a:endParaRPr kumimoji="1" lang="en-US" sz="1000" dirty="0"/>
          </a:p>
        </p:txBody>
      </p:sp>
      <p:sp>
        <p:nvSpPr>
          <p:cNvPr id="29" name="Rectangle: Rounded Corners 28">
            <a:extLst>
              <a:ext uri="{FF2B5EF4-FFF2-40B4-BE49-F238E27FC236}">
                <a16:creationId xmlns:a16="http://schemas.microsoft.com/office/drawing/2014/main" id="{83DD6A24-E1EB-4628-B45C-D78215BC2988}"/>
              </a:ext>
            </a:extLst>
          </p:cNvPr>
          <p:cNvSpPr/>
          <p:nvPr/>
        </p:nvSpPr>
        <p:spPr>
          <a:xfrm>
            <a:off x="5791307" y="4810679"/>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治験審査委員会勧告案作成</a:t>
            </a:r>
            <a:endParaRPr kumimoji="1" lang="en-US" sz="1000" dirty="0"/>
          </a:p>
        </p:txBody>
      </p:sp>
      <p:sp>
        <p:nvSpPr>
          <p:cNvPr id="30" name="Rectangle: Rounded Corners 29">
            <a:extLst>
              <a:ext uri="{FF2B5EF4-FFF2-40B4-BE49-F238E27FC236}">
                <a16:creationId xmlns:a16="http://schemas.microsoft.com/office/drawing/2014/main" id="{A66A65F7-2D59-4A77-BF88-6E7AEA25FC16}"/>
              </a:ext>
            </a:extLst>
          </p:cNvPr>
          <p:cNvSpPr/>
          <p:nvPr/>
        </p:nvSpPr>
        <p:spPr>
          <a:xfrm>
            <a:off x="7147821" y="479409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専門委員会</a:t>
            </a:r>
            <a:endParaRPr kumimoji="1" lang="en-US" sz="1000" dirty="0"/>
          </a:p>
        </p:txBody>
      </p:sp>
      <p:sp>
        <p:nvSpPr>
          <p:cNvPr id="31" name="Rectangle: Rounded Corners 30">
            <a:extLst>
              <a:ext uri="{FF2B5EF4-FFF2-40B4-BE49-F238E27FC236}">
                <a16:creationId xmlns:a16="http://schemas.microsoft.com/office/drawing/2014/main" id="{7EB18524-B9C4-4ED2-B173-3EAF016F533D}"/>
              </a:ext>
            </a:extLst>
          </p:cNvPr>
          <p:cNvSpPr/>
          <p:nvPr/>
        </p:nvSpPr>
        <p:spPr>
          <a:xfrm>
            <a:off x="8504332" y="481875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申請者への返答、やり取り</a:t>
            </a:r>
            <a:endParaRPr kumimoji="1" lang="en-US" sz="1000" dirty="0"/>
          </a:p>
        </p:txBody>
      </p:sp>
      <p:cxnSp>
        <p:nvCxnSpPr>
          <p:cNvPr id="37" name="Straight Arrow Connector 36">
            <a:extLst>
              <a:ext uri="{FF2B5EF4-FFF2-40B4-BE49-F238E27FC236}">
                <a16:creationId xmlns:a16="http://schemas.microsoft.com/office/drawing/2014/main" id="{F134C327-691B-4AEC-940A-0BF0F433FF60}"/>
              </a:ext>
            </a:extLst>
          </p:cNvPr>
          <p:cNvCxnSpPr>
            <a:cxnSpLocks/>
          </p:cNvCxnSpPr>
          <p:nvPr/>
        </p:nvCxnSpPr>
        <p:spPr>
          <a:xfrm>
            <a:off x="2941580"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B9F1610B-820B-4275-90E6-5E4F57E8BC90}"/>
              </a:ext>
            </a:extLst>
          </p:cNvPr>
          <p:cNvCxnSpPr>
            <a:cxnSpLocks/>
          </p:cNvCxnSpPr>
          <p:nvPr/>
        </p:nvCxnSpPr>
        <p:spPr>
          <a:xfrm>
            <a:off x="4298094"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2F2F1AB1-3525-42AE-8E02-8EDFD86AA65D}"/>
              </a:ext>
            </a:extLst>
          </p:cNvPr>
          <p:cNvCxnSpPr>
            <a:cxnSpLocks/>
          </p:cNvCxnSpPr>
          <p:nvPr/>
        </p:nvCxnSpPr>
        <p:spPr>
          <a:xfrm>
            <a:off x="5654608"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5503A7C-6909-4E13-B580-650E2FEA910F}"/>
              </a:ext>
            </a:extLst>
          </p:cNvPr>
          <p:cNvCxnSpPr>
            <a:cxnSpLocks/>
          </p:cNvCxnSpPr>
          <p:nvPr/>
        </p:nvCxnSpPr>
        <p:spPr>
          <a:xfrm>
            <a:off x="7011122"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3EEAC6FE-1DB2-40B5-B1F6-37B25D158E6B}"/>
              </a:ext>
            </a:extLst>
          </p:cNvPr>
          <p:cNvCxnSpPr>
            <a:cxnSpLocks/>
          </p:cNvCxnSpPr>
          <p:nvPr/>
        </p:nvCxnSpPr>
        <p:spPr>
          <a:xfrm>
            <a:off x="8367636" y="5087910"/>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グループ化 7">
            <a:extLst>
              <a:ext uri="{FF2B5EF4-FFF2-40B4-BE49-F238E27FC236}">
                <a16:creationId xmlns:a16="http://schemas.microsoft.com/office/drawing/2014/main" id="{ACB108B9-C16E-4C6B-BB9C-D34657AB2271}"/>
              </a:ext>
            </a:extLst>
          </p:cNvPr>
          <p:cNvGrpSpPr/>
          <p:nvPr/>
        </p:nvGrpSpPr>
        <p:grpSpPr>
          <a:xfrm>
            <a:off x="313688" y="4348677"/>
            <a:ext cx="9329356" cy="288032"/>
            <a:chOff x="4803500" y="2113806"/>
            <a:chExt cx="3680168" cy="288032"/>
          </a:xfrm>
        </p:grpSpPr>
        <p:cxnSp>
          <p:nvCxnSpPr>
            <p:cNvPr id="46" name="直線コネクタ 16">
              <a:extLst>
                <a:ext uri="{FF2B5EF4-FFF2-40B4-BE49-F238E27FC236}">
                  <a16:creationId xmlns:a16="http://schemas.microsoft.com/office/drawing/2014/main" id="{3B37E152-1B6F-4F63-929E-3A4A5688A134}"/>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a:extLst>
                <a:ext uri="{FF2B5EF4-FFF2-40B4-BE49-F238E27FC236}">
                  <a16:creationId xmlns:a16="http://schemas.microsoft.com/office/drawing/2014/main" id="{689C69B0-4F19-4E15-9801-887290E9CEB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en-US" altLang="ja-JP" sz="1400" dirty="0">
                  <a:latin typeface="HGP創英角ｺﾞｼｯｸUB" pitchFamily="50" charset="-128"/>
                  <a:ea typeface="HGP創英角ｺﾞｼｯｸUB" pitchFamily="50" charset="-128"/>
                </a:rPr>
                <a:t>SAHPRA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8BA6FBD2-C0BB-4266-8A5D-E47FD2B2D160}"/>
              </a:ext>
            </a:extLst>
          </p:cNvPr>
          <p:cNvSpPr txBox="1"/>
          <p:nvPr/>
        </p:nvSpPr>
        <p:spPr>
          <a:xfrm>
            <a:off x="416496" y="6710679"/>
            <a:ext cx="8640960" cy="144016"/>
          </a:xfrm>
          <a:prstGeom prst="rect">
            <a:avLst/>
          </a:prstGeom>
          <a:noFill/>
        </p:spPr>
        <p:txBody>
          <a:bodyPr wrap="square" lIns="0" tIns="0" rIns="0" bIns="0" rtlCol="0">
            <a:noAutofit/>
          </a:bodyPr>
          <a:lstStyle/>
          <a:p>
            <a:pPr marL="444500" lvl="0" indent="-444500"/>
            <a:r>
              <a:rPr kumimoji="0" lang="ja-JP" altLang="en-US" sz="800" dirty="0" bmk=""/>
              <a:t>（出所）南アフリカ医療製品規制庁（</a:t>
            </a:r>
            <a:r>
              <a:rPr kumimoji="0" lang="en-US" altLang="ja-JP" sz="800" dirty="0" bmk=""/>
              <a:t>SAHPRA</a:t>
            </a:r>
            <a:r>
              <a:rPr kumimoji="0" lang="ja-JP" altLang="en-US" sz="800" dirty="0" bmk=""/>
              <a:t>）ホームページ、米国</a:t>
            </a:r>
            <a:r>
              <a:rPr kumimoji="0" lang="en-US" altLang="ja-JP" sz="800" dirty="0" bmk=""/>
              <a:t>NIH</a:t>
            </a:r>
            <a:r>
              <a:rPr kumimoji="0" lang="ja-JP" altLang="en-US" sz="800" dirty="0" bmk=""/>
              <a:t>ホームページ</a:t>
            </a:r>
          </a:p>
        </p:txBody>
      </p:sp>
      <p:sp>
        <p:nvSpPr>
          <p:cNvPr id="4" name="Text Placeholder 3">
            <a:extLst>
              <a:ext uri="{FF2B5EF4-FFF2-40B4-BE49-F238E27FC236}">
                <a16:creationId xmlns:a16="http://schemas.microsoft.com/office/drawing/2014/main" id="{BC7AB916-F207-4794-8AF2-B631688EEE12}"/>
              </a:ext>
            </a:extLst>
          </p:cNvPr>
          <p:cNvSpPr>
            <a:spLocks noGrp="1"/>
          </p:cNvSpPr>
          <p:nvPr>
            <p:ph type="body" sz="quarter" idx="15"/>
          </p:nvPr>
        </p:nvSpPr>
        <p:spPr/>
        <p:txBody>
          <a:bodyPr/>
          <a:lstStyle/>
          <a:p>
            <a:r>
              <a:rPr lang="ja-JP" altLang="en-US" dirty="0"/>
              <a:t>臨床試験に対する規制</a:t>
            </a:r>
            <a:endParaRPr kumimoji="1" lang="en-US" dirty="0"/>
          </a:p>
        </p:txBody>
      </p:sp>
    </p:spTree>
    <p:extLst>
      <p:ext uri="{BB962C8B-B14F-4D97-AF65-F5344CB8AC3E}">
        <p14:creationId xmlns:p14="http://schemas.microsoft.com/office/powerpoint/2010/main" val="42122365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60453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ライバシーの権利は、南アフリカ共和国憲法の権利章典において基本的人権として認め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OP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経て、現在はほぼ完全に発効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ただし、南アフリカの責任ある当事者は、データ対象者が移転に同意している場合や法律による求め等の場合を除き、個人情報を他国の第三者に移転することはでき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nvGraphicFramePr>
        <p:xfrm>
          <a:off x="272480" y="2163587"/>
          <a:ext cx="9505056" cy="2417541"/>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2355">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solidFill>
                            <a:srgbClr val="000000"/>
                          </a:solidFill>
                          <a:latin typeface="+mn-lt"/>
                          <a:ea typeface="+mn-ea"/>
                        </a:rPr>
                        <a:t>POPIA</a:t>
                      </a:r>
                      <a:r>
                        <a:rPr lang="ja-JP" altLang="en-US" sz="1000" dirty="0">
                          <a:solidFill>
                            <a:srgbClr val="000000"/>
                          </a:solidFill>
                          <a:latin typeface="+mn-lt"/>
                          <a:ea typeface="+mn-ea"/>
                        </a:rPr>
                        <a:t>における「個人情報」とは、生存する自然人、および該当する場合には実在する法人を特定できる情報と定義されている。この中には、本人の教育、医療、財政、犯罪または雇用の経歴に関連する情報、その人のバイオメトリック情報も含ま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また、「特別な個人情報」とは、宗教的または哲学的信条、人種または民族的出身、労働組合への加盟、政治的説得、健康または性生活、生体情報および犯罪行為に関する情報を指す。</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は、南アフリカに居住する者が個人情報を処理する場合の他、個人情報を処理する者が南アフリカに居住していない場合であっても、南アフリカ内で個人情報が処理される場合には適用される。</a:t>
                      </a:r>
                      <a:endParaRPr lang="en-US" altLang="ja-JP" sz="1000" b="0" i="0" dirty="0">
                        <a:solidFill>
                          <a:srgbClr val="000000"/>
                        </a:solidFill>
                        <a:effectLst/>
                        <a:latin typeface="+mn-lt"/>
                        <a:ea typeface="+mn-ea"/>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データ保護責任者（</a:t>
                      </a: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では「情報責任者」と呼ばれる）は、情報規制当局に登録する必要があり、</a:t>
                      </a: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の遵守を確保すること、</a:t>
                      </a:r>
                      <a:r>
                        <a:rPr lang="en-US" altLang="ja-JP" sz="1000" b="0" i="0" dirty="0">
                          <a:solidFill>
                            <a:srgbClr val="000000"/>
                          </a:solidFill>
                          <a:effectLst/>
                          <a:latin typeface="+mn-lt"/>
                          <a:ea typeface="+mn-ea"/>
                        </a:rPr>
                        <a:t>POPIA</a:t>
                      </a:r>
                      <a:r>
                        <a:rPr lang="ja-JP" altLang="en-US" sz="1000" b="0" i="0" dirty="0">
                          <a:solidFill>
                            <a:srgbClr val="000000"/>
                          </a:solidFill>
                          <a:effectLst/>
                          <a:latin typeface="+mn-lt"/>
                          <a:ea typeface="+mn-ea"/>
                        </a:rPr>
                        <a:t>の観点からその責任者に対して行われるあらゆる要請に対処すること、情報規制当局による調査に協力することが含まれてい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en-US" altLang="ja-JP" sz="1000" dirty="0">
                          <a:solidFill>
                            <a:srgbClr val="000000"/>
                          </a:solidFill>
                          <a:latin typeface="+mn-lt"/>
                          <a:ea typeface="+mn-ea"/>
                        </a:rPr>
                        <a:t>POPIA </a:t>
                      </a:r>
                      <a:r>
                        <a:rPr lang="ja-JP" altLang="en-US" sz="1000" dirty="0">
                          <a:solidFill>
                            <a:srgbClr val="000000"/>
                          </a:solidFill>
                          <a:latin typeface="+mn-lt"/>
                          <a:ea typeface="+mn-ea"/>
                        </a:rPr>
                        <a:t>は、個人情報の合法的な処理について、いくつかの条件を規定しており、その中で、個人情報の対象となる者の同意</a:t>
                      </a:r>
                      <a:r>
                        <a:rPr lang="en-US" altLang="ja-JP" sz="1000" dirty="0">
                          <a:solidFill>
                            <a:srgbClr val="000000"/>
                          </a:solidFill>
                          <a:latin typeface="+mn-lt"/>
                          <a:ea typeface="+mn-ea"/>
                        </a:rPr>
                        <a:t>/</a:t>
                      </a:r>
                      <a:r>
                        <a:rPr lang="ja-JP" altLang="en-US" sz="1000" dirty="0">
                          <a:solidFill>
                            <a:srgbClr val="000000"/>
                          </a:solidFill>
                          <a:latin typeface="+mn-lt"/>
                          <a:ea typeface="+mn-ea"/>
                        </a:rPr>
                        <a:t>正当な利益に基づく範囲で利用が行われることや、特定の明示的に定義された合法的な目的のためにのみ個人情報が収集されなければならないことが規定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また、個人情報の対象となる者は、責任者が保有する個人情報の詳細を要求する権利、特定の状況下でそのような情報へのアクセスを要求する権利を有し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7321459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121934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をはじめとする医療従事者間では、書面および口頭のコミュニケーションにおいて一般的に英語が使用されている。</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ホームページ</a:t>
            </a:r>
          </a:p>
        </p:txBody>
      </p:sp>
    </p:spTree>
    <p:extLst>
      <p:ext uri="{BB962C8B-B14F-4D97-AF65-F5344CB8AC3E}">
        <p14:creationId xmlns:p14="http://schemas.microsoft.com/office/powerpoint/2010/main" val="35778715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91948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多くの医科大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the Free St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修業年限を設けている。入学にあたっては黒人やカラードの優先枠があり、競争は熾烈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は一年間のインターンシップと、さらに一年間のコミュニティサービスを経たのち、</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保健専門家協議会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医師としての登録を行うことができる。</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myggsa.co.za/how-to-become-a-medical-doctor-in-south-africa</a:t>
            </a: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savarsitystudent.co.za/2017/10/get-into-medicine-SA.html</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149175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199578" y="1124744"/>
            <a:ext cx="9505950" cy="44249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療重視者の偏在が、地方と都市、公共と民間の間で見られ、長期に渡って改善してい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般に、</a:t>
            </a:r>
            <a:r>
              <a:rPr lang="en-US" altLang="ja-JP" sz="1400" dirty="0"/>
              <a:t>1</a:t>
            </a:r>
            <a:r>
              <a:rPr lang="ja-JP" altLang="en-US" sz="1400" dirty="0"/>
              <a:t>万人当たりの医療従事者の数は、公的部門より民間部門の方が多い。例外的に、医師については、地域によっては公共部門に従事する者が民間部門よりも多い場合があるが、ほとんどの職種で共通の傾向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公的部門と民間部門の専門医密度の差は大きく、公的セクターの専門医は</a:t>
            </a:r>
            <a:r>
              <a:rPr lang="en-US" altLang="ja-JP" sz="1400" dirty="0"/>
              <a:t>10</a:t>
            </a:r>
            <a:r>
              <a:rPr lang="ja-JP" altLang="en-US" sz="1400" dirty="0"/>
              <a:t>万人当たり</a:t>
            </a:r>
            <a:r>
              <a:rPr lang="en-US" altLang="ja-JP" sz="1400" dirty="0"/>
              <a:t>7</a:t>
            </a:r>
            <a:r>
              <a:rPr lang="ja-JP" altLang="en-US" sz="1400" dirty="0"/>
              <a:t>人であるのに対し、民間セクターは</a:t>
            </a:r>
            <a:r>
              <a:rPr lang="en-US" altLang="ja-JP" sz="1400" dirty="0"/>
              <a:t>69</a:t>
            </a:r>
            <a:r>
              <a:rPr lang="ja-JP" altLang="en-US" sz="1400" dirty="0"/>
              <a:t>人である。政策介入がなければ、この格差は悪化すると予想さ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 農村部と都市部の偏在については、 南アフリカの人口の</a:t>
            </a:r>
            <a:r>
              <a:rPr lang="en-US" altLang="ja-JP" sz="1400" dirty="0"/>
              <a:t>43.6</a:t>
            </a:r>
            <a:r>
              <a:rPr lang="ja-JP" altLang="en-US" sz="1400" dirty="0"/>
              <a:t>％が農村部に住んでいるにもかかわらず、農村部に従事する医師は</a:t>
            </a:r>
            <a:r>
              <a:rPr lang="en-US" altLang="ja-JP" sz="1400" dirty="0"/>
              <a:t>12</a:t>
            </a:r>
            <a:r>
              <a:rPr lang="ja-JP" altLang="en-US" sz="1400" dirty="0"/>
              <a:t>％、看護師は</a:t>
            </a:r>
            <a:r>
              <a:rPr lang="en-US" altLang="ja-JP" sz="1400" dirty="0"/>
              <a:t>19</a:t>
            </a:r>
            <a:r>
              <a:rPr lang="ja-JP" altLang="en-US" sz="1400" dirty="0"/>
              <a:t>％のみである。 地方における医療従事者の不足は、資金やインフラの欠如、治安面の不安、子供の就学機会の不足、配偶者の就労機会の不足等の問題に起因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師不足の要因の一つとして、訓練を受けた医療専門家の海外移住がある。公共部門における雇用機会の不足と不利な労働環境のために、医療専門家は南アフリカ国外でのキャリアを追求する。</a:t>
            </a:r>
            <a:r>
              <a:rPr lang="en-US" altLang="ja-JP" sz="1400" dirty="0"/>
              <a:t>2006</a:t>
            </a:r>
            <a:r>
              <a:rPr lang="ja-JP" altLang="en-US" sz="1400" dirty="0"/>
              <a:t>年の</a:t>
            </a:r>
            <a:r>
              <a:rPr lang="en-US" altLang="ja-JP" sz="1400" dirty="0"/>
              <a:t>OECD</a:t>
            </a:r>
            <a:r>
              <a:rPr lang="ja-JP" altLang="en-US" sz="1400" dirty="0"/>
              <a:t>調査によれば、南アフリカの医師</a:t>
            </a:r>
            <a:r>
              <a:rPr lang="en-US" altLang="ja-JP" sz="1400" dirty="0"/>
              <a:t>8,921</a:t>
            </a:r>
            <a:r>
              <a:rPr lang="ja-JP" altLang="en-US" sz="1400" dirty="0"/>
              <a:t>人が南アフリカ国外に出ており、これは当時南アフリカで登録されていた医師の</a:t>
            </a:r>
            <a:r>
              <a:rPr lang="en-US" altLang="ja-JP" sz="1400" dirty="0"/>
              <a:t>3</a:t>
            </a:r>
            <a:r>
              <a:rPr lang="ja-JP" altLang="en-US" sz="1400" dirty="0"/>
              <a:t>分の</a:t>
            </a:r>
            <a:r>
              <a:rPr lang="en-US" altLang="ja-JP" sz="1400" dirty="0"/>
              <a:t>1</a:t>
            </a:r>
            <a:r>
              <a:rPr lang="ja-JP" altLang="en-US" sz="1400" dirty="0"/>
              <a:t>に相当する数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なお、過去のアパルトヘイト政策の影響により、医師数の人種間の違いが生じ、</a:t>
            </a:r>
            <a:r>
              <a:rPr lang="en-US" altLang="ja-JP" sz="1400" dirty="0"/>
              <a:t>1994</a:t>
            </a:r>
            <a:r>
              <a:rPr lang="ja-JP" altLang="en-US" sz="1400" dirty="0"/>
              <a:t>年以降にかなりの改善が実現されたが、これらの過去の政策が、医師の人種的な代表性だけでなく、医療の分配に対していまだに影響しているとの指摘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データは、医療職における男女格差を浮き彫りにしている。女性医師の割合は改善しているが、男性医師の数にはまだ及ばず、これは</a:t>
            </a:r>
            <a:r>
              <a:rPr lang="en-US" altLang="ja-JP" sz="1400" dirty="0"/>
              <a:t>2019</a:t>
            </a:r>
            <a:r>
              <a:rPr lang="ja-JP" altLang="en-US" sz="1400" dirty="0"/>
              <a:t>年の男女比が</a:t>
            </a:r>
            <a:r>
              <a:rPr lang="en-US" altLang="ja-JP" sz="1400" dirty="0"/>
              <a:t>1:0.7</a:t>
            </a:r>
            <a:r>
              <a:rPr lang="ja-JP" altLang="en-US" sz="1400" dirty="0"/>
              <a:t>であることからも明らかで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このギャップを埋め、医療におけるジェンダー平等を達成するためには、特に女性医師が少ない集団において女性医師を増やすことに注力する必要がある。戦略的人事計画には、医療労働力生産の指針となるジェンダー平等目標を用いた予測方法を含めることができる。</a:t>
            </a:r>
            <a:endParaRPr lang="en-US" altLang="ja-JP" sz="1400" dirty="0"/>
          </a:p>
        </p:txBody>
      </p:sp>
      <p:sp>
        <p:nvSpPr>
          <p:cNvPr id="23" name="テキスト ボックス 62">
            <a:extLst>
              <a:ext uri="{FF2B5EF4-FFF2-40B4-BE49-F238E27FC236}">
                <a16:creationId xmlns:a16="http://schemas.microsoft.com/office/drawing/2014/main" id="{764ED442-45D0-4EC0-9BAF-3D270967F22D}"/>
              </a:ext>
            </a:extLst>
          </p:cNvPr>
          <p:cNvSpPr txBox="1"/>
          <p:nvPr/>
        </p:nvSpPr>
        <p:spPr>
          <a:xfrm>
            <a:off x="215264" y="634939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solidFill>
                  <a:srgbClr val="000000"/>
                </a:solidFill>
              </a:rPr>
              <a:t>） </a:t>
            </a:r>
            <a:r>
              <a:rPr lang="en-US" altLang="ja-JP" sz="800" dirty="0">
                <a:solidFill>
                  <a:srgbClr val="000000"/>
                </a:solidFill>
              </a:rPr>
              <a:t>https://www.gov.za/sites/default/files/gcis_document/201409/hrhstrategy0.pdf</a:t>
            </a:r>
            <a:endParaRPr kumimoji="1" lang="en-US" altLang="ja-JP" sz="800" dirty="0">
              <a:solidFill>
                <a:srgbClr val="000000"/>
              </a:solidFill>
            </a:endParaRPr>
          </a:p>
          <a:p>
            <a:pPr marL="358775" indent="-358775"/>
            <a:r>
              <a:rPr kumimoji="1" lang="en-US" altLang="ja-JP" sz="800" dirty="0">
                <a:solidFill>
                  <a:srgbClr val="000000"/>
                </a:solidFill>
              </a:rPr>
              <a:t>https://human-resources-health.biomedcentral.com/articles/10.1186/s12960-021-00567-2</a:t>
            </a:r>
          </a:p>
          <a:p>
            <a:pPr marL="358775" indent="-358775"/>
            <a:r>
              <a:rPr kumimoji="1" lang="en-US" altLang="ja-JP" sz="800" dirty="0">
                <a:solidFill>
                  <a:srgbClr val="000000"/>
                </a:solidFill>
              </a:rPr>
              <a:t>https://www.spotlightnsp.co.za/wp-content/uploads/2020/08/2030-HRH-strategy-19-3-2020.pdf</a:t>
            </a:r>
          </a:p>
          <a:p>
            <a:pPr marL="358775" indent="-358775"/>
            <a:endParaRPr kumimoji="1" lang="en-US" altLang="ja-JP" sz="800" dirty="0">
              <a:solidFill>
                <a:srgbClr val="000000"/>
              </a:solidFill>
            </a:endParaRPr>
          </a:p>
          <a:p>
            <a:pPr marL="358775" indent="-3587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58775" indent="-3587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81742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50223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教育を受けた医師が南アフリカで医師としての登録をするため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必要とな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前提として、米国の外国医学卒業生のための教育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FM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資格認定を受け、保健省から医師としてポストを提示されなくてはならない。南アフリカと同等以上の教育を受けていないとの判定となった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PC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筆記試験を受けることを求められる場合もある。</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72480" y="6277382"/>
            <a:ext cx="9073008" cy="144016"/>
          </a:xfrm>
          <a:prstGeom prst="rect">
            <a:avLst/>
          </a:prstGeom>
          <a:noFill/>
        </p:spPr>
        <p:txBody>
          <a:bodyPr wrap="square" lIns="0" tIns="0" rIns="0" bIns="0" rtlCol="0">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medicfootprints.org/south-africa/working-in-south-africa/medical-registration-work-visa-sa/</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79138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3099062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360" imgH="360" progId="TCLayout.ActiveDocument.1">
                  <p:embed/>
                </p:oleObj>
              </mc:Choice>
              <mc:Fallback>
                <p:oleObj name="think-cell Slide" r:id="rId65" imgW="360" imgH="360" progId="TCLayout.ActiveDocument.1">
                  <p:embed/>
                  <p:pic>
                    <p:nvPicPr>
                      <p:cNvPr id="11" name="Object 10"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19" y="2060848"/>
            <a:ext cx="1537593" cy="2267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 -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実質ベース）</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ダウンロー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した。</a:t>
            </a:r>
          </a:p>
        </p:txBody>
      </p:sp>
      <p:graphicFrame>
        <p:nvGraphicFramePr>
          <p:cNvPr id="73" name="Chart 194">
            <a:extLst>
              <a:ext uri="{FF2B5EF4-FFF2-40B4-BE49-F238E27FC236}">
                <a16:creationId xmlns:a16="http://schemas.microsoft.com/office/drawing/2014/main" id="{AD081AE2-9233-459A-9A56-89FD055CD04B}"/>
              </a:ext>
            </a:extLst>
          </p:cNvPr>
          <p:cNvGraphicFramePr/>
          <p:nvPr>
            <p:custDataLst>
              <p:tags r:id="rId3"/>
            </p:custDataLst>
            <p:extLst>
              <p:ext uri="{D42A27DB-BD31-4B8C-83A1-F6EECF244321}">
                <p14:modId xmlns:p14="http://schemas.microsoft.com/office/powerpoint/2010/main" val="1130172849"/>
              </p:ext>
            </p:extLst>
          </p:nvPr>
        </p:nvGraphicFramePr>
        <p:xfrm>
          <a:off x="950913" y="2344738"/>
          <a:ext cx="8285162" cy="3830637"/>
        </p:xfrm>
        <a:graphic>
          <a:graphicData uri="http://schemas.openxmlformats.org/drawingml/2006/chart">
            <c:chart xmlns:c="http://schemas.openxmlformats.org/drawingml/2006/chart" xmlns:r="http://schemas.openxmlformats.org/officeDocument/2006/relationships" r:id="rId67"/>
          </a:graphicData>
        </a:graphic>
      </p:graphicFrame>
      <p:sp>
        <p:nvSpPr>
          <p:cNvPr id="74" name="テキスト プレースホルダ 9">
            <a:extLst>
              <a:ext uri="{FF2B5EF4-FFF2-40B4-BE49-F238E27FC236}">
                <a16:creationId xmlns:a16="http://schemas.microsoft.com/office/drawing/2014/main" id="{F4220234-868A-4798-BF7B-DE03B5339CAC}"/>
              </a:ext>
            </a:extLst>
          </p:cNvPr>
          <p:cNvSpPr>
            <a:spLocks noGrp="1"/>
          </p:cNvSpPr>
          <p:nvPr>
            <p:custDataLst>
              <p:tags r:id="rId4"/>
            </p:custDataLst>
          </p:nvPr>
        </p:nvSpPr>
        <p:spPr bwMode="gray">
          <a:xfrm>
            <a:off x="695325" y="4938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B3414F-D383-4B57-A415-44B769F3C513}"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F39DE235-C3EA-425D-B6B2-A06C36141A23}"/>
              </a:ext>
            </a:extLst>
          </p:cNvPr>
          <p:cNvSpPr>
            <a:spLocks noGrp="1"/>
          </p:cNvSpPr>
          <p:nvPr>
            <p:custDataLst>
              <p:tags r:id="rId5"/>
            </p:custDataLst>
          </p:nvPr>
        </p:nvSpPr>
        <p:spPr bwMode="gray">
          <a:xfrm>
            <a:off x="695325" y="47228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1AC3ED-8F4E-418F-A9CA-510190847DB6}" type="datetime'''''''''''1''''''''''''''''''''20'''''''''''''''''''''">
              <a:rPr lang="ja-JP" altLang="en-US" sz="1000" smtClean="0">
                <a:effectLst/>
                <a:sym typeface="+mn-lt"/>
              </a:rPr>
              <a:pPr marL="0" indent="0" algn="r">
                <a:spcBef>
                  <a:spcPct val="0"/>
                </a:spcBef>
                <a:buNone/>
              </a:pPr>
              <a:t>12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34EE15F0-7231-4DB4-AC46-DC6D73C4EBB6}"/>
              </a:ext>
            </a:extLst>
          </p:cNvPr>
          <p:cNvSpPr>
            <a:spLocks noGrp="1"/>
          </p:cNvSpPr>
          <p:nvPr>
            <p:custDataLst>
              <p:tags r:id="rId6"/>
            </p:custDataLst>
          </p:nvPr>
        </p:nvSpPr>
        <p:spPr bwMode="gray">
          <a:xfrm>
            <a:off x="83502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712FB1C-4635-4457-96DB-7A4E6F6FB031}" type="datetime'''''''''''''''''''''''''''''''''''''''''0'''">
              <a:rPr lang="ja-JP" altLang="en-US" sz="1000" smtClean="0">
                <a:sym typeface="+mn-lt"/>
              </a:rPr>
              <a:pPr/>
              <a:t>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BEB4C2D4-67A1-4FE5-98AC-8E3F7132A5A4}"/>
              </a:ext>
            </a:extLst>
          </p:cNvPr>
          <p:cNvSpPr>
            <a:spLocks noGrp="1"/>
          </p:cNvSpPr>
          <p:nvPr>
            <p:custDataLst>
              <p:tags r:id="rId7"/>
            </p:custDataLst>
          </p:nvPr>
        </p:nvSpPr>
        <p:spPr bwMode="gray">
          <a:xfrm>
            <a:off x="695325" y="3860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46BDD4E-DE0B-4DDD-ACDE-6B0855488C48}"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D1AAB653-1CD9-4ECB-8235-84431B56208C}"/>
              </a:ext>
            </a:extLst>
          </p:cNvPr>
          <p:cNvSpPr>
            <a:spLocks noGrp="1"/>
          </p:cNvSpPr>
          <p:nvPr>
            <p:custDataLst>
              <p:tags r:id="rId8"/>
            </p:custDataLst>
          </p:nvPr>
        </p:nvSpPr>
        <p:spPr bwMode="gray">
          <a:xfrm>
            <a:off x="765175" y="5154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39C40DE-5241-4745-828F-A95BF15045B1}"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87065185-FED1-43E5-B27D-66F700EE9897}"/>
              </a:ext>
            </a:extLst>
          </p:cNvPr>
          <p:cNvSpPr>
            <a:spLocks noGrp="1"/>
          </p:cNvSpPr>
          <p:nvPr>
            <p:custDataLst>
              <p:tags r:id="rId9"/>
            </p:custDataLst>
          </p:nvPr>
        </p:nvSpPr>
        <p:spPr bwMode="gray">
          <a:xfrm>
            <a:off x="765175" y="5586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03D33C-4B51-4799-88A1-5840FFF96884}"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318812A9-46E4-44ED-83D9-66F691F3ABF0}"/>
              </a:ext>
            </a:extLst>
          </p:cNvPr>
          <p:cNvSpPr>
            <a:spLocks noGrp="1"/>
          </p:cNvSpPr>
          <p:nvPr>
            <p:custDataLst>
              <p:tags r:id="rId10"/>
            </p:custDataLst>
          </p:nvPr>
        </p:nvSpPr>
        <p:spPr bwMode="gray">
          <a:xfrm>
            <a:off x="695325" y="3214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F8B4B83-3F06-49E8-B84F-AAAD3BE34C19}" type="datetime'''''''''''''2''''''''''''''''''''''6''''''''''0'''''''''''''''">
              <a:rPr lang="ja-JP" altLang="en-US" sz="1000" smtClean="0">
                <a:effectLst/>
                <a:sym typeface="+mn-lt"/>
              </a:rPr>
              <a:pPr marL="0" indent="0" algn="r">
                <a:spcBef>
                  <a:spcPct val="0"/>
                </a:spcBef>
                <a:buNone/>
              </a:pPr>
              <a:t>26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A581A7DE-DEC1-4D6B-8A60-696FA370C218}"/>
              </a:ext>
            </a:extLst>
          </p:cNvPr>
          <p:cNvSpPr>
            <a:spLocks noGrp="1"/>
          </p:cNvSpPr>
          <p:nvPr>
            <p:custDataLst>
              <p:tags r:id="rId11"/>
            </p:custDataLst>
          </p:nvPr>
        </p:nvSpPr>
        <p:spPr bwMode="gray">
          <a:xfrm>
            <a:off x="695325" y="3644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E317A61-3EB1-46E1-8121-58E7D316BED7}" type="datetime'''''''''''''''''''''''''''''''''''''2''''''''''''''2''''''0'">
              <a:rPr lang="ja-JP" altLang="en-US" sz="1000" smtClean="0">
                <a:effectLst/>
                <a:sym typeface="+mn-lt"/>
              </a:rPr>
              <a:pPr marL="0" indent="0" algn="r">
                <a:spcBef>
                  <a:spcPct val="0"/>
                </a:spcBef>
                <a:buNone/>
              </a:pPr>
              <a:t>22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6ECB8E78-18F5-4D0D-A938-BDA5AB6C3733}"/>
              </a:ext>
            </a:extLst>
          </p:cNvPr>
          <p:cNvSpPr>
            <a:spLocks noGrp="1"/>
          </p:cNvSpPr>
          <p:nvPr>
            <p:custDataLst>
              <p:tags r:id="rId12"/>
            </p:custDataLst>
          </p:nvPr>
        </p:nvSpPr>
        <p:spPr bwMode="gray">
          <a:xfrm>
            <a:off x="765175" y="5800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FF8173-A0AD-49B8-9EF4-CAABD36CB73C}"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4D86C469-C97C-4D8C-AC8F-5C319ABBC2ED}"/>
              </a:ext>
            </a:extLst>
          </p:cNvPr>
          <p:cNvSpPr>
            <a:spLocks noGrp="1"/>
          </p:cNvSpPr>
          <p:nvPr>
            <p:custDataLst>
              <p:tags r:id="rId13"/>
            </p:custDataLst>
          </p:nvPr>
        </p:nvSpPr>
        <p:spPr bwMode="gray">
          <a:xfrm>
            <a:off x="695325" y="4508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E6C02F0-CD19-4AF8-9BED-433E6336D225}" type="datetime'''1''''''''''''''''''''''''''''''''''''''''4''''0'''''''''''">
              <a:rPr lang="ja-JP" altLang="en-US" sz="1000" smtClean="0">
                <a:effectLst/>
                <a:sym typeface="+mn-lt"/>
              </a:rPr>
              <a:pPr marL="0" indent="0" algn="r">
                <a:spcBef>
                  <a:spcPct val="0"/>
                </a:spcBef>
                <a:buNone/>
              </a:pPr>
              <a:t>14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770B7CD2-9053-41CD-8E03-A8C7BC639480}"/>
              </a:ext>
            </a:extLst>
          </p:cNvPr>
          <p:cNvSpPr>
            <a:spLocks noGrp="1"/>
          </p:cNvSpPr>
          <p:nvPr>
            <p:custDataLst>
              <p:tags r:id="rId14"/>
            </p:custDataLst>
          </p:nvPr>
        </p:nvSpPr>
        <p:spPr bwMode="gray">
          <a:xfrm>
            <a:off x="695325" y="42926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00552B6-89FF-47EB-9A81-2DF93DC88C45}" type="datetime'''''''''''''''''''''''''''16''''''''''''0'''''">
              <a:rPr lang="ja-JP" altLang="en-US" sz="1000" smtClean="0">
                <a:effectLst/>
                <a:sym typeface="+mn-lt"/>
              </a:rPr>
              <a:pPr marL="0" indent="0" algn="r">
                <a:spcBef>
                  <a:spcPct val="0"/>
                </a:spcBef>
                <a:buNone/>
              </a:pPr>
              <a:t>16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EBB16D4F-8A93-47C8-AABE-1D4CF5C9C8E2}"/>
              </a:ext>
            </a:extLst>
          </p:cNvPr>
          <p:cNvSpPr>
            <a:spLocks noGrp="1"/>
          </p:cNvSpPr>
          <p:nvPr>
            <p:custDataLst>
              <p:tags r:id="rId15"/>
            </p:custDataLst>
          </p:nvPr>
        </p:nvSpPr>
        <p:spPr bwMode="gray">
          <a:xfrm>
            <a:off x="765175" y="53705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3205356-90BC-4C53-88AE-C4DACDD5CCF8}"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F20F7FF1-E59D-4400-BFF4-53F53723D3B2}"/>
              </a:ext>
            </a:extLst>
          </p:cNvPr>
          <p:cNvSpPr>
            <a:spLocks noGrp="1"/>
          </p:cNvSpPr>
          <p:nvPr>
            <p:custDataLst>
              <p:tags r:id="rId16"/>
            </p:custDataLst>
          </p:nvPr>
        </p:nvSpPr>
        <p:spPr bwMode="gray">
          <a:xfrm>
            <a:off x="695325" y="3429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9E18E4-C1A6-4C7D-94D3-2BD696124329}" type="datetime'''''''''''2''''''''''''''''''''''''4''''''''0'''''''''''''''''">
              <a:rPr lang="ja-JP" altLang="en-US" sz="1000" smtClean="0">
                <a:effectLst/>
                <a:sym typeface="+mn-lt"/>
              </a:rPr>
              <a:pPr marL="0" indent="0" algn="r">
                <a:spcBef>
                  <a:spcPct val="0"/>
                </a:spcBef>
                <a:buNone/>
              </a:pPr>
              <a:t>240</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4277F136-B395-43BD-96D9-520190AA84B2}"/>
              </a:ext>
            </a:extLst>
          </p:cNvPr>
          <p:cNvSpPr>
            <a:spLocks noGrp="1"/>
          </p:cNvSpPr>
          <p:nvPr>
            <p:custDataLst>
              <p:tags r:id="rId17"/>
            </p:custDataLst>
          </p:nvPr>
        </p:nvSpPr>
        <p:spPr bwMode="gray">
          <a:xfrm>
            <a:off x="695325" y="40767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94CA6C2-9800-47D5-9849-B016A18E9065}" type="datetime'1''''8''''''0'''''''''''''''''''''''''''''''''''''''''''">
              <a:rPr lang="ja-JP" altLang="en-US" sz="1000" smtClean="0">
                <a:effectLst/>
                <a:sym typeface="+mn-lt"/>
              </a:rPr>
              <a:pPr marL="0" indent="0" algn="r">
                <a:spcBef>
                  <a:spcPct val="0"/>
                </a:spcBef>
                <a:buNone/>
              </a:pPr>
              <a:t>18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774C3484-CBAC-4CC5-8E25-33D2490D4261}"/>
              </a:ext>
            </a:extLst>
          </p:cNvPr>
          <p:cNvSpPr>
            <a:spLocks noGrp="1"/>
          </p:cNvSpPr>
          <p:nvPr>
            <p:custDataLst>
              <p:tags r:id="rId18"/>
            </p:custDataLst>
          </p:nvPr>
        </p:nvSpPr>
        <p:spPr bwMode="gray">
          <a:xfrm>
            <a:off x="695325" y="2998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527F128-DC85-45F3-B836-A0F722048443}" type="datetime'''''''''2''''''''8''''''''''''0'''''">
              <a:rPr lang="ja-JP" altLang="en-US" sz="1000" smtClean="0">
                <a:effectLst/>
                <a:sym typeface="+mn-lt"/>
              </a:rPr>
              <a:pPr marL="0" indent="0" algn="r">
                <a:spcBef>
                  <a:spcPct val="0"/>
                </a:spcBef>
                <a:buNone/>
              </a:pPr>
              <a:t>28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4D7DB0B8-617B-4C61-A0C1-8F59B14D705C}"/>
              </a:ext>
            </a:extLst>
          </p:cNvPr>
          <p:cNvSpPr>
            <a:spLocks noGrp="1"/>
          </p:cNvSpPr>
          <p:nvPr>
            <p:custDataLst>
              <p:tags r:id="rId19"/>
            </p:custDataLst>
          </p:nvPr>
        </p:nvSpPr>
        <p:spPr bwMode="gray">
          <a:xfrm>
            <a:off x="695325" y="2782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0D929B-178F-4E2F-9ABD-7FE22E60B8C7}" type="datetime'''''''''3''''''''''''''''0''''''''''''''''''''0'''''''''''''">
              <a:rPr lang="ja-JP" altLang="en-US" sz="1000" smtClean="0">
                <a:effectLst/>
                <a:sym typeface="+mn-lt"/>
              </a:rPr>
              <a:pPr marL="0" indent="0" algn="r">
                <a:spcBef>
                  <a:spcPct val="0"/>
                </a:spcBef>
                <a:buNone/>
              </a:pPr>
              <a:t>300</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E193AC9A-7CC5-4A67-BADB-AF46225B4A35}"/>
              </a:ext>
            </a:extLst>
          </p:cNvPr>
          <p:cNvSpPr>
            <a:spLocks noGrp="1"/>
          </p:cNvSpPr>
          <p:nvPr>
            <p:custDataLst>
              <p:tags r:id="rId20"/>
            </p:custDataLst>
          </p:nvPr>
        </p:nvSpPr>
        <p:spPr bwMode="gray">
          <a:xfrm>
            <a:off x="695325" y="25669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3D1E5A0-8FE0-4565-B4D0-74C74ADF3D60}" type="datetime'''32''''''''''''''''''''''''''0'''''''''''''''">
              <a:rPr lang="ja-JP" altLang="en-US" sz="1000" smtClean="0">
                <a:effectLst/>
                <a:sym typeface="+mn-lt"/>
              </a:rPr>
              <a:pPr marL="0" indent="0" algn="r">
                <a:spcBef>
                  <a:spcPct val="0"/>
                </a:spcBef>
                <a:buNone/>
              </a:pPr>
              <a:t>320</a:t>
            </a:fld>
            <a:endParaRPr lang="ja-JP" altLang="en-US" sz="1000" dirty="0">
              <a:sym typeface="+mn-lt"/>
            </a:endParaRPr>
          </a:p>
        </p:txBody>
      </p:sp>
      <p:sp>
        <p:nvSpPr>
          <p:cNvPr id="91" name="テキスト プレースホルダ 9">
            <a:extLst>
              <a:ext uri="{FF2B5EF4-FFF2-40B4-BE49-F238E27FC236}">
                <a16:creationId xmlns:a16="http://schemas.microsoft.com/office/drawing/2014/main" id="{CBDA98BC-EEB3-4C89-8DEA-48D3F4481F51}"/>
              </a:ext>
            </a:extLst>
          </p:cNvPr>
          <p:cNvSpPr>
            <a:spLocks noGrp="1"/>
          </p:cNvSpPr>
          <p:nvPr>
            <p:custDataLst>
              <p:tags r:id="rId21"/>
            </p:custDataLst>
          </p:nvPr>
        </p:nvSpPr>
        <p:spPr bwMode="gray">
          <a:xfrm>
            <a:off x="695325" y="2351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D0F0C70-4D78-471D-A13D-6D483F959646}" type="datetime'''34''''''''0'''''''''''''''''''''''''''''''''''''''''''">
              <a:rPr lang="ja-JP" altLang="en-US" sz="1000" smtClean="0">
                <a:effectLst/>
                <a:sym typeface="+mn-lt"/>
              </a:rPr>
              <a:pPr marL="0" indent="0" algn="r">
                <a:spcBef>
                  <a:spcPct val="0"/>
                </a:spcBef>
                <a:buNone/>
              </a:pPr>
              <a:t>340</a:t>
            </a:fld>
            <a:endParaRPr lang="ja-JP" altLang="en-US" sz="1000" dirty="0">
              <a:sym typeface="+mn-lt"/>
            </a:endParaRPr>
          </a:p>
        </p:txBody>
      </p:sp>
      <p:sp>
        <p:nvSpPr>
          <p:cNvPr id="92" name="テキスト プレースホルダ 9">
            <a:extLst>
              <a:ext uri="{FF2B5EF4-FFF2-40B4-BE49-F238E27FC236}">
                <a16:creationId xmlns:a16="http://schemas.microsoft.com/office/drawing/2014/main" id="{43913898-8FF2-424C-9755-64E255D2C2E2}"/>
              </a:ext>
            </a:extLst>
          </p:cNvPr>
          <p:cNvSpPr>
            <a:spLocks noGrp="1"/>
          </p:cNvSpPr>
          <p:nvPr>
            <p:custDataLst>
              <p:tags r:id="rId22"/>
            </p:custDataLst>
          </p:nvPr>
        </p:nvSpPr>
        <p:spPr bwMode="auto">
          <a:xfrm>
            <a:off x="579574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E2A6EE-C0C9-42CD-92DE-208EED81E6C6}" type="datetime'''''''''''''''''1''''''''''2'''''''''''''''''''''''''">
              <a:rPr lang="ja-JP" altLang="en-US" sz="1000" smtClean="0"/>
              <a:pPr/>
              <a:t>12</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36648072-A74A-4793-A917-67FECC1CC8C2}"/>
              </a:ext>
            </a:extLst>
          </p:cNvPr>
          <p:cNvSpPr>
            <a:spLocks noGrp="1"/>
          </p:cNvSpPr>
          <p:nvPr>
            <p:custDataLst>
              <p:tags r:id="rId23"/>
            </p:custDataLst>
          </p:nvPr>
        </p:nvSpPr>
        <p:spPr bwMode="gray">
          <a:xfrm>
            <a:off x="4968111" y="331813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43</a:t>
            </a:r>
            <a:endParaRPr lang="ja-JP" altLang="en-US" sz="1000" dirty="0">
              <a:sym typeface="+mn-lt"/>
            </a:endParaRPr>
          </a:p>
        </p:txBody>
      </p:sp>
      <p:sp>
        <p:nvSpPr>
          <p:cNvPr id="94" name="テキスト プレースホルダ 9">
            <a:extLst>
              <a:ext uri="{FF2B5EF4-FFF2-40B4-BE49-F238E27FC236}">
                <a16:creationId xmlns:a16="http://schemas.microsoft.com/office/drawing/2014/main" id="{D873557E-24BE-4D4B-BC3D-7326A8BDC385}"/>
              </a:ext>
            </a:extLst>
          </p:cNvPr>
          <p:cNvSpPr>
            <a:spLocks noGrp="1"/>
          </p:cNvSpPr>
          <p:nvPr>
            <p:custDataLst>
              <p:tags r:id="rId24"/>
            </p:custDataLst>
          </p:nvPr>
        </p:nvSpPr>
        <p:spPr bwMode="gray">
          <a:xfrm>
            <a:off x="1101451" y="417933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63</a:t>
            </a:r>
            <a:endParaRPr lang="ja-JP" altLang="en-US" sz="1000" dirty="0">
              <a:sym typeface="+mn-lt"/>
            </a:endParaRPr>
          </a:p>
        </p:txBody>
      </p:sp>
      <p:sp>
        <p:nvSpPr>
          <p:cNvPr id="95" name="テキスト プレースホルダ 9">
            <a:extLst>
              <a:ext uri="{FF2B5EF4-FFF2-40B4-BE49-F238E27FC236}">
                <a16:creationId xmlns:a16="http://schemas.microsoft.com/office/drawing/2014/main" id="{B16E1C8F-907B-419C-958E-906860F7F801}"/>
              </a:ext>
            </a:extLst>
          </p:cNvPr>
          <p:cNvSpPr>
            <a:spLocks noGrp="1"/>
          </p:cNvSpPr>
          <p:nvPr>
            <p:custDataLst>
              <p:tags r:id="rId25"/>
            </p:custDataLst>
          </p:nvPr>
        </p:nvSpPr>
        <p:spPr bwMode="gray">
          <a:xfrm>
            <a:off x="3421447" y="383931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94</a:t>
            </a:r>
            <a:endParaRPr lang="ja-JP" altLang="en-US" sz="1000" dirty="0">
              <a:sym typeface="+mn-lt"/>
            </a:endParaRPr>
          </a:p>
        </p:txBody>
      </p:sp>
      <p:sp>
        <p:nvSpPr>
          <p:cNvPr id="96" name="テキスト プレースホルダ 9">
            <a:extLst>
              <a:ext uri="{FF2B5EF4-FFF2-40B4-BE49-F238E27FC236}">
                <a16:creationId xmlns:a16="http://schemas.microsoft.com/office/drawing/2014/main" id="{774341A9-3F7E-450B-B89D-A5295417D58B}"/>
              </a:ext>
            </a:extLst>
          </p:cNvPr>
          <p:cNvSpPr>
            <a:spLocks noGrp="1"/>
          </p:cNvSpPr>
          <p:nvPr>
            <p:custDataLst>
              <p:tags r:id="rId26"/>
            </p:custDataLst>
          </p:nvPr>
        </p:nvSpPr>
        <p:spPr bwMode="auto">
          <a:xfrm>
            <a:off x="2308447"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320192-359F-4A48-B08B-2A3CA74FBE53}" type="datetime'''''''''''''''''0''''''''''''''''''''''''''''''3'''''''''">
              <a:rPr lang="ja-JP" altLang="en-US" sz="1000" smtClean="0"/>
              <a:pPr/>
              <a:t>03</a:t>
            </a:fld>
            <a:endParaRPr kumimoji="0" lang="ja-JP" altLang="en-US" sz="1000" dirty="0">
              <a:sym typeface="+mn-lt"/>
            </a:endParaRPr>
          </a:p>
        </p:txBody>
      </p:sp>
      <p:sp>
        <p:nvSpPr>
          <p:cNvPr id="97" name="テキスト プレースホルダ 9">
            <a:extLst>
              <a:ext uri="{FF2B5EF4-FFF2-40B4-BE49-F238E27FC236}">
                <a16:creationId xmlns:a16="http://schemas.microsoft.com/office/drawing/2014/main" id="{07A5C5CD-22B2-43A7-9D18-374DBBA9C7C1}"/>
              </a:ext>
            </a:extLst>
          </p:cNvPr>
          <p:cNvSpPr>
            <a:spLocks noGrp="1"/>
          </p:cNvSpPr>
          <p:nvPr>
            <p:custDataLst>
              <p:tags r:id="rId27"/>
            </p:custDataLst>
          </p:nvPr>
        </p:nvSpPr>
        <p:spPr bwMode="auto">
          <a:xfrm>
            <a:off x="6958171"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2FEA80-5330-4C83-9C55-DAA3F37B628E}" type="datetime'''''''''''''''''''''1''''''''''''5'''">
              <a:rPr lang="ja-JP" altLang="en-US" sz="1000" smtClean="0"/>
              <a:pPr/>
              <a:t>15</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B1245A74-59FA-49A8-8212-BE693AE3B215}"/>
              </a:ext>
            </a:extLst>
          </p:cNvPr>
          <p:cNvSpPr>
            <a:spLocks noGrp="1"/>
          </p:cNvSpPr>
          <p:nvPr>
            <p:custDataLst>
              <p:tags r:id="rId28"/>
            </p:custDataLst>
          </p:nvPr>
        </p:nvSpPr>
        <p:spPr bwMode="gray">
          <a:xfrm>
            <a:off x="6514775" y="303388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69</a:t>
            </a:r>
            <a:endParaRPr lang="ja-JP" altLang="en-US" sz="1000" dirty="0">
              <a:sym typeface="+mn-lt"/>
            </a:endParaRPr>
          </a:p>
        </p:txBody>
      </p:sp>
      <p:sp>
        <p:nvSpPr>
          <p:cNvPr id="99" name="テキスト プレースホルダ 9">
            <a:extLst>
              <a:ext uri="{FF2B5EF4-FFF2-40B4-BE49-F238E27FC236}">
                <a16:creationId xmlns:a16="http://schemas.microsoft.com/office/drawing/2014/main" id="{BA0A2C58-5122-446E-BB11-F40043E8F63D}"/>
              </a:ext>
            </a:extLst>
          </p:cNvPr>
          <p:cNvSpPr>
            <a:spLocks noGrp="1"/>
          </p:cNvSpPr>
          <p:nvPr>
            <p:custDataLst>
              <p:tags r:id="rId29"/>
            </p:custDataLst>
          </p:nvPr>
        </p:nvSpPr>
        <p:spPr bwMode="auto">
          <a:xfrm>
            <a:off x="502078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262973-DB96-427E-88F9-56C57E4DD6A0}" type="datetime'10'''''''''''''''''''''''''''''''''''''''''''''''''''''''''''">
              <a:rPr lang="ja-JP" altLang="en-US" sz="1000" smtClean="0"/>
              <a:pPr/>
              <a:t>10</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426F5AD4-0B97-4FE9-8903-BF087FF7A5FC}"/>
              </a:ext>
            </a:extLst>
          </p:cNvPr>
          <p:cNvSpPr>
            <a:spLocks noGrp="1"/>
          </p:cNvSpPr>
          <p:nvPr>
            <p:custDataLst>
              <p:tags r:id="rId30"/>
            </p:custDataLst>
          </p:nvPr>
        </p:nvSpPr>
        <p:spPr bwMode="auto">
          <a:xfrm>
            <a:off x="385835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32999A-198F-4191-A94D-6BB00D404D85}" type="datetime'''''''''''''''''''''''0''''''''''''''''''7'''''''">
              <a:rPr lang="ja-JP" altLang="en-US" sz="1000" smtClean="0"/>
              <a:pPr/>
              <a:t>07</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2C9F9EB3-41E0-453C-A888-556BA0713C2C}"/>
              </a:ext>
            </a:extLst>
          </p:cNvPr>
          <p:cNvSpPr>
            <a:spLocks noGrp="1"/>
          </p:cNvSpPr>
          <p:nvPr>
            <p:custDataLst>
              <p:tags r:id="rId31"/>
            </p:custDataLst>
          </p:nvPr>
        </p:nvSpPr>
        <p:spPr bwMode="auto">
          <a:xfrm>
            <a:off x="153349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BA754E-4930-47B2-8535-C6926D1F5064}" type="datetime'0''''''''1'''''''''''''''''''''''''''''''''''''''">
              <a:rPr lang="ja-JP" altLang="en-US" sz="1000" smtClean="0"/>
              <a:pPr/>
              <a:t>01</a:t>
            </a:fld>
            <a:endParaRPr kumimoji="0" lang="ja-JP" altLang="en-US" sz="1000" dirty="0">
              <a:sym typeface="+mn-lt"/>
            </a:endParaRPr>
          </a:p>
        </p:txBody>
      </p:sp>
      <p:sp>
        <p:nvSpPr>
          <p:cNvPr id="102" name="テキスト プレースホルダ 9">
            <a:extLst>
              <a:ext uri="{FF2B5EF4-FFF2-40B4-BE49-F238E27FC236}">
                <a16:creationId xmlns:a16="http://schemas.microsoft.com/office/drawing/2014/main" id="{60A55E02-224A-47CF-B041-985F8CD46D4D}"/>
              </a:ext>
            </a:extLst>
          </p:cNvPr>
          <p:cNvSpPr>
            <a:spLocks noGrp="1"/>
          </p:cNvSpPr>
          <p:nvPr>
            <p:custDataLst>
              <p:tags r:id="rId32"/>
            </p:custDataLst>
          </p:nvPr>
        </p:nvSpPr>
        <p:spPr bwMode="gray">
          <a:xfrm>
            <a:off x="2261449" y="4088659"/>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71</a:t>
            </a:r>
            <a:endParaRPr lang="ja-JP" altLang="en-US" sz="1000" dirty="0">
              <a:sym typeface="+mn-lt"/>
            </a:endParaRPr>
          </a:p>
        </p:txBody>
      </p:sp>
      <p:sp>
        <p:nvSpPr>
          <p:cNvPr id="103" name="テキスト プレースホルダ 9">
            <a:extLst>
              <a:ext uri="{FF2B5EF4-FFF2-40B4-BE49-F238E27FC236}">
                <a16:creationId xmlns:a16="http://schemas.microsoft.com/office/drawing/2014/main" id="{F734BC51-6D4F-4675-A7BB-DD275D944B92}"/>
              </a:ext>
            </a:extLst>
          </p:cNvPr>
          <p:cNvSpPr>
            <a:spLocks noGrp="1"/>
          </p:cNvSpPr>
          <p:nvPr>
            <p:custDataLst>
              <p:tags r:id="rId33"/>
            </p:custDataLst>
          </p:nvPr>
        </p:nvSpPr>
        <p:spPr bwMode="gray">
          <a:xfrm>
            <a:off x="3034781" y="395136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83</a:t>
            </a:r>
            <a:endParaRPr lang="ja-JP" altLang="en-US" sz="1000" dirty="0">
              <a:sym typeface="+mn-lt"/>
            </a:endParaRPr>
          </a:p>
        </p:txBody>
      </p:sp>
      <p:sp>
        <p:nvSpPr>
          <p:cNvPr id="104" name="テキスト プレースホルダ 9">
            <a:extLst>
              <a:ext uri="{FF2B5EF4-FFF2-40B4-BE49-F238E27FC236}">
                <a16:creationId xmlns:a16="http://schemas.microsoft.com/office/drawing/2014/main" id="{19ED2AC2-CC2E-4EB3-9434-16F565AF3D7A}"/>
              </a:ext>
            </a:extLst>
          </p:cNvPr>
          <p:cNvSpPr>
            <a:spLocks noGrp="1"/>
          </p:cNvSpPr>
          <p:nvPr>
            <p:custDataLst>
              <p:tags r:id="rId34"/>
            </p:custDataLst>
          </p:nvPr>
        </p:nvSpPr>
        <p:spPr bwMode="auto">
          <a:xfrm>
            <a:off x="8120602"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854A46-F44B-41BA-BC55-933830BC4EAD}" type="datetime'''''''''''''''''''''''''1''''8'''''''''''''''''''''">
              <a:rPr kumimoji="0" lang="ja-JP" altLang="en-US" sz="1000" smtClean="0"/>
              <a:pPr/>
              <a:t>18</a:t>
            </a:fld>
            <a:endParaRPr kumimoji="0" lang="ja-JP" altLang="en-US" sz="1000" dirty="0">
              <a:sym typeface="+mn-lt"/>
            </a:endParaRPr>
          </a:p>
        </p:txBody>
      </p:sp>
      <p:sp>
        <p:nvSpPr>
          <p:cNvPr id="105" name="テキスト プレースホルダ 9">
            <a:extLst>
              <a:ext uri="{FF2B5EF4-FFF2-40B4-BE49-F238E27FC236}">
                <a16:creationId xmlns:a16="http://schemas.microsoft.com/office/drawing/2014/main" id="{ECDB74CC-15A4-417C-B641-BF57BE9947DC}"/>
              </a:ext>
            </a:extLst>
          </p:cNvPr>
          <p:cNvSpPr>
            <a:spLocks noGrp="1"/>
          </p:cNvSpPr>
          <p:nvPr>
            <p:custDataLst>
              <p:tags r:id="rId35"/>
            </p:custDataLst>
          </p:nvPr>
        </p:nvSpPr>
        <p:spPr bwMode="auto">
          <a:xfrm>
            <a:off x="657069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3F2946-F39C-475D-B864-50CD4C9B723B}" type="datetime'''''''''''''''''''''''''''''1''''''''''''''''''''''4'''''''">
              <a:rPr lang="ja-JP" altLang="en-US" sz="1000" smtClean="0"/>
              <a:pPr/>
              <a:t>14</a:t>
            </a:fld>
            <a:endParaRPr kumimoji="0" lang="ja-JP" altLang="en-US" sz="1000" dirty="0">
              <a:sym typeface="+mn-lt"/>
            </a:endParaRPr>
          </a:p>
        </p:txBody>
      </p:sp>
      <p:sp>
        <p:nvSpPr>
          <p:cNvPr id="106" name="テキスト プレースホルダ 9">
            <a:extLst>
              <a:ext uri="{FF2B5EF4-FFF2-40B4-BE49-F238E27FC236}">
                <a16:creationId xmlns:a16="http://schemas.microsoft.com/office/drawing/2014/main" id="{0FFA91AE-9938-4524-92CE-26BA4927232A}"/>
              </a:ext>
            </a:extLst>
          </p:cNvPr>
          <p:cNvSpPr>
            <a:spLocks noGrp="1"/>
          </p:cNvSpPr>
          <p:nvPr>
            <p:custDataLst>
              <p:tags r:id="rId36"/>
            </p:custDataLst>
          </p:nvPr>
        </p:nvSpPr>
        <p:spPr bwMode="auto">
          <a:xfrm>
            <a:off x="4245832"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DE8F70-23D9-43DA-BEC6-5BF795A8E971}" type="datetime'0''8'''''''''''''''''''''''''''''''''''''''''''''''''">
              <a:rPr lang="ja-JP" altLang="en-US" sz="1000" smtClean="0"/>
              <a:pPr/>
              <a:t>08</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9EFEF58B-71C2-47CA-928E-3AA399BDBCE0}"/>
              </a:ext>
            </a:extLst>
          </p:cNvPr>
          <p:cNvSpPr>
            <a:spLocks noGrp="1"/>
          </p:cNvSpPr>
          <p:nvPr>
            <p:custDataLst>
              <p:tags r:id="rId37"/>
            </p:custDataLst>
          </p:nvPr>
        </p:nvSpPr>
        <p:spPr bwMode="gray">
          <a:xfrm>
            <a:off x="4194779" y="3564632"/>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19</a:t>
            </a:r>
            <a:endParaRPr lang="ja-JP" altLang="en-US" sz="1000" dirty="0">
              <a:sym typeface="+mn-lt"/>
            </a:endParaRPr>
          </a:p>
        </p:txBody>
      </p:sp>
      <p:sp>
        <p:nvSpPr>
          <p:cNvPr id="108" name="テキスト プレースホルダ 9">
            <a:extLst>
              <a:ext uri="{FF2B5EF4-FFF2-40B4-BE49-F238E27FC236}">
                <a16:creationId xmlns:a16="http://schemas.microsoft.com/office/drawing/2014/main" id="{875C2889-EF8A-418D-A684-80A059089FF4}"/>
              </a:ext>
            </a:extLst>
          </p:cNvPr>
          <p:cNvSpPr>
            <a:spLocks noGrp="1"/>
          </p:cNvSpPr>
          <p:nvPr>
            <p:custDataLst>
              <p:tags r:id="rId38"/>
            </p:custDataLst>
          </p:nvPr>
        </p:nvSpPr>
        <p:spPr bwMode="gray">
          <a:xfrm>
            <a:off x="5741443" y="309394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63</a:t>
            </a:r>
            <a:endParaRPr lang="ja-JP" altLang="en-US" sz="1000" dirty="0">
              <a:sym typeface="+mn-lt"/>
            </a:endParaRPr>
          </a:p>
        </p:txBody>
      </p:sp>
      <p:sp>
        <p:nvSpPr>
          <p:cNvPr id="109" name="テキスト プレースホルダ 9">
            <a:extLst>
              <a:ext uri="{FF2B5EF4-FFF2-40B4-BE49-F238E27FC236}">
                <a16:creationId xmlns:a16="http://schemas.microsoft.com/office/drawing/2014/main" id="{C22C5D9E-7674-4517-911A-20B51ECCC680}"/>
              </a:ext>
            </a:extLst>
          </p:cNvPr>
          <p:cNvSpPr>
            <a:spLocks noGrp="1"/>
          </p:cNvSpPr>
          <p:nvPr>
            <p:custDataLst>
              <p:tags r:id="rId39"/>
            </p:custDataLst>
          </p:nvPr>
        </p:nvSpPr>
        <p:spPr bwMode="auto">
          <a:xfrm>
            <a:off x="109061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DB0D19-12FF-4919-B1C7-881FA51A0F17}" type="datetime'''''''''''''''''2''''''''''''''0''''''''''0''''''''''0'''''">
              <a:rPr lang="ja-JP" altLang="en-US" sz="1000" smtClean="0"/>
              <a:pPr/>
              <a:t>2000</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6717353E-ED1D-4993-A1E1-A42E72E2000D}"/>
              </a:ext>
            </a:extLst>
          </p:cNvPr>
          <p:cNvSpPr>
            <a:spLocks noGrp="1"/>
          </p:cNvSpPr>
          <p:nvPr>
            <p:custDataLst>
              <p:tags r:id="rId40"/>
            </p:custDataLst>
          </p:nvPr>
        </p:nvSpPr>
        <p:spPr bwMode="gray">
          <a:xfrm>
            <a:off x="4581445" y="3439232"/>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31</a:t>
            </a:r>
            <a:endParaRPr lang="ja-JP" altLang="en-US" sz="1000" dirty="0">
              <a:sym typeface="+mn-lt"/>
            </a:endParaRPr>
          </a:p>
        </p:txBody>
      </p:sp>
      <p:sp>
        <p:nvSpPr>
          <p:cNvPr id="112" name="テキスト プレースホルダ 9">
            <a:extLst>
              <a:ext uri="{FF2B5EF4-FFF2-40B4-BE49-F238E27FC236}">
                <a16:creationId xmlns:a16="http://schemas.microsoft.com/office/drawing/2014/main" id="{ED227426-0121-4E06-BB85-018146D514F9}"/>
              </a:ext>
            </a:extLst>
          </p:cNvPr>
          <p:cNvSpPr>
            <a:spLocks noGrp="1"/>
          </p:cNvSpPr>
          <p:nvPr>
            <p:custDataLst>
              <p:tags r:id="rId41"/>
            </p:custDataLst>
          </p:nvPr>
        </p:nvSpPr>
        <p:spPr bwMode="auto">
          <a:xfrm>
            <a:off x="347087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201032-5CC0-46F6-9A2C-DA8B9228A4F5}" type="datetime'''''''''''0''''''''''6'''''''''''''">
              <a:rPr lang="ja-JP" altLang="en-US" sz="1000" smtClean="0"/>
              <a:pPr/>
              <a:t>06</a:t>
            </a:fld>
            <a:endParaRPr kumimoji="0" lang="ja-JP" altLang="en-US" sz="1000" dirty="0">
              <a:sym typeface="+mn-lt"/>
            </a:endParaRPr>
          </a:p>
        </p:txBody>
      </p:sp>
      <p:sp>
        <p:nvSpPr>
          <p:cNvPr id="113" name="テキスト プレースホルダ 9">
            <a:extLst>
              <a:ext uri="{FF2B5EF4-FFF2-40B4-BE49-F238E27FC236}">
                <a16:creationId xmlns:a16="http://schemas.microsoft.com/office/drawing/2014/main" id="{C06F0D3F-4582-46F0-8921-1C0B966CCA00}"/>
              </a:ext>
            </a:extLst>
          </p:cNvPr>
          <p:cNvSpPr>
            <a:spLocks noGrp="1"/>
          </p:cNvSpPr>
          <p:nvPr>
            <p:custDataLst>
              <p:tags r:id="rId42"/>
            </p:custDataLst>
          </p:nvPr>
        </p:nvSpPr>
        <p:spPr bwMode="auto">
          <a:xfrm>
            <a:off x="192097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840E65-594F-4342-92E1-F880CC8E8702}" type="datetime'''''''''''0''2'''''''''''">
              <a:rPr lang="ja-JP" altLang="en-US" sz="1000" smtClean="0"/>
              <a:pPr/>
              <a:t>02</a:t>
            </a:fld>
            <a:endParaRPr kumimoji="0" lang="ja-JP" altLang="en-US" sz="1000" dirty="0">
              <a:sym typeface="+mn-lt"/>
            </a:endParaRPr>
          </a:p>
        </p:txBody>
      </p:sp>
      <p:sp>
        <p:nvSpPr>
          <p:cNvPr id="114" name="テキスト プレースホルダ 9">
            <a:extLst>
              <a:ext uri="{FF2B5EF4-FFF2-40B4-BE49-F238E27FC236}">
                <a16:creationId xmlns:a16="http://schemas.microsoft.com/office/drawing/2014/main" id="{49475DC8-329C-4E29-85DF-550505BCFBBD}"/>
              </a:ext>
            </a:extLst>
          </p:cNvPr>
          <p:cNvSpPr>
            <a:spLocks noGrp="1"/>
          </p:cNvSpPr>
          <p:nvPr>
            <p:custDataLst>
              <p:tags r:id="rId43"/>
            </p:custDataLst>
          </p:nvPr>
        </p:nvSpPr>
        <p:spPr bwMode="auto">
          <a:xfrm>
            <a:off x="269592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958561-20EA-4AC8-8E18-329CEFAA3568}" type="datetime'0''''''''''''''''''''''''''''''''''''''''''''''''4'''''''">
              <a:rPr lang="ja-JP" altLang="en-US" sz="1000" smtClean="0"/>
              <a:pPr/>
              <a:t>04</a:t>
            </a:fld>
            <a:endParaRPr kumimoji="0" lang="ja-JP" altLang="en-US" sz="1000" dirty="0">
              <a:sym typeface="+mn-lt"/>
            </a:endParaRPr>
          </a:p>
        </p:txBody>
      </p:sp>
      <p:sp>
        <p:nvSpPr>
          <p:cNvPr id="115" name="テキスト プレースホルダ 9">
            <a:extLst>
              <a:ext uri="{FF2B5EF4-FFF2-40B4-BE49-F238E27FC236}">
                <a16:creationId xmlns:a16="http://schemas.microsoft.com/office/drawing/2014/main" id="{10C08078-7BAF-4F38-8C0C-B5843E4110F8}"/>
              </a:ext>
            </a:extLst>
          </p:cNvPr>
          <p:cNvSpPr>
            <a:spLocks noGrp="1"/>
          </p:cNvSpPr>
          <p:nvPr>
            <p:custDataLst>
              <p:tags r:id="rId44"/>
            </p:custDataLst>
          </p:nvPr>
        </p:nvSpPr>
        <p:spPr bwMode="auto">
          <a:xfrm>
            <a:off x="3083401"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3A7492-6316-48F2-8520-EE10FCB535CB}" type="datetime'''''0''''''''''''''''''''''''5'''''''''''''''''''">
              <a:rPr lang="ja-JP" altLang="en-US" sz="1000" smtClean="0"/>
              <a:pPr/>
              <a:t>05</a:t>
            </a:fld>
            <a:endParaRPr kumimoji="0" lang="ja-JP" altLang="en-US" sz="1000" dirty="0">
              <a:sym typeface="+mn-lt"/>
            </a:endParaRPr>
          </a:p>
        </p:txBody>
      </p:sp>
      <p:sp>
        <p:nvSpPr>
          <p:cNvPr id="116" name="テキスト プレースホルダ 9">
            <a:extLst>
              <a:ext uri="{FF2B5EF4-FFF2-40B4-BE49-F238E27FC236}">
                <a16:creationId xmlns:a16="http://schemas.microsoft.com/office/drawing/2014/main" id="{20D6254B-94D7-4C8F-83DB-C755A5668DFB}"/>
              </a:ext>
            </a:extLst>
          </p:cNvPr>
          <p:cNvSpPr>
            <a:spLocks noGrp="1"/>
          </p:cNvSpPr>
          <p:nvPr>
            <p:custDataLst>
              <p:tags r:id="rId45"/>
            </p:custDataLst>
          </p:nvPr>
        </p:nvSpPr>
        <p:spPr bwMode="auto">
          <a:xfrm>
            <a:off x="463330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94BCC1-1D8C-40DD-91E8-C1A8F292CB8C}" type="datetime'''''''''''''''''''''''''''''''''''''''0''''''''9'''">
              <a:rPr lang="ja-JP" altLang="en-US" sz="1000" smtClean="0"/>
              <a:pPr/>
              <a:t>09</a:t>
            </a:fld>
            <a:endParaRPr kumimoji="0" lang="ja-JP" altLang="en-US" sz="1000" dirty="0">
              <a:sym typeface="+mn-lt"/>
            </a:endParaRPr>
          </a:p>
        </p:txBody>
      </p:sp>
      <p:sp>
        <p:nvSpPr>
          <p:cNvPr id="157" name="テキスト プレースホルダ 9">
            <a:extLst>
              <a:ext uri="{FF2B5EF4-FFF2-40B4-BE49-F238E27FC236}">
                <a16:creationId xmlns:a16="http://schemas.microsoft.com/office/drawing/2014/main" id="{1021CF48-47D6-4414-BAE5-681CBB6D1634}"/>
              </a:ext>
            </a:extLst>
          </p:cNvPr>
          <p:cNvSpPr>
            <a:spLocks noGrp="1"/>
          </p:cNvSpPr>
          <p:nvPr>
            <p:custDataLst>
              <p:tags r:id="rId46"/>
            </p:custDataLst>
          </p:nvPr>
        </p:nvSpPr>
        <p:spPr bwMode="auto">
          <a:xfrm>
            <a:off x="54082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4B0DFD-5E60-4825-9CD5-E051EEE63E3B}" type="datetime'''''1''''''''''''1'''''''''''''''''''''''''''''''">
              <a:rPr lang="ja-JP" altLang="en-US" sz="1000" smtClean="0"/>
              <a:pPr/>
              <a:t>11</a:t>
            </a:fld>
            <a:endParaRPr kumimoji="0" lang="ja-JP" altLang="en-US" sz="1000" dirty="0">
              <a:sym typeface="+mn-lt"/>
            </a:endParaRPr>
          </a:p>
        </p:txBody>
      </p:sp>
      <p:sp>
        <p:nvSpPr>
          <p:cNvPr id="158" name="テキスト プレースホルダ 9">
            <a:extLst>
              <a:ext uri="{FF2B5EF4-FFF2-40B4-BE49-F238E27FC236}">
                <a16:creationId xmlns:a16="http://schemas.microsoft.com/office/drawing/2014/main" id="{1D020D47-1203-42E4-B3A1-255ABD9EEB6F}"/>
              </a:ext>
            </a:extLst>
          </p:cNvPr>
          <p:cNvSpPr>
            <a:spLocks noGrp="1"/>
          </p:cNvSpPr>
          <p:nvPr>
            <p:custDataLst>
              <p:tags r:id="rId47"/>
            </p:custDataLst>
          </p:nvPr>
        </p:nvSpPr>
        <p:spPr bwMode="auto">
          <a:xfrm>
            <a:off x="6183217"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ECC637-B378-47A5-A39B-ADDD097E326F}" type="datetime'''''1''3'''''''''''''''''''''''''''''''''''''''''''''">
              <a:rPr lang="ja-JP" altLang="en-US" sz="1000" smtClean="0"/>
              <a:pPr/>
              <a:t>13</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DEB350D1-3FDC-46F2-BF72-9C4A624C5298}"/>
              </a:ext>
            </a:extLst>
          </p:cNvPr>
          <p:cNvSpPr>
            <a:spLocks noGrp="1"/>
          </p:cNvSpPr>
          <p:nvPr>
            <p:custDataLst>
              <p:tags r:id="rId48"/>
            </p:custDataLst>
          </p:nvPr>
        </p:nvSpPr>
        <p:spPr bwMode="auto">
          <a:xfrm>
            <a:off x="734564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CFEA6D-D082-4B7A-9ABA-F17720B3F14F}" type="datetime'''''''''''''''1''''''''''''''''''''''6'''''''''''">
              <a:rPr kumimoji="0" lang="ja-JP" altLang="en-US" sz="1000" smtClean="0"/>
              <a:pPr/>
              <a:t>16</a:t>
            </a:fld>
            <a:endParaRPr kumimoji="0" lang="ja-JP" altLang="en-US" sz="1000" dirty="0">
              <a:sym typeface="+mn-lt"/>
            </a:endParaRPr>
          </a:p>
        </p:txBody>
      </p:sp>
      <p:sp>
        <p:nvSpPr>
          <p:cNvPr id="160" name="テキスト プレースホルダ 9">
            <a:extLst>
              <a:ext uri="{FF2B5EF4-FFF2-40B4-BE49-F238E27FC236}">
                <a16:creationId xmlns:a16="http://schemas.microsoft.com/office/drawing/2014/main" id="{5AF51AFC-6A34-4B13-B13D-DF6A65C8AC55}"/>
              </a:ext>
            </a:extLst>
          </p:cNvPr>
          <p:cNvSpPr>
            <a:spLocks noGrp="1"/>
          </p:cNvSpPr>
          <p:nvPr>
            <p:custDataLst>
              <p:tags r:id="rId49"/>
            </p:custDataLst>
          </p:nvPr>
        </p:nvSpPr>
        <p:spPr bwMode="auto">
          <a:xfrm>
            <a:off x="77331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BCF02C-510C-4A43-802B-9498DC90E1ED}" type="datetime'''''''''1''''''''''''''''''''''''''''''''''7'''''''">
              <a:rPr kumimoji="0" lang="ja-JP" altLang="en-US" sz="1000" smtClean="0"/>
              <a:pPr/>
              <a:t>17</a:t>
            </a:fld>
            <a:endParaRPr kumimoji="0" lang="ja-JP" altLang="en-US" sz="1000" dirty="0">
              <a:sym typeface="+mn-lt"/>
            </a:endParaRPr>
          </a:p>
        </p:txBody>
      </p:sp>
      <p:sp>
        <p:nvSpPr>
          <p:cNvPr id="161" name="テキスト プレースホルダ 9">
            <a:extLst>
              <a:ext uri="{FF2B5EF4-FFF2-40B4-BE49-F238E27FC236}">
                <a16:creationId xmlns:a16="http://schemas.microsoft.com/office/drawing/2014/main" id="{D9A5C4AC-6A82-49CB-AD32-E0894331983F}"/>
              </a:ext>
            </a:extLst>
          </p:cNvPr>
          <p:cNvSpPr>
            <a:spLocks noGrp="1"/>
          </p:cNvSpPr>
          <p:nvPr>
            <p:custDataLst>
              <p:tags r:id="rId50"/>
            </p:custDataLst>
          </p:nvPr>
        </p:nvSpPr>
        <p:spPr bwMode="auto">
          <a:xfrm>
            <a:off x="8826674"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20</a:t>
            </a:r>
            <a:endParaRPr kumimoji="0" lang="ja-JP" altLang="en-US" sz="1000" dirty="0">
              <a:sym typeface="+mn-lt"/>
            </a:endParaRPr>
          </a:p>
        </p:txBody>
      </p:sp>
      <p:sp>
        <p:nvSpPr>
          <p:cNvPr id="162" name="テキスト プレースホルダ 9">
            <a:extLst>
              <a:ext uri="{FF2B5EF4-FFF2-40B4-BE49-F238E27FC236}">
                <a16:creationId xmlns:a16="http://schemas.microsoft.com/office/drawing/2014/main" id="{1D1D935C-D39D-4538-82FD-3BD58234EBAF}"/>
              </a:ext>
            </a:extLst>
          </p:cNvPr>
          <p:cNvSpPr>
            <a:spLocks noGrp="1"/>
          </p:cNvSpPr>
          <p:nvPr>
            <p:custDataLst>
              <p:tags r:id="rId51"/>
            </p:custDataLst>
          </p:nvPr>
        </p:nvSpPr>
        <p:spPr bwMode="gray">
          <a:xfrm>
            <a:off x="1488117" y="418741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62</a:t>
            </a:r>
            <a:endParaRPr lang="ja-JP" altLang="en-US" sz="1000" dirty="0">
              <a:sym typeface="+mn-lt"/>
            </a:endParaRPr>
          </a:p>
        </p:txBody>
      </p:sp>
      <p:sp>
        <p:nvSpPr>
          <p:cNvPr id="163" name="テキスト プレースホルダ 9">
            <a:extLst>
              <a:ext uri="{FF2B5EF4-FFF2-40B4-BE49-F238E27FC236}">
                <a16:creationId xmlns:a16="http://schemas.microsoft.com/office/drawing/2014/main" id="{566CAF09-81C6-423D-9278-A91FBA09E5D3}"/>
              </a:ext>
            </a:extLst>
          </p:cNvPr>
          <p:cNvSpPr>
            <a:spLocks noGrp="1"/>
          </p:cNvSpPr>
          <p:nvPr>
            <p:custDataLst>
              <p:tags r:id="rId52"/>
            </p:custDataLst>
          </p:nvPr>
        </p:nvSpPr>
        <p:spPr bwMode="gray">
          <a:xfrm>
            <a:off x="1874783" y="42334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58</a:t>
            </a:r>
            <a:endParaRPr lang="ja-JP" altLang="en-US" sz="1000" dirty="0">
              <a:sym typeface="+mn-lt"/>
            </a:endParaRPr>
          </a:p>
        </p:txBody>
      </p:sp>
      <p:sp>
        <p:nvSpPr>
          <p:cNvPr id="164" name="テキスト プレースホルダ 9">
            <a:extLst>
              <a:ext uri="{FF2B5EF4-FFF2-40B4-BE49-F238E27FC236}">
                <a16:creationId xmlns:a16="http://schemas.microsoft.com/office/drawing/2014/main" id="{C46D90DA-FF23-40A6-BC84-151C99281496}"/>
              </a:ext>
            </a:extLst>
          </p:cNvPr>
          <p:cNvSpPr>
            <a:spLocks noGrp="1"/>
          </p:cNvSpPr>
          <p:nvPr>
            <p:custDataLst>
              <p:tags r:id="rId53"/>
            </p:custDataLst>
          </p:nvPr>
        </p:nvSpPr>
        <p:spPr bwMode="gray">
          <a:xfrm>
            <a:off x="2648115" y="4041992"/>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176</a:t>
            </a:r>
            <a:endParaRPr lang="ja-JP" altLang="en-US" sz="1000" dirty="0">
              <a:sym typeface="+mn-lt"/>
            </a:endParaRPr>
          </a:p>
        </p:txBody>
      </p:sp>
      <p:sp>
        <p:nvSpPr>
          <p:cNvPr id="165" name="テキスト プレースホルダ 9">
            <a:extLst>
              <a:ext uri="{FF2B5EF4-FFF2-40B4-BE49-F238E27FC236}">
                <a16:creationId xmlns:a16="http://schemas.microsoft.com/office/drawing/2014/main" id="{121A14E8-D2DA-41C1-A12E-11A962DA4D4B}"/>
              </a:ext>
            </a:extLst>
          </p:cNvPr>
          <p:cNvSpPr>
            <a:spLocks noGrp="1"/>
          </p:cNvSpPr>
          <p:nvPr>
            <p:custDataLst>
              <p:tags r:id="rId54"/>
            </p:custDataLst>
          </p:nvPr>
        </p:nvSpPr>
        <p:spPr bwMode="gray">
          <a:xfrm>
            <a:off x="3808113" y="372867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05</a:t>
            </a:r>
            <a:endParaRPr lang="ja-JP" altLang="en-US" sz="1000" dirty="0">
              <a:sym typeface="+mn-lt"/>
            </a:endParaRPr>
          </a:p>
        </p:txBody>
      </p:sp>
      <p:sp>
        <p:nvSpPr>
          <p:cNvPr id="166" name="テキスト プレースホルダ 9">
            <a:extLst>
              <a:ext uri="{FF2B5EF4-FFF2-40B4-BE49-F238E27FC236}">
                <a16:creationId xmlns:a16="http://schemas.microsoft.com/office/drawing/2014/main" id="{48151155-3CC9-4D03-A79C-DC690111C604}"/>
              </a:ext>
            </a:extLst>
          </p:cNvPr>
          <p:cNvSpPr>
            <a:spLocks noGrp="1"/>
          </p:cNvSpPr>
          <p:nvPr>
            <p:custDataLst>
              <p:tags r:id="rId55"/>
            </p:custDataLst>
          </p:nvPr>
        </p:nvSpPr>
        <p:spPr bwMode="gray">
          <a:xfrm>
            <a:off x="5354777" y="317789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55</a:t>
            </a:r>
            <a:endParaRPr lang="ja-JP" altLang="en-US" sz="1000" dirty="0">
              <a:sym typeface="+mn-lt"/>
            </a:endParaRPr>
          </a:p>
        </p:txBody>
      </p:sp>
      <p:sp>
        <p:nvSpPr>
          <p:cNvPr id="167" name="テキスト プレースホルダ 9">
            <a:extLst>
              <a:ext uri="{FF2B5EF4-FFF2-40B4-BE49-F238E27FC236}">
                <a16:creationId xmlns:a16="http://schemas.microsoft.com/office/drawing/2014/main" id="{2A28011C-4F3D-43F0-BB81-82027BAD9CC5}"/>
              </a:ext>
            </a:extLst>
          </p:cNvPr>
          <p:cNvSpPr>
            <a:spLocks noGrp="1"/>
          </p:cNvSpPr>
          <p:nvPr>
            <p:custDataLst>
              <p:tags r:id="rId56"/>
            </p:custDataLst>
          </p:nvPr>
        </p:nvSpPr>
        <p:spPr bwMode="gray">
          <a:xfrm>
            <a:off x="6128109" y="2996952"/>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73</a:t>
            </a:r>
            <a:endParaRPr lang="ja-JP" altLang="en-US" sz="1000" dirty="0">
              <a:sym typeface="+mn-lt"/>
            </a:endParaRPr>
          </a:p>
        </p:txBody>
      </p:sp>
      <p:sp>
        <p:nvSpPr>
          <p:cNvPr id="168" name="テキスト プレースホルダ 9">
            <a:extLst>
              <a:ext uri="{FF2B5EF4-FFF2-40B4-BE49-F238E27FC236}">
                <a16:creationId xmlns:a16="http://schemas.microsoft.com/office/drawing/2014/main" id="{98F2DE5C-7670-4A85-82C4-81CF9A2D34DA}"/>
              </a:ext>
            </a:extLst>
          </p:cNvPr>
          <p:cNvSpPr>
            <a:spLocks noGrp="1"/>
          </p:cNvSpPr>
          <p:nvPr>
            <p:custDataLst>
              <p:tags r:id="rId57"/>
            </p:custDataLst>
          </p:nvPr>
        </p:nvSpPr>
        <p:spPr bwMode="gray">
          <a:xfrm>
            <a:off x="6901441" y="2923234"/>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79</a:t>
            </a:r>
            <a:endParaRPr lang="ja-JP" altLang="en-US" sz="1000" dirty="0">
              <a:sym typeface="+mn-lt"/>
            </a:endParaRPr>
          </a:p>
        </p:txBody>
      </p:sp>
      <p:sp>
        <p:nvSpPr>
          <p:cNvPr id="169" name="テキスト プレースホルダ 9">
            <a:extLst>
              <a:ext uri="{FF2B5EF4-FFF2-40B4-BE49-F238E27FC236}">
                <a16:creationId xmlns:a16="http://schemas.microsoft.com/office/drawing/2014/main" id="{56B4B59A-E160-4510-981A-28471A0A85BD}"/>
              </a:ext>
            </a:extLst>
          </p:cNvPr>
          <p:cNvSpPr>
            <a:spLocks noGrp="1"/>
          </p:cNvSpPr>
          <p:nvPr>
            <p:custDataLst>
              <p:tags r:id="rId58"/>
            </p:custDataLst>
          </p:nvPr>
        </p:nvSpPr>
        <p:spPr bwMode="gray">
          <a:xfrm>
            <a:off x="7288107" y="288319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82</a:t>
            </a:r>
            <a:endParaRPr lang="ja-JP" altLang="en-US" sz="1000" dirty="0">
              <a:sym typeface="+mn-lt"/>
            </a:endParaRPr>
          </a:p>
        </p:txBody>
      </p:sp>
      <p:sp>
        <p:nvSpPr>
          <p:cNvPr id="170" name="テキスト プレースホルダ 9">
            <a:extLst>
              <a:ext uri="{FF2B5EF4-FFF2-40B4-BE49-F238E27FC236}">
                <a16:creationId xmlns:a16="http://schemas.microsoft.com/office/drawing/2014/main" id="{BE9066D8-00F7-462A-A94A-AFB9D5716716}"/>
              </a:ext>
            </a:extLst>
          </p:cNvPr>
          <p:cNvSpPr>
            <a:spLocks noGrp="1"/>
          </p:cNvSpPr>
          <p:nvPr>
            <p:custDataLst>
              <p:tags r:id="rId59"/>
            </p:custDataLst>
          </p:nvPr>
        </p:nvSpPr>
        <p:spPr bwMode="gray">
          <a:xfrm>
            <a:off x="7674773" y="28965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81</a:t>
            </a:r>
            <a:endParaRPr lang="ja-JP" altLang="en-US" sz="1000" dirty="0">
              <a:sym typeface="+mn-lt"/>
            </a:endParaRPr>
          </a:p>
        </p:txBody>
      </p:sp>
      <p:sp>
        <p:nvSpPr>
          <p:cNvPr id="172" name="テキスト プレースホルダ 9">
            <a:extLst>
              <a:ext uri="{FF2B5EF4-FFF2-40B4-BE49-F238E27FC236}">
                <a16:creationId xmlns:a16="http://schemas.microsoft.com/office/drawing/2014/main" id="{9E9216BA-3464-4D85-B5EF-4E757DBB9CCC}"/>
              </a:ext>
            </a:extLst>
          </p:cNvPr>
          <p:cNvSpPr>
            <a:spLocks noGrp="1"/>
          </p:cNvSpPr>
          <p:nvPr>
            <p:custDataLst>
              <p:tags r:id="rId60"/>
            </p:custDataLst>
          </p:nvPr>
        </p:nvSpPr>
        <p:spPr bwMode="gray">
          <a:xfrm>
            <a:off x="8061439" y="283787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89</a:t>
            </a:r>
            <a:endParaRPr lang="ja-JP" altLang="en-US" sz="1000" dirty="0">
              <a:sym typeface="+mn-lt"/>
            </a:endParaRPr>
          </a:p>
        </p:txBody>
      </p:sp>
      <p:sp>
        <p:nvSpPr>
          <p:cNvPr id="174" name="テキスト プレースホルダ 9">
            <a:extLst>
              <a:ext uri="{FF2B5EF4-FFF2-40B4-BE49-F238E27FC236}">
                <a16:creationId xmlns:a16="http://schemas.microsoft.com/office/drawing/2014/main" id="{BE8B9A7A-49C3-4D81-8F35-3FB5A6973DF2}"/>
              </a:ext>
            </a:extLst>
          </p:cNvPr>
          <p:cNvSpPr>
            <a:spLocks noGrp="1"/>
          </p:cNvSpPr>
          <p:nvPr>
            <p:custDataLst>
              <p:tags r:id="rId61"/>
            </p:custDataLst>
          </p:nvPr>
        </p:nvSpPr>
        <p:spPr bwMode="gray">
          <a:xfrm>
            <a:off x="8834762" y="2827646"/>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88</a:t>
            </a:r>
            <a:endParaRPr lang="ja-JP" altLang="en-US" sz="1000" dirty="0">
              <a:sym typeface="+mn-lt"/>
            </a:endParaRPr>
          </a:p>
        </p:txBody>
      </p:sp>
      <p:sp>
        <p:nvSpPr>
          <p:cNvPr id="176" name="テキスト プレースホルダ 9">
            <a:extLst>
              <a:ext uri="{FF2B5EF4-FFF2-40B4-BE49-F238E27FC236}">
                <a16:creationId xmlns:a16="http://schemas.microsoft.com/office/drawing/2014/main" id="{18586182-2F2B-4605-B831-90E5A88CF96D}"/>
              </a:ext>
            </a:extLst>
          </p:cNvPr>
          <p:cNvSpPr>
            <a:spLocks noGrp="1"/>
          </p:cNvSpPr>
          <p:nvPr>
            <p:custDataLst>
              <p:tags r:id="rId62"/>
            </p:custDataLst>
          </p:nvPr>
        </p:nvSpPr>
        <p:spPr bwMode="auto">
          <a:xfrm>
            <a:off x="85080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t>19</a:t>
            </a:r>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18452611-6ECE-47E4-8419-63F468CC6A13}"/>
              </a:ext>
            </a:extLst>
          </p:cNvPr>
          <p:cNvSpPr>
            <a:spLocks noGrp="1"/>
          </p:cNvSpPr>
          <p:nvPr>
            <p:custDataLst>
              <p:tags r:id="rId63"/>
            </p:custDataLst>
          </p:nvPr>
        </p:nvSpPr>
        <p:spPr bwMode="gray">
          <a:xfrm>
            <a:off x="8448105" y="274229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96</a:t>
            </a:r>
            <a:endParaRPr lang="ja-JP" altLang="en-US" sz="1000" dirty="0">
              <a:sym typeface="+mn-lt"/>
            </a:endParaRPr>
          </a:p>
        </p:txBody>
      </p:sp>
    </p:spTree>
    <p:extLst>
      <p:ext uri="{BB962C8B-B14F-4D97-AF65-F5344CB8AC3E}">
        <p14:creationId xmlns:p14="http://schemas.microsoft.com/office/powerpoint/2010/main" val="2446966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3" name="オブジェクト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26" name="Chart 25">
            <a:extLst>
              <a:ext uri="{FF2B5EF4-FFF2-40B4-BE49-F238E27FC236}">
                <a16:creationId xmlns:a16="http://schemas.microsoft.com/office/drawing/2014/main" id="{3C65A22A-8B4D-4023-BF17-46302A25D15C}"/>
              </a:ext>
            </a:extLst>
          </p:cNvPr>
          <p:cNvGraphicFramePr/>
          <p:nvPr>
            <p:custDataLst>
              <p:tags r:id="rId3"/>
            </p:custDataLst>
            <p:extLst>
              <p:ext uri="{D42A27DB-BD31-4B8C-83A1-F6EECF244321}">
                <p14:modId xmlns:p14="http://schemas.microsoft.com/office/powerpoint/2010/main" val="2228293709"/>
              </p:ext>
            </p:extLst>
          </p:nvPr>
        </p:nvGraphicFramePr>
        <p:xfrm>
          <a:off x="336550" y="2587625"/>
          <a:ext cx="9020175" cy="3603625"/>
        </p:xfrm>
        <a:graphic>
          <a:graphicData uri="http://schemas.openxmlformats.org/drawingml/2006/chart">
            <c:chart xmlns:c="http://schemas.openxmlformats.org/drawingml/2006/chart" xmlns:r="http://schemas.openxmlformats.org/officeDocument/2006/relationships" r:id="rId11"/>
          </a:graphicData>
        </a:graphic>
      </p:graphicFrame>
      <p:sp>
        <p:nvSpPr>
          <p:cNvPr id="40" name="テキスト プレースホルダ 9"/>
          <p:cNvSpPr>
            <a:spLocks noGrp="1"/>
          </p:cNvSpPr>
          <p:nvPr>
            <p:custDataLst>
              <p:tags r:id="rId4"/>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2</a:t>
            </a:r>
            <a:endParaRPr kumimoji="0" lang="ja-JP" altLang="en-US" sz="1000" dirty="0">
              <a:sym typeface="+mn-lt"/>
            </a:endParaRPr>
          </a:p>
        </p:txBody>
      </p:sp>
      <p:sp>
        <p:nvSpPr>
          <p:cNvPr id="38" name="テキスト プレースホルダ 9"/>
          <p:cNvSpPr>
            <a:spLocks noGrp="1"/>
          </p:cNvSpPr>
          <p:nvPr>
            <p:custDataLst>
              <p:tags r:id="rId5"/>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33" name="テキスト プレースホルダ 9"/>
          <p:cNvSpPr>
            <a:spLocks noGrp="1"/>
          </p:cNvSpPr>
          <p:nvPr>
            <p:custDataLst>
              <p:tags r:id="rId6"/>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3</a:t>
            </a:r>
            <a:endParaRPr kumimoji="0" lang="ja-JP" altLang="en-US" sz="1000" dirty="0">
              <a:sym typeface="+mn-lt"/>
            </a:endParaRPr>
          </a:p>
        </p:txBody>
      </p:sp>
      <p:sp>
        <p:nvSpPr>
          <p:cNvPr id="39" name="テキスト プレースホルダ 9"/>
          <p:cNvSpPr>
            <a:spLocks noGrp="1"/>
          </p:cNvSpPr>
          <p:nvPr>
            <p:custDataLst>
              <p:tags r:id="rId7"/>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t>21</a:t>
            </a:r>
            <a:endParaRPr kumimoji="0" lang="ja-JP" altLang="en-US" sz="1000" dirty="0">
              <a:sym typeface="+mn-lt"/>
            </a:endParaRPr>
          </a:p>
        </p:txBody>
      </p:sp>
      <p:grpSp>
        <p:nvGrpSpPr>
          <p:cNvPr id="22" name="グループ化 21"/>
          <p:cNvGrpSpPr/>
          <p:nvPr/>
        </p:nvGrpSpPr>
        <p:grpSpPr>
          <a:xfrm>
            <a:off x="495300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も相まって、景気後退により成長が鈍化している。現地通貨ベースでは増加したものの、南アフリカランドの為替変動によりドルベースでは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948870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360" imgH="360" progId="TCLayout.ActiveDocument.1">
                  <p:embed/>
                </p:oleObj>
              </mc:Choice>
              <mc:Fallback>
                <p:oleObj name="think-cell Slide" r:id="rId45" imgW="360" imgH="360" progId="TCLayout.ActiveDocument.1">
                  <p:embed/>
                  <p:pic>
                    <p:nvPicPr>
                      <p:cNvPr id="4" name="Object 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中国、ドイツであ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21">
            <a:extLst>
              <a:ext uri="{FF2B5EF4-FFF2-40B4-BE49-F238E27FC236}">
                <a16:creationId xmlns:a16="http://schemas.microsoft.com/office/drawing/2014/main" id="{3D6B745C-B895-46CA-8294-61E708FCC469}"/>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graphicFrame>
        <p:nvGraphicFramePr>
          <p:cNvPr id="54" name="Chart 67">
            <a:extLst>
              <a:ext uri="{FF2B5EF4-FFF2-40B4-BE49-F238E27FC236}">
                <a16:creationId xmlns:a16="http://schemas.microsoft.com/office/drawing/2014/main" id="{90D75192-246E-4947-812C-98FCF8EFB113}"/>
              </a:ext>
            </a:extLst>
          </p:cNvPr>
          <p:cNvGraphicFramePr/>
          <p:nvPr>
            <p:custDataLst>
              <p:tags r:id="rId3"/>
            </p:custDataLst>
            <p:extLst>
              <p:ext uri="{D42A27DB-BD31-4B8C-83A1-F6EECF244321}">
                <p14:modId xmlns:p14="http://schemas.microsoft.com/office/powerpoint/2010/main" val="3761294033"/>
              </p:ext>
            </p:extLst>
          </p:nvPr>
        </p:nvGraphicFramePr>
        <p:xfrm>
          <a:off x="425450" y="2698750"/>
          <a:ext cx="5284788" cy="3260725"/>
        </p:xfrm>
        <a:graphic>
          <a:graphicData uri="http://schemas.openxmlformats.org/drawingml/2006/chart">
            <c:chart xmlns:c="http://schemas.openxmlformats.org/drawingml/2006/chart" xmlns:r="http://schemas.openxmlformats.org/officeDocument/2006/relationships" r:id="rId47"/>
          </a:graphicData>
        </a:graphic>
      </p:graphicFrame>
      <p:sp>
        <p:nvSpPr>
          <p:cNvPr id="55" name="テキスト プレースホルダ 9">
            <a:extLst>
              <a:ext uri="{FF2B5EF4-FFF2-40B4-BE49-F238E27FC236}">
                <a16:creationId xmlns:a16="http://schemas.microsoft.com/office/drawing/2014/main" id="{A4D8C988-C2BC-4469-B4D1-5F3E743D86B6}"/>
              </a:ext>
            </a:extLst>
          </p:cNvPr>
          <p:cNvSpPr>
            <a:spLocks noGrp="1"/>
          </p:cNvSpPr>
          <p:nvPr>
            <p:custDataLst>
              <p:tags r:id="rId4"/>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D31318-9DBD-4B9D-BD60-B52C934C84E3}" type="datetime'''''''''''''''''''''''''''0'''''''''''''''''''''''''''''''">
              <a:rPr lang="en-US" altLang="en-US" sz="1000" smtClean="0"/>
              <a:pPr/>
              <a:t>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FF815F7A-CEBC-47D5-A526-1E79CDB067D6}"/>
              </a:ext>
            </a:extLst>
          </p:cNvPr>
          <p:cNvSpPr>
            <a:spLocks noGrp="1"/>
          </p:cNvSpPr>
          <p:nvPr>
            <p:custDataLst>
              <p:tags r:id="rId5"/>
            </p:custDataLst>
          </p:nvPr>
        </p:nvSpPr>
        <p:spPr bwMode="gray">
          <a:xfrm>
            <a:off x="309563" y="4111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35FC974-E4F6-48B0-BE51-2D7058C09773}" type="datetime'6'''''''''''''''''''''">
              <a:rPr lang="en-US" altLang="en-US" sz="1000" smtClean="0"/>
              <a:pPr/>
              <a:t>6</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CF6590B9-8ADB-430E-A636-BA597010D5D6}"/>
              </a:ext>
            </a:extLst>
          </p:cNvPr>
          <p:cNvSpPr>
            <a:spLocks noGrp="1"/>
          </p:cNvSpPr>
          <p:nvPr>
            <p:custDataLst>
              <p:tags r:id="rId6"/>
            </p:custDataLst>
          </p:nvPr>
        </p:nvSpPr>
        <p:spPr bwMode="gray">
          <a:xfrm>
            <a:off x="309563" y="4956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CE54726-3D30-4BD1-A96B-5FA83603C31A}" type="datetime'''''''3'''''''''''''''''''''''''''">
              <a:rPr lang="en-US" altLang="en-US" sz="1000" smtClean="0"/>
              <a:pPr/>
              <a:t>3</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0ED93124-628F-4308-A8E0-330CD30CAF3C}"/>
              </a:ext>
            </a:extLst>
          </p:cNvPr>
          <p:cNvSpPr>
            <a:spLocks noGrp="1"/>
          </p:cNvSpPr>
          <p:nvPr>
            <p:custDataLst>
              <p:tags r:id="rId7"/>
            </p:custDataLst>
          </p:nvPr>
        </p:nvSpPr>
        <p:spPr bwMode="gray">
          <a:xfrm>
            <a:off x="309563" y="5519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6BEED7-DBAF-4BC2-A1B7-725B85942EBD}" type="datetime'''''''''''''''''''''''''''''1'''''''''''''''''">
              <a:rPr lang="en-US" altLang="en-US" sz="1000" smtClean="0"/>
              <a:pPr/>
              <a:t>1</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446BF9CA-EC26-4D8C-9A30-F4AF966EEB46}"/>
              </a:ext>
            </a:extLst>
          </p:cNvPr>
          <p:cNvSpPr>
            <a:spLocks noGrp="1"/>
          </p:cNvSpPr>
          <p:nvPr>
            <p:custDataLst>
              <p:tags r:id="rId8"/>
            </p:custDataLst>
          </p:nvPr>
        </p:nvSpPr>
        <p:spPr bwMode="gray">
          <a:xfrm>
            <a:off x="309563" y="52387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0B3C1B-3BC8-44DC-85A8-AE8211805C22}" type="datetime'''''''''''''''''''''''''''''2'">
              <a:rPr lang="en-US" altLang="en-US" sz="1000" smtClean="0"/>
              <a:pPr/>
              <a:t>2</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6AEC7532-A61B-4F3B-A505-09DB9B12BC67}"/>
              </a:ext>
            </a:extLst>
          </p:cNvPr>
          <p:cNvSpPr>
            <a:spLocks noGrp="1"/>
          </p:cNvSpPr>
          <p:nvPr>
            <p:custDataLst>
              <p:tags r:id="rId9"/>
            </p:custDataLst>
          </p:nvPr>
        </p:nvSpPr>
        <p:spPr bwMode="gray">
          <a:xfrm>
            <a:off x="309563" y="43942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F336FB-A8E3-4A38-A35A-9ABAB1B149E4}" type="datetime'''''''''''''''''''''''''''''''''5'''''''''''''''''''''">
              <a:rPr lang="en-US" altLang="en-US" sz="1000" smtClean="0"/>
              <a:pPr/>
              <a:t>5</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016B0FC0-C035-4273-9F1F-77D1B1899A7D}"/>
              </a:ext>
            </a:extLst>
          </p:cNvPr>
          <p:cNvSpPr>
            <a:spLocks noGrp="1"/>
          </p:cNvSpPr>
          <p:nvPr>
            <p:custDataLst>
              <p:tags r:id="rId10"/>
            </p:custDataLst>
          </p:nvPr>
        </p:nvSpPr>
        <p:spPr bwMode="gray">
          <a:xfrm>
            <a:off x="309563" y="38306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17F3B5-2AFA-430B-AE3C-4C800F9A86E6}" type="datetime'''''''''''7'''''''''''''''''''''''''''''''''''''''''''''''''''">
              <a:rPr lang="en-US" altLang="en-US" sz="1000" smtClean="0"/>
              <a:pPr/>
              <a:t>7</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E32E228E-BE8E-4F92-A838-B96309B79F0A}"/>
              </a:ext>
            </a:extLst>
          </p:cNvPr>
          <p:cNvSpPr>
            <a:spLocks noGrp="1"/>
          </p:cNvSpPr>
          <p:nvPr>
            <p:custDataLst>
              <p:tags r:id="rId11"/>
            </p:custDataLst>
          </p:nvPr>
        </p:nvSpPr>
        <p:spPr bwMode="gray">
          <a:xfrm>
            <a:off x="239713" y="29860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B785EE-3ADF-4423-9210-434370EC97A1}" type="datetime'''''''''''''1''''''''''''''''''''''''''''0'''''''''''''''''">
              <a:rPr lang="en-US" altLang="en-US" sz="1000" smtClean="0"/>
              <a:pPr/>
              <a:t>10</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A5A77054-8C0C-4647-87F2-F16A551FA3FA}"/>
              </a:ext>
            </a:extLst>
          </p:cNvPr>
          <p:cNvSpPr>
            <a:spLocks noGrp="1"/>
          </p:cNvSpPr>
          <p:nvPr>
            <p:custDataLst>
              <p:tags r:id="rId12"/>
            </p:custDataLst>
          </p:nvPr>
        </p:nvSpPr>
        <p:spPr bwMode="gray">
          <a:xfrm>
            <a:off x="309563" y="46751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8FBB56-30C1-4D24-A7EC-F1BD960B1DD6}" type="datetime'''''''''4'''''''''''''''''''''''''''''''''''''''''''''''''''">
              <a:rPr lang="en-US" altLang="en-US" sz="1000" smtClean="0"/>
              <a:pPr/>
              <a:t>4</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206248BD-5621-4C3F-8A02-859E633FDE2D}"/>
              </a:ext>
            </a:extLst>
          </p:cNvPr>
          <p:cNvSpPr>
            <a:spLocks noGrp="1"/>
          </p:cNvSpPr>
          <p:nvPr>
            <p:custDataLst>
              <p:tags r:id="rId13"/>
            </p:custDataLst>
          </p:nvPr>
        </p:nvSpPr>
        <p:spPr bwMode="gray">
          <a:xfrm>
            <a:off x="309563" y="35496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2606B4-EED7-4F6A-9C6E-8DD11BF3A672}" type="datetime'''''''''''''''''''''''8'''''''''''''''''''''''''''">
              <a:rPr lang="en-US" altLang="en-US" sz="1000" smtClean="0"/>
              <a:pPr/>
              <a:t>8</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9BEF1DC4-3519-4E0B-8E40-73CC12DE0362}"/>
              </a:ext>
            </a:extLst>
          </p:cNvPr>
          <p:cNvSpPr>
            <a:spLocks noGrp="1"/>
          </p:cNvSpPr>
          <p:nvPr>
            <p:custDataLst>
              <p:tags r:id="rId14"/>
            </p:custDataLst>
          </p:nvPr>
        </p:nvSpPr>
        <p:spPr bwMode="gray">
          <a:xfrm>
            <a:off x="309563" y="3267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25AAB6-A5BF-4BC0-9128-B0E8DE243202}" type="datetime'''''''''''''''''''''''''''''''''''''''''''''''''''''9'''''">
              <a:rPr lang="en-US" altLang="en-US" sz="1000" smtClean="0"/>
              <a:pPr/>
              <a:t>9</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A7A55FA1-C492-4352-9F96-495A8EA76D32}"/>
              </a:ext>
            </a:extLst>
          </p:cNvPr>
          <p:cNvSpPr>
            <a:spLocks noGrp="1"/>
          </p:cNvSpPr>
          <p:nvPr>
            <p:custDataLst>
              <p:tags r:id="rId15"/>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64305E-F58B-4E16-BBAA-5EC557BD4C9E}" type="datetime'''''''''''''''''''''''''''''''''''''''11'''''''''''">
              <a:rPr lang="en-US" altLang="en-US" sz="1000" smtClean="0"/>
              <a:pPr/>
              <a:t>11</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B0338899-D66A-4F9C-BD44-DB51DF6CCBE6}"/>
              </a:ext>
            </a:extLst>
          </p:cNvPr>
          <p:cNvSpPr>
            <a:spLocks noGrp="1"/>
          </p:cNvSpPr>
          <p:nvPr>
            <p:custDataLst>
              <p:tags r:id="rId16"/>
            </p:custDataLst>
          </p:nvPr>
        </p:nvSpPr>
        <p:spPr bwMode="gray">
          <a:xfrm>
            <a:off x="3789688" y="520321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7DA664-66B6-4785-BF52-61B904B73C1F}" type="datetime'''1''''''.''''8'''''''''''''''''''''''''''''''''''''''''''''''">
              <a:rPr lang="en-US" altLang="en-US" sz="1000" smtClean="0"/>
              <a:pPr/>
              <a:t>1.8</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CC31AE71-E162-421D-926E-96C0BCB3D7E4}"/>
              </a:ext>
            </a:extLst>
          </p:cNvPr>
          <p:cNvSpPr>
            <a:spLocks noGrp="1"/>
          </p:cNvSpPr>
          <p:nvPr>
            <p:custDataLst>
              <p:tags r:id="rId17"/>
            </p:custDataLst>
          </p:nvPr>
        </p:nvSpPr>
        <p:spPr bwMode="auto">
          <a:xfrm>
            <a:off x="4014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1000" dirty="0">
              <a:sym typeface="+mn-lt"/>
            </a:endParaRPr>
          </a:p>
        </p:txBody>
      </p:sp>
      <p:sp>
        <p:nvSpPr>
          <p:cNvPr id="79" name="テキスト プレースホルダ 9">
            <a:extLst>
              <a:ext uri="{FF2B5EF4-FFF2-40B4-BE49-F238E27FC236}">
                <a16:creationId xmlns:a16="http://schemas.microsoft.com/office/drawing/2014/main" id="{FC77B0A6-5B10-4B95-8D2F-B22B4B99D09E}"/>
              </a:ext>
            </a:extLst>
          </p:cNvPr>
          <p:cNvSpPr>
            <a:spLocks noGrp="1"/>
          </p:cNvSpPr>
          <p:nvPr>
            <p:custDataLst>
              <p:tags r:id="rId18"/>
            </p:custDataLst>
          </p:nvPr>
        </p:nvSpPr>
        <p:spPr bwMode="gray">
          <a:xfrm>
            <a:off x="1741813" y="5211147"/>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B8A587-D72D-46A3-B519-3B493FFAF392}" type="datetime'''''''''''''''''''''''''''1''.''''''''''''''''''''8'''''''''">
              <a:rPr lang="en-US" altLang="en-US" sz="1000" smtClean="0"/>
              <a:pPr/>
              <a:t>1.8</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C11A95FB-4B45-430F-9993-EF6B0D2128B5}"/>
              </a:ext>
            </a:extLst>
          </p:cNvPr>
          <p:cNvSpPr>
            <a:spLocks noGrp="1"/>
          </p:cNvSpPr>
          <p:nvPr>
            <p:custDataLst>
              <p:tags r:id="rId19"/>
            </p:custDataLst>
          </p:nvPr>
        </p:nvSpPr>
        <p:spPr bwMode="auto">
          <a:xfrm>
            <a:off x="873125"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18</a:t>
            </a:r>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8EC052BD-289B-4365-9650-3BAEE1465419}"/>
              </a:ext>
            </a:extLst>
          </p:cNvPr>
          <p:cNvSpPr>
            <a:spLocks noGrp="1"/>
          </p:cNvSpPr>
          <p:nvPr>
            <p:custDataLst>
              <p:tags r:id="rId20"/>
            </p:custDataLst>
          </p:nvPr>
        </p:nvSpPr>
        <p:spPr bwMode="auto">
          <a:xfrm>
            <a:off x="1966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t>19</a:t>
            </a:r>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E69DAD83-2867-44D7-B715-F197E75AA099}"/>
              </a:ext>
            </a:extLst>
          </p:cNvPr>
          <p:cNvSpPr>
            <a:spLocks noGrp="1"/>
          </p:cNvSpPr>
          <p:nvPr>
            <p:custDataLst>
              <p:tags r:id="rId21"/>
            </p:custDataLst>
          </p:nvPr>
        </p:nvSpPr>
        <p:spPr bwMode="auto">
          <a:xfrm>
            <a:off x="2990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83" name="テキスト プレースホルダ 9">
            <a:extLst>
              <a:ext uri="{FF2B5EF4-FFF2-40B4-BE49-F238E27FC236}">
                <a16:creationId xmlns:a16="http://schemas.microsoft.com/office/drawing/2014/main" id="{E3B14AB4-86E4-4939-9B93-E2CC47E034AF}"/>
              </a:ext>
            </a:extLst>
          </p:cNvPr>
          <p:cNvSpPr>
            <a:spLocks noGrp="1"/>
          </p:cNvSpPr>
          <p:nvPr>
            <p:custDataLst>
              <p:tags r:id="rId22"/>
            </p:custDataLst>
          </p:nvPr>
        </p:nvSpPr>
        <p:spPr bwMode="gray">
          <a:xfrm>
            <a:off x="2102176" y="2642572"/>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B5AAAA-4C29-4244-9AFD-6A42F5D05CD2}" type="datetime'''''''''''''1''''''''''''''''''0''''''.''9'''''''''">
              <a:rPr lang="en-US" altLang="en-US" sz="1000" smtClean="0"/>
              <a:pPr/>
              <a:t>10.9</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B9B7C644-0CF6-4019-948E-AB9DA0F9B951}"/>
              </a:ext>
            </a:extLst>
          </p:cNvPr>
          <p:cNvSpPr>
            <a:spLocks noGrp="1"/>
          </p:cNvSpPr>
          <p:nvPr>
            <p:custDataLst>
              <p:tags r:id="rId23"/>
            </p:custDataLst>
          </p:nvPr>
        </p:nvSpPr>
        <p:spPr bwMode="auto">
          <a:xfrm>
            <a:off x="50387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1000" dirty="0">
              <a:sym typeface="+mn-lt"/>
            </a:endParaRPr>
          </a:p>
        </p:txBody>
      </p:sp>
      <p:sp>
        <p:nvSpPr>
          <p:cNvPr id="92" name="テキスト プレースホルダ 9">
            <a:extLst>
              <a:ext uri="{FF2B5EF4-FFF2-40B4-BE49-F238E27FC236}">
                <a16:creationId xmlns:a16="http://schemas.microsoft.com/office/drawing/2014/main" id="{5ACBDB16-2915-4F95-8075-45A210E1CAEE}"/>
              </a:ext>
            </a:extLst>
          </p:cNvPr>
          <p:cNvSpPr>
            <a:spLocks noGrp="1"/>
          </p:cNvSpPr>
          <p:nvPr>
            <p:custDataLst>
              <p:tags r:id="rId24"/>
            </p:custDataLst>
          </p:nvPr>
        </p:nvSpPr>
        <p:spPr bwMode="gray">
          <a:xfrm>
            <a:off x="717876" y="523178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42B884-86DA-4C1E-B7F6-B921631FEB6D}" type="datetime'''''''''''1''''''''''.''7'''''''''''''">
              <a:rPr lang="en-US" altLang="en-US" sz="1000" smtClean="0"/>
              <a:pPr/>
              <a:t>1.7</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1DC8D4B3-B289-4BF5-B83D-93483B595D55}"/>
              </a:ext>
            </a:extLst>
          </p:cNvPr>
          <p:cNvSpPr>
            <a:spLocks noGrp="1"/>
          </p:cNvSpPr>
          <p:nvPr>
            <p:custDataLst>
              <p:tags r:id="rId25"/>
            </p:custDataLst>
          </p:nvPr>
        </p:nvSpPr>
        <p:spPr bwMode="gray">
          <a:xfrm>
            <a:off x="1078238" y="271401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D400B3-87F0-4837-AD82-55A91B314711}" type="datetime'''1''''''''''''''''''''''''''''0''''''''''.7'''''''''''''''''">
              <a:rPr lang="en-US" altLang="en-US" sz="1000" smtClean="0"/>
              <a:pPr/>
              <a:t>10.7</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D47209E2-4C95-4BBD-98E9-55BE747D806B}"/>
              </a:ext>
            </a:extLst>
          </p:cNvPr>
          <p:cNvSpPr>
            <a:spLocks noGrp="1"/>
          </p:cNvSpPr>
          <p:nvPr>
            <p:custDataLst>
              <p:tags r:id="rId26"/>
            </p:custDataLst>
          </p:nvPr>
        </p:nvSpPr>
        <p:spPr bwMode="gray">
          <a:xfrm>
            <a:off x="2765751" y="511748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E84F4D-4A4D-4E9E-9DA8-67D3D03AC985}" type="datetime'''''''''2''''''''''''''.''''''''''''''''''''''''''''''1'">
              <a:rPr lang="en-US" altLang="en-US" sz="1000" smtClean="0"/>
              <a:pPr/>
              <a:t>2.1</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98154380-EE73-439C-9F2F-5355D1F880B7}"/>
              </a:ext>
            </a:extLst>
          </p:cNvPr>
          <p:cNvSpPr>
            <a:spLocks noGrp="1"/>
          </p:cNvSpPr>
          <p:nvPr>
            <p:custDataLst>
              <p:tags r:id="rId27"/>
            </p:custDataLst>
          </p:nvPr>
        </p:nvSpPr>
        <p:spPr bwMode="gray">
          <a:xfrm>
            <a:off x="3161038" y="306326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AC162E-8B78-4243-9C9B-B3B54F0A0F84}" type="datetime'9''''''''''''''''''''.''''''''''''''''''''''''''4'''">
              <a:rPr lang="en-US" altLang="en-US" sz="1000" smtClean="0"/>
              <a:pPr/>
              <a:t>9.4</a:t>
            </a:fld>
            <a:endParaRPr lang="ja-JP" altLang="en-US" sz="1000" dirty="0">
              <a:sym typeface="+mn-lt"/>
            </a:endParaRPr>
          </a:p>
        </p:txBody>
      </p:sp>
      <p:sp>
        <p:nvSpPr>
          <p:cNvPr id="96" name="テキスト プレースホルダ 9">
            <a:extLst>
              <a:ext uri="{FF2B5EF4-FFF2-40B4-BE49-F238E27FC236}">
                <a16:creationId xmlns:a16="http://schemas.microsoft.com/office/drawing/2014/main" id="{AE426A03-E4AA-4451-92D2-8895732FA6A4}"/>
              </a:ext>
            </a:extLst>
          </p:cNvPr>
          <p:cNvSpPr>
            <a:spLocks noGrp="1"/>
          </p:cNvSpPr>
          <p:nvPr>
            <p:custDataLst>
              <p:tags r:id="rId28"/>
            </p:custDataLst>
          </p:nvPr>
        </p:nvSpPr>
        <p:spPr bwMode="gray">
          <a:xfrm>
            <a:off x="4150051" y="2753697"/>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E39F52-DDE7-4600-8A28-45FEED835E71}" type="datetime'''''''''1''''''0''''''''''.''''''''''''''''5'''''''''''''">
              <a:rPr lang="en-US" altLang="en-US" sz="1000" smtClean="0"/>
              <a:pPr/>
              <a:t>10.5</a:t>
            </a:fld>
            <a:endParaRPr lang="ja-JP" altLang="en-US" sz="1000" dirty="0">
              <a:sym typeface="+mn-lt"/>
            </a:endParaRPr>
          </a:p>
        </p:txBody>
      </p:sp>
      <p:sp>
        <p:nvSpPr>
          <p:cNvPr id="97" name="Rectangle 18">
            <a:extLst>
              <a:ext uri="{FF2B5EF4-FFF2-40B4-BE49-F238E27FC236}">
                <a16:creationId xmlns:a16="http://schemas.microsoft.com/office/drawing/2014/main" id="{91AA8EF8-7127-4BB1-AF80-12B11F2590E9}"/>
              </a:ext>
            </a:extLst>
          </p:cNvPr>
          <p:cNvSpPr/>
          <p:nvPr>
            <p:custDataLst>
              <p:tags r:id="rId29"/>
            </p:custDataLst>
          </p:nvPr>
        </p:nvSpPr>
        <p:spPr bwMode="gray">
          <a:xfrm>
            <a:off x="1236663" y="6221413"/>
            <a:ext cx="179388" cy="133350"/>
          </a:xfrm>
          <a:prstGeom prst="rect">
            <a:avLst/>
          </a:prstGeom>
          <a:solidFill>
            <a:schemeClr val="accent6">
              <a:lumMod val="40000"/>
              <a:lumOff val="60000"/>
            </a:schemeClr>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Rectangle 24">
            <a:extLst>
              <a:ext uri="{FF2B5EF4-FFF2-40B4-BE49-F238E27FC236}">
                <a16:creationId xmlns:a16="http://schemas.microsoft.com/office/drawing/2014/main" id="{849B99DF-F30D-45FA-9921-0C1D7760D464}"/>
              </a:ext>
            </a:extLst>
          </p:cNvPr>
          <p:cNvSpPr/>
          <p:nvPr>
            <p:custDataLst>
              <p:tags r:id="rId30"/>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テキスト プレースホルダ 9">
            <a:extLst>
              <a:ext uri="{FF2B5EF4-FFF2-40B4-BE49-F238E27FC236}">
                <a16:creationId xmlns:a16="http://schemas.microsoft.com/office/drawing/2014/main" id="{FE1EBE1F-AC59-421E-9A50-0369F4F36964}"/>
              </a:ext>
            </a:extLst>
          </p:cNvPr>
          <p:cNvSpPr>
            <a:spLocks noGrp="1"/>
          </p:cNvSpPr>
          <p:nvPr>
            <p:custDataLst>
              <p:tags r:id="rId31"/>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100" name="テキスト プレースホルダ 9">
            <a:extLst>
              <a:ext uri="{FF2B5EF4-FFF2-40B4-BE49-F238E27FC236}">
                <a16:creationId xmlns:a16="http://schemas.microsoft.com/office/drawing/2014/main" id="{AE5D504F-7083-45C3-A119-A86685E18BE6}"/>
              </a:ext>
            </a:extLst>
          </p:cNvPr>
          <p:cNvSpPr>
            <a:spLocks noGrp="1"/>
          </p:cNvSpPr>
          <p:nvPr>
            <p:custDataLst>
              <p:tags r:id="rId32"/>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101" name="テキスト プレースホルダ 9">
            <a:extLst>
              <a:ext uri="{FF2B5EF4-FFF2-40B4-BE49-F238E27FC236}">
                <a16:creationId xmlns:a16="http://schemas.microsoft.com/office/drawing/2014/main" id="{7A2EF035-0155-4EB6-9792-479A346F5853}"/>
              </a:ext>
            </a:extLst>
          </p:cNvPr>
          <p:cNvSpPr>
            <a:spLocks noGrp="1"/>
          </p:cNvSpPr>
          <p:nvPr>
            <p:custDataLst>
              <p:tags r:id="rId33"/>
            </p:custDataLst>
          </p:nvPr>
        </p:nvSpPr>
        <p:spPr bwMode="gray">
          <a:xfrm>
            <a:off x="4813625" y="5220816"/>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7DA664-66B6-4785-BF52-61B904B73C1F}" type="datetime'''1''''''.''''8'''''''''''''''''''''''''''''''''''''''''''''''">
              <a:rPr lang="en-US" altLang="en-US" sz="1000" smtClean="0"/>
              <a:pPr/>
              <a:t>1.8</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7B88CCDD-DED1-47E8-8BAC-0CE08CD2DB54}"/>
              </a:ext>
            </a:extLst>
          </p:cNvPr>
          <p:cNvSpPr>
            <a:spLocks noGrp="1"/>
          </p:cNvSpPr>
          <p:nvPr>
            <p:custDataLst>
              <p:tags r:id="rId34"/>
            </p:custDataLst>
          </p:nvPr>
        </p:nvSpPr>
        <p:spPr bwMode="gray">
          <a:xfrm>
            <a:off x="5173988" y="267695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dirty="0">
                <a:sym typeface="+mn-lt"/>
              </a:rPr>
              <a:t>10.8</a:t>
            </a:r>
            <a:endParaRPr lang="ja-JP" altLang="en-US" sz="1000" dirty="0">
              <a:sym typeface="+mn-lt"/>
            </a:endParaRPr>
          </a:p>
        </p:txBody>
      </p:sp>
      <p:sp>
        <p:nvSpPr>
          <p:cNvPr id="103" name="テキスト ボックス 102">
            <a:extLst>
              <a:ext uri="{FF2B5EF4-FFF2-40B4-BE49-F238E27FC236}">
                <a16:creationId xmlns:a16="http://schemas.microsoft.com/office/drawing/2014/main" id="{D7DC0A1F-E52E-46E8-8A3C-605A880C1D16}"/>
              </a:ext>
            </a:extLst>
          </p:cNvPr>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05" name="Chart 89">
            <a:extLst>
              <a:ext uri="{FF2B5EF4-FFF2-40B4-BE49-F238E27FC236}">
                <a16:creationId xmlns:a16="http://schemas.microsoft.com/office/drawing/2014/main" id="{12CC7101-5982-46A0-9797-07444AE001A4}"/>
              </a:ext>
            </a:extLst>
          </p:cNvPr>
          <p:cNvGraphicFramePr/>
          <p:nvPr>
            <p:custDataLst>
              <p:tags r:id="rId35"/>
            </p:custDataLst>
            <p:extLst>
              <p:ext uri="{D42A27DB-BD31-4B8C-83A1-F6EECF244321}">
                <p14:modId xmlns:p14="http://schemas.microsoft.com/office/powerpoint/2010/main" val="2048872743"/>
              </p:ext>
            </p:extLst>
          </p:nvPr>
        </p:nvGraphicFramePr>
        <p:xfrm>
          <a:off x="6914824" y="3197644"/>
          <a:ext cx="2498725" cy="2498725"/>
        </p:xfrm>
        <a:graphic>
          <a:graphicData uri="http://schemas.openxmlformats.org/drawingml/2006/chart">
            <c:chart xmlns:c="http://schemas.openxmlformats.org/drawingml/2006/chart" xmlns:r="http://schemas.openxmlformats.org/officeDocument/2006/relationships" r:id="rId48"/>
          </a:graphicData>
        </a:graphic>
      </p:graphicFrame>
      <p:sp>
        <p:nvSpPr>
          <p:cNvPr id="106" name="テキスト プレースホルダ 9">
            <a:extLst>
              <a:ext uri="{FF2B5EF4-FFF2-40B4-BE49-F238E27FC236}">
                <a16:creationId xmlns:a16="http://schemas.microsoft.com/office/drawing/2014/main" id="{8E158EBD-C924-4953-910A-C4498BC0BA41}"/>
              </a:ext>
            </a:extLst>
          </p:cNvPr>
          <p:cNvSpPr>
            <a:spLocks noGrp="1"/>
          </p:cNvSpPr>
          <p:nvPr>
            <p:custDataLst>
              <p:tags r:id="rId36"/>
            </p:custDataLst>
          </p:nvPr>
        </p:nvSpPr>
        <p:spPr bwMode="auto">
          <a:xfrm>
            <a:off x="6901812" y="4998841"/>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6BD778-60F5-49FB-900E-ECA4B87EB126}" type="datetime'日本'''''''''''''''''''''''''''''''''''">
              <a:rPr lang="ja-JP" altLang="en-US" sz="1000" smtClean="0"/>
              <a:pPr/>
              <a:t>日本</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E12279D6-6EE4-471D-A4FC-E4B820188F1D}"/>
              </a:ext>
            </a:extLst>
          </p:cNvPr>
          <p:cNvSpPr>
            <a:spLocks noGrp="1"/>
          </p:cNvSpPr>
          <p:nvPr>
            <p:custDataLst>
              <p:tags r:id="rId37"/>
            </p:custDataLst>
          </p:nvPr>
        </p:nvSpPr>
        <p:spPr bwMode="auto">
          <a:xfrm>
            <a:off x="9115688" y="363710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C3DE07C-1EDB-4D41-91B3-94757E4F4096}" type="datetime'''''''''''''''ア''''''''''''''メ''''リ''''''カ'''''''''''''''">
              <a:rPr lang="ja-JP" altLang="en-US" sz="1000" smtClean="0"/>
              <a:pPr/>
              <a:t>アメリカ</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A4878C4E-958A-43AB-8752-0880B59152DE}"/>
              </a:ext>
            </a:extLst>
          </p:cNvPr>
          <p:cNvSpPr>
            <a:spLocks noGrp="1"/>
          </p:cNvSpPr>
          <p:nvPr>
            <p:custDataLst>
              <p:tags r:id="rId38"/>
            </p:custDataLst>
          </p:nvPr>
        </p:nvSpPr>
        <p:spPr bwMode="auto">
          <a:xfrm>
            <a:off x="8461051" y="5596356"/>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315BCBD-6654-430E-8EE3-E861C7B83ECF}" type="datetime'''''ド''''イ''''''ツ'''''''''''''">
              <a:rPr lang="ja-JP" altLang="en-US" sz="1000" smtClean="0"/>
              <a:pPr/>
              <a:t>ドイツ</a:t>
            </a:fld>
            <a:endParaRPr kumimoji="0" lang="ja-JP" altLang="en-US" sz="1000" dirty="0">
              <a:sym typeface="+mn-lt"/>
            </a:endParaRPr>
          </a:p>
        </p:txBody>
      </p:sp>
      <p:sp>
        <p:nvSpPr>
          <p:cNvPr id="109" name="テキスト プレースホルダ 9">
            <a:extLst>
              <a:ext uri="{FF2B5EF4-FFF2-40B4-BE49-F238E27FC236}">
                <a16:creationId xmlns:a16="http://schemas.microsoft.com/office/drawing/2014/main" id="{30252720-3BD2-4954-919A-6B28D58F595F}"/>
              </a:ext>
            </a:extLst>
          </p:cNvPr>
          <p:cNvSpPr>
            <a:spLocks noGrp="1"/>
          </p:cNvSpPr>
          <p:nvPr>
            <p:custDataLst>
              <p:tags r:id="rId39"/>
            </p:custDataLst>
          </p:nvPr>
        </p:nvSpPr>
        <p:spPr bwMode="auto">
          <a:xfrm>
            <a:off x="7711749" y="5655094"/>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0C06B70-0E1B-4AB0-AE53-8382352E5AE3}" type="datetime'''''''''ス''''''''''''イ''''''''''''''''''''ス'''''">
              <a:rPr lang="ja-JP" altLang="en-US" sz="1000" smtClean="0"/>
              <a:pPr/>
              <a:t>スイス</a:t>
            </a:fld>
            <a:endParaRPr kumimoji="0" lang="ja-JP" altLang="en-US" sz="1000" dirty="0">
              <a:sym typeface="+mn-lt"/>
            </a:endParaRPr>
          </a:p>
        </p:txBody>
      </p:sp>
      <p:sp>
        <p:nvSpPr>
          <p:cNvPr id="110" name="テキスト プレースホルダ 9">
            <a:extLst>
              <a:ext uri="{FF2B5EF4-FFF2-40B4-BE49-F238E27FC236}">
                <a16:creationId xmlns:a16="http://schemas.microsoft.com/office/drawing/2014/main" id="{84C153FD-BDEA-462D-AE57-68DEE71300AB}"/>
              </a:ext>
            </a:extLst>
          </p:cNvPr>
          <p:cNvSpPr>
            <a:spLocks noGrp="1"/>
          </p:cNvSpPr>
          <p:nvPr>
            <p:custDataLst>
              <p:tags r:id="rId40"/>
            </p:custDataLst>
          </p:nvPr>
        </p:nvSpPr>
        <p:spPr bwMode="auto">
          <a:xfrm>
            <a:off x="9191888" y="502741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9C7FCE-27F2-4878-9AC1-440EFF3A5437}" type="datetime'''''''''''''''中''''''''''''''''''''国'''''">
              <a:rPr lang="ja-JP" altLang="en-US" sz="1000" smtClean="0"/>
              <a:pPr/>
              <a:t>中国</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AA31C610-68DB-42AD-96BD-507A24E9DF13}"/>
              </a:ext>
            </a:extLst>
          </p:cNvPr>
          <p:cNvSpPr>
            <a:spLocks noGrp="1"/>
          </p:cNvSpPr>
          <p:nvPr>
            <p:custDataLst>
              <p:tags r:id="rId41"/>
            </p:custDataLst>
          </p:nvPr>
        </p:nvSpPr>
        <p:spPr bwMode="auto">
          <a:xfrm>
            <a:off x="6673524" y="3829469"/>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6F37D3D-2A42-4EFA-A3AD-1ED6A00CB62B}" type="datetime'''''''そ''''''''''''の''''''他'''''''''''''">
              <a:rPr kumimoji="0" lang="ja-JP" altLang="en-US" sz="1000" smtClean="0"/>
              <a:pPr/>
              <a:t>その他</a:t>
            </a:fld>
            <a:endParaRPr kumimoji="0" lang="ja-JP" altLang="en-US" sz="1000" dirty="0">
              <a:sym typeface="+mn-lt"/>
            </a:endParaRPr>
          </a:p>
        </p:txBody>
      </p:sp>
      <p:sp>
        <p:nvSpPr>
          <p:cNvPr id="112" name="テキスト プレースホルダ 9">
            <a:extLst>
              <a:ext uri="{FF2B5EF4-FFF2-40B4-BE49-F238E27FC236}">
                <a16:creationId xmlns:a16="http://schemas.microsoft.com/office/drawing/2014/main" id="{4E4E0998-77CD-4C8D-B202-FDA07BBBCCCB}"/>
              </a:ext>
            </a:extLst>
          </p:cNvPr>
          <p:cNvSpPr>
            <a:spLocks noGrp="1"/>
          </p:cNvSpPr>
          <p:nvPr>
            <p:custDataLst>
              <p:tags r:id="rId42"/>
            </p:custDataLst>
          </p:nvPr>
        </p:nvSpPr>
        <p:spPr bwMode="auto">
          <a:xfrm>
            <a:off x="6901812" y="5279019"/>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1D6E90-C996-42B7-9623-620E3362BBDD}" type="datetime'''''''''''メ''''''''''''''''''''''''''キ''シ''''コ'''''''''''">
              <a:rPr lang="ja-JP" altLang="en-US" sz="1000" smtClean="0"/>
              <a:pPr/>
              <a:t>メキシコ</a:t>
            </a:fld>
            <a:endParaRPr kumimoji="0" lang="ja-JP" altLang="en-US" sz="1000" dirty="0">
              <a:sym typeface="+mn-lt"/>
            </a:endParaRPr>
          </a:p>
        </p:txBody>
      </p:sp>
      <p:sp>
        <p:nvSpPr>
          <p:cNvPr id="114" name="テキスト プレースホルダ 9">
            <a:extLst>
              <a:ext uri="{FF2B5EF4-FFF2-40B4-BE49-F238E27FC236}">
                <a16:creationId xmlns:a16="http://schemas.microsoft.com/office/drawing/2014/main" id="{4050DF39-B5C8-4542-8F52-1960EC0DF553}"/>
              </a:ext>
            </a:extLst>
          </p:cNvPr>
          <p:cNvSpPr>
            <a:spLocks noGrp="1"/>
          </p:cNvSpPr>
          <p:nvPr>
            <p:custDataLst>
              <p:tags r:id="rId43"/>
            </p:custDataLst>
          </p:nvPr>
        </p:nvSpPr>
        <p:spPr bwMode="auto">
          <a:xfrm>
            <a:off x="7174795" y="5463841"/>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アイルランド</a:t>
            </a:r>
          </a:p>
        </p:txBody>
      </p:sp>
    </p:spTree>
    <p:extLst>
      <p:ext uri="{BB962C8B-B14F-4D97-AF65-F5344CB8AC3E}">
        <p14:creationId xmlns:p14="http://schemas.microsoft.com/office/powerpoint/2010/main" val="32434740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nvGraphicFramePr>
        <p:xfrm>
          <a:off x="213190" y="2377245"/>
          <a:ext cx="9577245" cy="3790059"/>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402080">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50491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trnoic</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fric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いう現地法人が存在し、南アフリカおよびサハラ。以南のアフリカにおける公共・民間部門の医療ニーズをサポート。</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アに現地法人「</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BBOTT LABORATORIES SA</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ち、家庭用・医療機関向けの製品を提供。</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は、株式投資を通じてグループビジネスとしている</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ヨハネスブルク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南部アフリカ開発共同体（</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DC</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に全製品群の販売サポート、技術サービス、アプリケーショントレーニングを提供。</a:t>
                      </a: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また、ディストリビューターチャネルも活用し、製品を販売。</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 Boardro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44488" y="20142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36000" y="304712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383062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40314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496360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559632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1381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nvGraphicFramePr>
        <p:xfrm>
          <a:off x="213190" y="2636912"/>
          <a:ext cx="9276314" cy="3147331"/>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子会社</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 MEDICAL SOUTH AFRICA (PTY) LTD</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持つ。</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8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Yuwel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サーチ施設のみ存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グループ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AMRC(South African Medical Research Counci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正式な協力協定を締結し、大規模な全ゲノムシーケンスが可能なアフリカ大陸初の</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最先端研究施設</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設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AMR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3" name="テキスト ボックス 3">
            <a:extLst>
              <a:ext uri="{FF2B5EF4-FFF2-40B4-BE49-F238E27FC236}">
                <a16:creationId xmlns:a16="http://schemas.microsoft.com/office/drawing/2014/main" id="{A366AED9-11B9-4028-8660-1854E63104AB}"/>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Circle: Hollow 13">
            <a:extLst>
              <a:ext uri="{FF2B5EF4-FFF2-40B4-BE49-F238E27FC236}">
                <a16:creationId xmlns:a16="http://schemas.microsoft.com/office/drawing/2014/main" id="{7E486011-56B3-4BD1-A223-C268EDFA6BA2}"/>
              </a:ext>
            </a:extLst>
          </p:cNvPr>
          <p:cNvSpPr/>
          <p:nvPr/>
        </p:nvSpPr>
        <p:spPr>
          <a:xfrm>
            <a:off x="4186351" y="321033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Isosceles Triangle 14">
            <a:extLst>
              <a:ext uri="{FF2B5EF4-FFF2-40B4-BE49-F238E27FC236}">
                <a16:creationId xmlns:a16="http://schemas.microsoft.com/office/drawing/2014/main" id="{771C5004-6E58-4F36-B33A-132370FF9F47}"/>
              </a:ext>
            </a:extLst>
          </p:cNvPr>
          <p:cNvSpPr/>
          <p:nvPr/>
        </p:nvSpPr>
        <p:spPr>
          <a:xfrm>
            <a:off x="4186351" y="5157192"/>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29864664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nvGraphicFramePr>
        <p:xfrm>
          <a:off x="213190" y="2636912"/>
          <a:ext cx="9276314" cy="2842160"/>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2BAEEFB1-1B15-4B50-B8FC-0425E452A6F5}"/>
              </a:ext>
            </a:extLst>
          </p:cNvPr>
          <p:cNvSpPr txBox="1"/>
          <p:nvPr/>
        </p:nvSpPr>
        <p:spPr>
          <a:xfrm>
            <a:off x="200470" y="105697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療機器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外資メーカーは南アフリカに拠点を置き、アフリカ南部・サブサハラを統括している。一方で、中国やインドの医療機器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0165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869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の市場は細分化さ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企業（メーカー・ディストリビューター）で構成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自社ブランドで現地生産を行っている医療機器メーカーは少ないが、政府は今後国内生産を増大したい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4">
            <a:extLst>
              <a:ext uri="{FF2B5EF4-FFF2-40B4-BE49-F238E27FC236}">
                <a16:creationId xmlns:a16="http://schemas.microsoft.com/office/drawing/2014/main" id="{0E8B64A2-771F-4664-8466-DFBE011139C1}"/>
              </a:ext>
            </a:extLst>
          </p:cNvPr>
          <p:cNvGraphicFramePr>
            <a:graphicFrameLocks noGrp="1"/>
          </p:cNvGraphicFramePr>
          <p:nvPr>
            <p:extLst>
              <p:ext uri="{D42A27DB-BD31-4B8C-83A1-F6EECF244321}">
                <p14:modId xmlns:p14="http://schemas.microsoft.com/office/powerpoint/2010/main" val="2662654729"/>
              </p:ext>
            </p:extLst>
          </p:nvPr>
        </p:nvGraphicFramePr>
        <p:xfrm>
          <a:off x="281065" y="1965366"/>
          <a:ext cx="9433047" cy="4435931"/>
        </p:xfrm>
        <a:graphic>
          <a:graphicData uri="http://schemas.openxmlformats.org/drawingml/2006/table">
            <a:tbl>
              <a:tblPr firstRow="1" bandRow="1">
                <a:tableStyleId>{5C22544A-7EE6-4342-B048-85BDC9FD1C3A}</a:tableStyleId>
              </a:tblPr>
              <a:tblGrid>
                <a:gridCol w="1748380">
                  <a:extLst>
                    <a:ext uri="{9D8B030D-6E8A-4147-A177-3AD203B41FA5}">
                      <a16:colId xmlns:a16="http://schemas.microsoft.com/office/drawing/2014/main" val="20001"/>
                    </a:ext>
                  </a:extLst>
                </a:gridCol>
                <a:gridCol w="4660780">
                  <a:extLst>
                    <a:ext uri="{9D8B030D-6E8A-4147-A177-3AD203B41FA5}">
                      <a16:colId xmlns:a16="http://schemas.microsoft.com/office/drawing/2014/main" val="3386509722"/>
                    </a:ext>
                  </a:extLst>
                </a:gridCol>
                <a:gridCol w="685054">
                  <a:extLst>
                    <a:ext uri="{9D8B030D-6E8A-4147-A177-3AD203B41FA5}">
                      <a16:colId xmlns:a16="http://schemas.microsoft.com/office/drawing/2014/main" val="3066340433"/>
                    </a:ext>
                  </a:extLst>
                </a:gridCol>
                <a:gridCol w="685054">
                  <a:extLst>
                    <a:ext uri="{9D8B030D-6E8A-4147-A177-3AD203B41FA5}">
                      <a16:colId xmlns:a16="http://schemas.microsoft.com/office/drawing/2014/main" val="100388107"/>
                    </a:ext>
                  </a:extLst>
                </a:gridCol>
                <a:gridCol w="1653779">
                  <a:extLst>
                    <a:ext uri="{9D8B030D-6E8A-4147-A177-3AD203B41FA5}">
                      <a16:colId xmlns:a16="http://schemas.microsoft.com/office/drawing/2014/main" val="3978453445"/>
                    </a:ext>
                  </a:extLst>
                </a:gridCol>
              </a:tblGrid>
              <a:tr h="194451">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取扱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2">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事業内容</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endParaRPr lang="en-US"/>
                    </a:p>
                  </a:txBody>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所有形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94451">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製造</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販売</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民間</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国有</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外資</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3853554165"/>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Ascendis</a:t>
                      </a:r>
                      <a:r>
                        <a:rPr kumimoji="1" lang="en-US" altLang="ja-JP" sz="1000" kern="1200" dirty="0">
                          <a:solidFill>
                            <a:schemeClr val="dk1"/>
                          </a:solidFill>
                          <a:latin typeface="+mn-lt"/>
                          <a:ea typeface="+mn-ea"/>
                          <a:cs typeface="+mn-cs"/>
                        </a:rPr>
                        <a:t> Health</a:t>
                      </a:r>
                      <a:endParaRPr kumimoji="1" lang="zh-TW" altLang="en-US" sz="1000"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CapeRay</a:t>
                      </a:r>
                      <a:r>
                        <a:rPr kumimoji="1" lang="en-US" altLang="ja-JP" sz="1000" kern="1200" dirty="0">
                          <a:solidFill>
                            <a:schemeClr val="dk1"/>
                          </a:solidFill>
                          <a:latin typeface="+mn-lt"/>
                          <a:ea typeface="+mn-ea"/>
                          <a:cs typeface="+mn-cs"/>
                        </a:rPr>
                        <a:t> Med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乳がん診断用医用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CRPM</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人工装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大学所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Elite Surg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関節形成術、神経および専門的整形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22831578"/>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iMvula</a:t>
                      </a:r>
                      <a:r>
                        <a:rPr kumimoji="1" lang="en-US" altLang="ja-JP" sz="1000" kern="1200" dirty="0">
                          <a:solidFill>
                            <a:schemeClr val="dk1"/>
                          </a:solidFill>
                          <a:latin typeface="+mn-lt"/>
                          <a:ea typeface="+mn-ea"/>
                          <a:cs typeface="+mn-cs"/>
                        </a:rPr>
                        <a:t> Healthcare Logistics</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医療機器、外科手術用機器の物流・倉庫管理</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17069042"/>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Lifeassay</a:t>
                      </a:r>
                      <a:r>
                        <a:rPr kumimoji="1" lang="en-US" altLang="ja-JP" sz="1000" kern="1200" dirty="0">
                          <a:solidFill>
                            <a:schemeClr val="dk1"/>
                          </a:solidFill>
                          <a:latin typeface="+mn-lt"/>
                          <a:ea typeface="+mn-ea"/>
                          <a:cs typeface="+mn-cs"/>
                        </a:rPr>
                        <a:t> Diagnostics</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診断用医療機器</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09739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err="1">
                          <a:solidFill>
                            <a:schemeClr val="dk1"/>
                          </a:solidFill>
                          <a:latin typeface="+mn-lt"/>
                          <a:ea typeface="+mn-ea"/>
                          <a:cs typeface="+mn-cs"/>
                        </a:rPr>
                        <a:t>Lodox</a:t>
                      </a:r>
                      <a:r>
                        <a:rPr kumimoji="1" lang="en-US" altLang="ja-JP" sz="1000" kern="1200" dirty="0">
                          <a:solidFill>
                            <a:schemeClr val="dk1"/>
                          </a:solidFill>
                          <a:latin typeface="+mn-lt"/>
                          <a:ea typeface="+mn-ea"/>
                          <a:cs typeface="+mn-cs"/>
                        </a:rPr>
                        <a:t> Systems</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全身デジタル</a:t>
                      </a:r>
                      <a:r>
                        <a:rPr kumimoji="1" lang="en-US" altLang="ja-JP" sz="1200" kern="1200" dirty="0">
                          <a:solidFill>
                            <a:schemeClr val="dk1"/>
                          </a:solidFill>
                          <a:latin typeface="+mn-lt"/>
                          <a:ea typeface="+mn-ea"/>
                          <a:cs typeface="+mn-cs"/>
                        </a:rPr>
                        <a:t>X</a:t>
                      </a:r>
                      <a:r>
                        <a:rPr kumimoji="1" lang="ja-JP" altLang="en-US" sz="1200" kern="1200" dirty="0">
                          <a:solidFill>
                            <a:schemeClr val="dk1"/>
                          </a:solidFill>
                          <a:latin typeface="+mn-lt"/>
                          <a:ea typeface="+mn-ea"/>
                          <a:cs typeface="+mn-cs"/>
                        </a:rPr>
                        <a:t>線画像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有・民間</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4513391"/>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Minoan Med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循環器・血管外科用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039427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S A Biomedical</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整形外科、脊椎外科、外科手術、血管、泌尿器科、循 環器科用製品</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66839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SSEM Mthembu Medical </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zh-TW" altLang="en-US" sz="1200" kern="1200" dirty="0">
                          <a:solidFill>
                            <a:schemeClr val="dk1"/>
                          </a:solidFill>
                          <a:latin typeface="+mn-lt"/>
                          <a:ea typeface="+mn-ea"/>
                          <a:cs typeface="+mn-cs"/>
                        </a:rPr>
                        <a:t>電気医療機器、医療用消耗品 </a:t>
                      </a: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endParaRPr kumimoji="1" lang="ja-JP" altLang="en-US" sz="12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38444429"/>
                  </a:ext>
                </a:extLst>
              </a:tr>
              <a:tr h="35616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Southern Group</a:t>
                      </a:r>
                      <a:endParaRPr kumimoji="1" lang="ja-JP" altLang="en-US" sz="1000" kern="1200" dirty="0">
                        <a:solidFill>
                          <a:schemeClr val="dk1"/>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歯科用インプラント、人工装具、整形外科用インプラ ン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14000"/>
                        </a:lnSpc>
                        <a:spcBef>
                          <a:spcPts val="0"/>
                        </a:spcBef>
                        <a:spcAft>
                          <a:spcPts val="300"/>
                        </a:spcAft>
                        <a:buClr>
                          <a:srgbClr val="5F8AC3"/>
                        </a:buClr>
                        <a:buSzTx/>
                        <a:buFont typeface="Wingdings" panose="05000000000000000000" pitchFamily="2" charset="2"/>
                        <a:buNone/>
                        <a:tabLst/>
                        <a:defRPr/>
                      </a:pPr>
                      <a:r>
                        <a:rPr kumimoji="1" lang="ja-JP" altLang="en-US" sz="1200" kern="1200" dirty="0">
                          <a:solidFill>
                            <a:schemeClr val="dk1"/>
                          </a:solidFill>
                          <a:latin typeface="+mn-lt"/>
                          <a:ea typeface="+mn-ea"/>
                          <a:cs typeface="+mn-cs"/>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t>民間</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1810340"/>
                  </a:ext>
                </a:extLst>
              </a:tr>
            </a:tbl>
          </a:graphicData>
        </a:graphic>
      </p:graphicFrame>
      <p:sp>
        <p:nvSpPr>
          <p:cNvPr id="11" name="Rectangle 6">
            <a:extLst>
              <a:ext uri="{FF2B5EF4-FFF2-40B4-BE49-F238E27FC236}">
                <a16:creationId xmlns:a16="http://schemas.microsoft.com/office/drawing/2014/main" id="{42201A61-8F11-4C86-92D1-0345DB0ECF8E}"/>
              </a:ext>
            </a:extLst>
          </p:cNvPr>
          <p:cNvSpPr>
            <a:spLocks noChangeArrowheads="1"/>
          </p:cNvSpPr>
          <p:nvPr/>
        </p:nvSpPr>
        <p:spPr bwMode="auto">
          <a:xfrm>
            <a:off x="235298" y="1772816"/>
            <a:ext cx="8352928" cy="270504"/>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南アフリカの主要な現地医療機器企業</a:t>
            </a:r>
          </a:p>
        </p:txBody>
      </p:sp>
    </p:spTree>
    <p:extLst>
      <p:ext uri="{BB962C8B-B14F-4D97-AF65-F5344CB8AC3E}">
        <p14:creationId xmlns:p14="http://schemas.microsoft.com/office/powerpoint/2010/main" val="36792922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31869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5" name="表 4"/>
          <p:cNvGraphicFramePr>
            <a:graphicFrameLocks noGrp="1"/>
          </p:cNvGraphicFramePr>
          <p:nvPr>
            <p:extLst>
              <p:ext uri="{D42A27DB-BD31-4B8C-83A1-F6EECF244321}">
                <p14:modId xmlns:p14="http://schemas.microsoft.com/office/powerpoint/2010/main" val="1997310792"/>
              </p:ext>
            </p:extLst>
          </p:nvPr>
        </p:nvGraphicFramePr>
        <p:xfrm>
          <a:off x="744372" y="2368563"/>
          <a:ext cx="8313083" cy="3638205"/>
        </p:xfrm>
        <a:graphic>
          <a:graphicData uri="http://schemas.openxmlformats.org/drawingml/2006/table">
            <a:tbl>
              <a:tblPr firstRow="1" bandRow="1">
                <a:tableStyleId>{5C22544A-7EE6-4342-B048-85BDC9FD1C3A}</a:tableStyleId>
              </a:tblPr>
              <a:tblGrid>
                <a:gridCol w="1177074">
                  <a:extLst>
                    <a:ext uri="{9D8B030D-6E8A-4147-A177-3AD203B41FA5}">
                      <a16:colId xmlns:a16="http://schemas.microsoft.com/office/drawing/2014/main" val="20001"/>
                    </a:ext>
                  </a:extLst>
                </a:gridCol>
                <a:gridCol w="2138571">
                  <a:extLst>
                    <a:ext uri="{9D8B030D-6E8A-4147-A177-3AD203B41FA5}">
                      <a16:colId xmlns:a16="http://schemas.microsoft.com/office/drawing/2014/main" val="1677872960"/>
                    </a:ext>
                  </a:extLst>
                </a:gridCol>
                <a:gridCol w="1029939">
                  <a:extLst>
                    <a:ext uri="{9D8B030D-6E8A-4147-A177-3AD203B41FA5}">
                      <a16:colId xmlns:a16="http://schemas.microsoft.com/office/drawing/2014/main" val="3661723914"/>
                    </a:ext>
                  </a:extLst>
                </a:gridCol>
                <a:gridCol w="3967499">
                  <a:extLst>
                    <a:ext uri="{9D8B030D-6E8A-4147-A177-3AD203B41FA5}">
                      <a16:colId xmlns:a16="http://schemas.microsoft.com/office/drawing/2014/main" val="3386509722"/>
                    </a:ext>
                  </a:extLst>
                </a:gridCol>
              </a:tblGrid>
              <a:tr h="698953">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日本側の主な出資企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現地法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への</a:t>
                      </a: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進出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事業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3224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オリンパス</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tx1"/>
                          </a:solidFill>
                          <a:latin typeface="+mj-lt"/>
                          <a:ea typeface="+mn-ea"/>
                          <a:cs typeface="Arial" panose="020B0604020202020204" pitchFamily="34" charset="0"/>
                        </a:rPr>
                        <a:t>Olympus MEA FZ-LLC</a:t>
                      </a:r>
                      <a:r>
                        <a:rPr kumimoji="1" lang="ja-JP" altLang="en-US" sz="1000" b="0" kern="1200" dirty="0">
                          <a:solidFill>
                            <a:schemeClr val="tx1"/>
                          </a:solidFill>
                          <a:latin typeface="+mj-lt"/>
                          <a:ea typeface="+mn-ea"/>
                          <a:cs typeface="Arial" panose="020B0604020202020204" pitchFamily="34" charset="0"/>
                        </a:rPr>
                        <a:t>　</a:t>
                      </a:r>
                      <a:r>
                        <a:rPr kumimoji="1" lang="en-US" altLang="ja-JP" sz="1000" b="0" kern="1200" dirty="0">
                          <a:solidFill>
                            <a:schemeClr val="tx1"/>
                          </a:solidFill>
                          <a:latin typeface="+mj-lt"/>
                          <a:ea typeface="+mn-ea"/>
                          <a:cs typeface="Arial" panose="020B0604020202020204" pitchFamily="34" charset="0"/>
                        </a:rPr>
                        <a:t>(UAE)</a:t>
                      </a:r>
                      <a:endParaRPr kumimoji="1" lang="ja-JP" altLang="en-US" sz="1000" b="0" kern="1200" dirty="0">
                        <a:solidFill>
                          <a:schemeClr val="tx1"/>
                        </a:solidFill>
                        <a:latin typeface="+mj-lt"/>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n-ea"/>
                          <a:ea typeface="+mn-ea"/>
                          <a:cs typeface="Arial" panose="020B0604020202020204" pitchFamily="34" charset="0"/>
                        </a:rPr>
                        <a:t>南アでの代理店　</a:t>
                      </a:r>
                      <a:r>
                        <a:rPr kumimoji="1" lang="en-US" altLang="ja-JP" sz="1000" b="0" kern="1200" dirty="0" err="1">
                          <a:solidFill>
                            <a:schemeClr val="tx1"/>
                          </a:solidFill>
                          <a:latin typeface="+mn-ea"/>
                          <a:ea typeface="+mn-ea"/>
                          <a:cs typeface="Arial" panose="020B0604020202020204" pitchFamily="34" charset="0"/>
                        </a:rPr>
                        <a:t>Tudortech</a:t>
                      </a:r>
                      <a:endParaRPr kumimoji="1" lang="en-US" sz="1000" b="0" kern="1200" dirty="0">
                        <a:solidFill>
                          <a:schemeClr val="tx1"/>
                        </a:solidFill>
                        <a:latin typeface="+mn-ea"/>
                        <a:ea typeface="+mn-ea"/>
                        <a:cs typeface="Arial" panose="020B0604020202020204" pitchFamily="34" charset="0"/>
                      </a:endParaRPr>
                    </a:p>
                  </a:txBody>
                  <a:tcPr marL="0" marR="0" marT="0" marB="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不明</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N/A</a:t>
                      </a:r>
                      <a:endParaRPr kumimoji="1" lang="ja-JP"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96893">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ニプロ</a:t>
                      </a:r>
                      <a:endParaRPr kumimoji="1" lang="zh-TW"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0" kern="1200" dirty="0" err="1">
                          <a:solidFill>
                            <a:schemeClr val="tx1"/>
                          </a:solidFill>
                          <a:latin typeface="+mj-lt"/>
                          <a:ea typeface="+mn-ea"/>
                          <a:cs typeface="Arial" panose="020B0604020202020204" pitchFamily="34" charset="0"/>
                        </a:rPr>
                        <a:t>Nipro</a:t>
                      </a:r>
                      <a:r>
                        <a:rPr kumimoji="1" lang="en-US" sz="1000" b="0" kern="1200" dirty="0">
                          <a:solidFill>
                            <a:schemeClr val="tx1"/>
                          </a:solidFill>
                          <a:latin typeface="+mj-lt"/>
                          <a:ea typeface="+mn-ea"/>
                          <a:cs typeface="Arial" panose="020B0604020202020204" pitchFamily="34" charset="0"/>
                        </a:rPr>
                        <a:t> Medical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0" kern="1200" dirty="0">
                          <a:solidFill>
                            <a:schemeClr val="tx1"/>
                          </a:solidFill>
                          <a:latin typeface="+mj-lt"/>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06</a:t>
                      </a:r>
                      <a:r>
                        <a:rPr kumimoji="1" lang="ja-JP" altLang="en-US" sz="1000" kern="1200" dirty="0">
                          <a:solidFill>
                            <a:schemeClr val="dk1"/>
                          </a:solidFill>
                          <a:latin typeface="+mn-ea"/>
                          <a:ea typeface="+mn-ea"/>
                          <a:cs typeface="Arial" panose="020B0604020202020204" pitchFamily="34" charset="0"/>
                        </a:rPr>
                        <a:t>年</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医療機器の販売</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8389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テルモ</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j-lt"/>
                          <a:ea typeface="+mn-ea"/>
                          <a:cs typeface="Arial" panose="020B0604020202020204" pitchFamily="34" charset="0"/>
                        </a:rPr>
                        <a:t>ヨハネスブルク駐在員事務所</a:t>
                      </a:r>
                      <a:endParaRPr kumimoji="1" lang="en-US" sz="10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07</a:t>
                      </a:r>
                      <a:r>
                        <a:rPr kumimoji="1" lang="ja-JP" altLang="en-US" sz="10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先端医療機器および一般消耗品の販売および医療従事者向けのトレーニング</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8389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キヤノンメディカルシステムズ</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mj-lt"/>
                          <a:ea typeface="+mn-ea"/>
                          <a:cs typeface="Arial" panose="020B0604020202020204" pitchFamily="34" charset="0"/>
                        </a:rPr>
                        <a:t>南アでの代理店　</a:t>
                      </a:r>
                      <a:r>
                        <a:rPr kumimoji="1" lang="en-US" altLang="ja-JP" sz="1000" b="0" kern="1200" dirty="0" err="1">
                          <a:solidFill>
                            <a:schemeClr val="tx1"/>
                          </a:solidFill>
                          <a:latin typeface="+mj-lt"/>
                          <a:ea typeface="+mn-ea"/>
                          <a:cs typeface="Arial" panose="020B0604020202020204" pitchFamily="34" charset="0"/>
                        </a:rPr>
                        <a:t>TecmedAfrica</a:t>
                      </a:r>
                      <a:endParaRPr kumimoji="1" lang="en-US" sz="10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N/A</a:t>
                      </a:r>
                      <a:endParaRPr kumimoji="1" lang="ja-JP" altLang="en-US"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9264594"/>
                  </a:ext>
                </a:extLst>
              </a:tr>
              <a:tr h="483891">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シスメックス</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0" kern="1200" dirty="0">
                          <a:solidFill>
                            <a:schemeClr val="tx1"/>
                          </a:solidFill>
                          <a:latin typeface="+mj-lt"/>
                          <a:ea typeface="+mn-ea"/>
                          <a:cs typeface="Arial" panose="020B0604020202020204" pitchFamily="34" charset="0"/>
                        </a:rPr>
                        <a:t>Sysmex South </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0" kern="1200" dirty="0">
                          <a:solidFill>
                            <a:schemeClr val="tx1"/>
                          </a:solidFill>
                          <a:latin typeface="+mj-lt"/>
                          <a:ea typeface="+mn-ea"/>
                          <a:cs typeface="Arial" panose="020B0604020202020204" pitchFamily="34" charset="0"/>
                        </a:rPr>
                        <a:t>Africa (Pty) Ltd.</a:t>
                      </a: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06</a:t>
                      </a:r>
                      <a:r>
                        <a:rPr kumimoji="1" lang="ja-JP" altLang="en-US" sz="1000" kern="1200" dirty="0">
                          <a:solidFill>
                            <a:schemeClr val="dk1"/>
                          </a:solidFill>
                          <a:latin typeface="+mn-ea"/>
                          <a:ea typeface="+mn-ea"/>
                          <a:cs typeface="Arial" panose="020B0604020202020204" pitchFamily="34" charset="0"/>
                        </a:rPr>
                        <a:t>年</a:t>
                      </a:r>
                      <a:endParaRPr kumimoji="1" lang="en-US" altLang="ja-JP" sz="1000" kern="1200" dirty="0">
                        <a:solidFill>
                          <a:schemeClr val="dk1"/>
                        </a:solidFill>
                        <a:latin typeface="+mn-ea"/>
                        <a:ea typeface="+mn-ea"/>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代理店へのサービス・サポー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03813647"/>
                  </a:ext>
                </a:extLst>
              </a:tr>
              <a:tr h="358438">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ea"/>
                          <a:ea typeface="+mn-ea"/>
                          <a:cs typeface="Arial" panose="020B0604020202020204" pitchFamily="34" charset="0"/>
                        </a:rPr>
                        <a:t>島津製作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000" b="0" kern="1200" dirty="0">
                          <a:solidFill>
                            <a:schemeClr val="tx1"/>
                          </a:solidFill>
                          <a:latin typeface="+mj-lt"/>
                          <a:ea typeface="+mn-ea"/>
                          <a:cs typeface="Arial" panose="020B0604020202020204" pitchFamily="34" charset="0"/>
                        </a:rPr>
                        <a:t>Shimadzu</a:t>
                      </a:r>
                      <a:r>
                        <a:rPr kumimoji="1" lang="ja-JP" altLang="en-US" sz="1000" b="0" kern="1200" dirty="0">
                          <a:solidFill>
                            <a:schemeClr val="tx1"/>
                          </a:solidFill>
                          <a:latin typeface="+mj-lt"/>
                          <a:ea typeface="+mn-ea"/>
                          <a:cs typeface="Arial" panose="020B0604020202020204" pitchFamily="34" charset="0"/>
                        </a:rPr>
                        <a:t> </a:t>
                      </a:r>
                      <a:r>
                        <a:rPr kumimoji="1" lang="en-US" altLang="ja-JP" sz="1000" b="0" kern="1200" dirty="0">
                          <a:solidFill>
                            <a:schemeClr val="tx1"/>
                          </a:solidFill>
                          <a:latin typeface="+mj-lt"/>
                          <a:ea typeface="+mn-ea"/>
                          <a:cs typeface="Arial" panose="020B0604020202020204" pitchFamily="34" charset="0"/>
                        </a:rPr>
                        <a:t>South</a:t>
                      </a:r>
                      <a:r>
                        <a:rPr kumimoji="1" lang="ja-JP" altLang="en-US" sz="1000" b="0" kern="1200" dirty="0">
                          <a:solidFill>
                            <a:schemeClr val="tx1"/>
                          </a:solidFill>
                          <a:latin typeface="+mj-lt"/>
                          <a:ea typeface="+mn-ea"/>
                          <a:cs typeface="Arial" panose="020B0604020202020204" pitchFamily="34" charset="0"/>
                        </a:rPr>
                        <a:t> </a:t>
                      </a:r>
                      <a:endParaRPr kumimoji="1" lang="en-US" altLang="ja-JP" sz="1000" b="0" kern="1200" dirty="0">
                        <a:solidFill>
                          <a:schemeClr val="tx1"/>
                        </a:solidFill>
                        <a:latin typeface="+mj-lt"/>
                        <a:ea typeface="+mn-ea"/>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tx1"/>
                          </a:solidFill>
                          <a:latin typeface="+mj-lt"/>
                          <a:ea typeface="+mn-ea"/>
                          <a:cs typeface="Arial" panose="020B0604020202020204" pitchFamily="34" charset="0"/>
                        </a:rPr>
                        <a:t>Africa</a:t>
                      </a:r>
                      <a:r>
                        <a:rPr kumimoji="1" lang="ja-JP" altLang="en-US" sz="1000" b="0" kern="1200" dirty="0">
                          <a:solidFill>
                            <a:schemeClr val="tx1"/>
                          </a:solidFill>
                          <a:latin typeface="+mj-lt"/>
                          <a:ea typeface="+mn-ea"/>
                          <a:cs typeface="Arial" panose="020B0604020202020204" pitchFamily="34" charset="0"/>
                        </a:rPr>
                        <a:t> </a:t>
                      </a:r>
                      <a:r>
                        <a:rPr kumimoji="1" lang="en-US" altLang="ja-JP" sz="1000" b="0" kern="1200" dirty="0">
                          <a:solidFill>
                            <a:schemeClr val="tx1"/>
                          </a:solidFill>
                          <a:latin typeface="+mj-lt"/>
                          <a:ea typeface="+mn-ea"/>
                          <a:cs typeface="Arial" panose="020B0604020202020204" pitchFamily="34" charset="0"/>
                        </a:rPr>
                        <a:t>(Pty) Ltd.</a:t>
                      </a:r>
                      <a:endParaRPr kumimoji="1" lang="en-US" sz="1000" b="0" kern="1200" dirty="0">
                        <a:solidFill>
                          <a:schemeClr val="tx1"/>
                        </a:solidFill>
                        <a:latin typeface="+mj-lt"/>
                        <a:ea typeface="+mn-ea"/>
                        <a:cs typeface="Arial" panose="020B0604020202020204" pitchFamily="34" charset="0"/>
                      </a:endParaRPr>
                    </a:p>
                  </a:txBody>
                  <a:tcPr marL="0" marR="0" marT="0" marB="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ea"/>
                          <a:ea typeface="+mn-ea"/>
                          <a:cs typeface="Arial" panose="020B0604020202020204" pitchFamily="34" charset="0"/>
                        </a:rPr>
                        <a:t>2011</a:t>
                      </a:r>
                      <a:r>
                        <a:rPr kumimoji="1" lang="ja-JP" altLang="en-US" sz="1000" kern="1200" dirty="0">
                          <a:solidFill>
                            <a:schemeClr val="dk1"/>
                          </a:solidFill>
                          <a:latin typeface="+mn-ea"/>
                          <a:ea typeface="+mn-ea"/>
                          <a:cs typeface="Arial" panose="020B0604020202020204" pitchFamily="34" charset="0"/>
                        </a:rPr>
                        <a:t>年</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ja-JP" altLang="en-US" sz="1000" kern="1200" baseline="0" dirty="0">
                          <a:solidFill>
                            <a:schemeClr val="dk1"/>
                          </a:solidFill>
                          <a:latin typeface="+mn-ea"/>
                          <a:ea typeface="+mn-ea"/>
                          <a:cs typeface="Arial" panose="020B0604020202020204" pitchFamily="34" charset="0"/>
                        </a:rPr>
                        <a:t>Ｘ線一般撮影装置などの販売、現地代理店の技術サポー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287547"/>
                  </a:ext>
                </a:extLst>
              </a:tr>
            </a:tbl>
          </a:graphicData>
        </a:graphic>
      </p:graphicFrame>
      <p:sp>
        <p:nvSpPr>
          <p:cNvPr id="6" name="テキスト ボックス 5"/>
          <p:cNvSpPr txBox="1"/>
          <p:nvPr/>
        </p:nvSpPr>
        <p:spPr>
          <a:xfrm>
            <a:off x="128464" y="6366887"/>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extLst>
                    <a:ext uri="{A12FA001-AC4F-418D-AE19-62706E023703}">
                      <ahyp:hlinkClr xmlns:ahyp="http://schemas.microsoft.com/office/drawing/2018/hyperlinkcolor" val="tx"/>
                    </a:ext>
                  </a:extLst>
                </a:hlinkClick>
              </a:rPr>
              <a:t>https://www.kantei.go.jp/jp/singi/kenkouiryou/siryou/pdf/r02_africa_moc.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ja-JP" altLang="en-US" sz="800" dirty="0" bmk=""/>
          </a:p>
        </p:txBody>
      </p:sp>
      <p:sp>
        <p:nvSpPr>
          <p:cNvPr id="12" name="Rectangle 6"/>
          <p:cNvSpPr>
            <a:spLocks noChangeArrowheads="1"/>
          </p:cNvSpPr>
          <p:nvPr/>
        </p:nvSpPr>
        <p:spPr bwMode="auto">
          <a:xfrm>
            <a:off x="235298" y="1785346"/>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日系メーカーの進出状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JETRO</a:t>
            </a:r>
            <a:r>
              <a:rPr lang="ja-JP" altLang="en-US" sz="1400" dirty="0"/>
              <a:t>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時点で</a:t>
            </a:r>
            <a:r>
              <a:rPr lang="en-US" altLang="ja-JP" sz="1400" dirty="0"/>
              <a:t>268</a:t>
            </a:r>
            <a:r>
              <a:rPr lang="ja-JP" altLang="en-US" sz="1400" dirty="0"/>
              <a:t>社。</a:t>
            </a:r>
            <a:endParaRPr lang="en-US" altLang="ja-JP" sz="1400" dirty="0"/>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445013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extLst>
              <p:ext uri="{D42A27DB-BD31-4B8C-83A1-F6EECF244321}">
                <p14:modId xmlns:p14="http://schemas.microsoft.com/office/powerpoint/2010/main" val="73133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40861" y="1079968"/>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医療機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が輸入されており、現地での製造はごくわずかとなっている。製品は多くのディストリビューターを通じて販売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的な医療機器の多くは、民間セクターによって調達される。</a:t>
            </a:r>
          </a:p>
        </p:txBody>
      </p:sp>
      <p:grpSp>
        <p:nvGrpSpPr>
          <p:cNvPr id="8" name="グループ化 7"/>
          <p:cNvGrpSpPr/>
          <p:nvPr/>
        </p:nvGrpSpPr>
        <p:grpSpPr>
          <a:xfrm>
            <a:off x="4989060" y="2348853"/>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36532" y="2348853"/>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165065" y="634939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kumimoji="0" lang="en-US" altLang="ja-JP" sz="800" dirty="0" bmk=""/>
          </a:p>
        </p:txBody>
      </p:sp>
      <p:sp>
        <p:nvSpPr>
          <p:cNvPr id="6" name="TextBox 5">
            <a:extLst>
              <a:ext uri="{FF2B5EF4-FFF2-40B4-BE49-F238E27FC236}">
                <a16:creationId xmlns:a16="http://schemas.microsoft.com/office/drawing/2014/main" id="{FFDD1569-FAAB-4E5E-A759-7AFD70CE72F4}"/>
              </a:ext>
            </a:extLst>
          </p:cNvPr>
          <p:cNvSpPr txBox="1"/>
          <p:nvPr/>
        </p:nvSpPr>
        <p:spPr>
          <a:xfrm>
            <a:off x="4953000" y="2803025"/>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財政管理法（</a:t>
            </a:r>
            <a:r>
              <a:rPr lang="en-US" altLang="ja-JP" sz="1400" dirty="0"/>
              <a:t>PMFA</a:t>
            </a:r>
            <a:r>
              <a:rPr lang="ja-JP" altLang="en-US" sz="1400" dirty="0"/>
              <a:t>）および優先調達法（</a:t>
            </a:r>
            <a:r>
              <a:rPr lang="en-US" altLang="ja-JP" sz="1400" dirty="0"/>
              <a:t>PPPF</a:t>
            </a:r>
            <a:r>
              <a:rPr lang="ja-JP" altLang="en-US" sz="1400" dirty="0"/>
              <a:t>）に基づき、州</a:t>
            </a:r>
            <a:r>
              <a:rPr lang="en-US" altLang="ja-JP" sz="1400" dirty="0"/>
              <a:t>(</a:t>
            </a:r>
            <a:r>
              <a:rPr lang="ja-JP" altLang="en-US" sz="1400" dirty="0"/>
              <a:t>特定機器については中央）の保健省が調達を行っている。</a:t>
            </a:r>
          </a:p>
          <a:p>
            <a:r>
              <a:rPr lang="ja-JP" altLang="en-US" sz="1400" dirty="0"/>
              <a:t>大規模な公立病院の場合は直接の発注もあるが、高額な機器の購入の際には、管轄する州保健省の調達局の監督と承認が必要となる。</a:t>
            </a:r>
            <a:endParaRPr lang="en-US" altLang="ja-JP" sz="1400" dirty="0"/>
          </a:p>
          <a:p>
            <a:r>
              <a:rPr lang="en-US" altLang="ja-JP" sz="1400" dirty="0"/>
              <a:t>B-BBEE</a:t>
            </a:r>
            <a:r>
              <a:rPr lang="ja-JP" altLang="en-US" sz="1400" dirty="0"/>
              <a:t>政策（ブラック・エコノミック・エンパワーメント政策）が取られており、医療機器選定の際の重要な基準ともなっている。要件を満たすためには、</a:t>
            </a:r>
            <a:r>
              <a:rPr lang="en-US" altLang="ja-JP" sz="1400" dirty="0"/>
              <a:t>B-BBEE</a:t>
            </a:r>
            <a:r>
              <a:rPr lang="ja-JP" altLang="en-US" sz="1400" dirty="0"/>
              <a:t>スコアの高いディストリビューターとの提携も有効である。</a:t>
            </a:r>
            <a:endParaRPr lang="en-US" altLang="ja-JP" sz="1400" dirty="0"/>
          </a:p>
        </p:txBody>
      </p:sp>
      <p:sp>
        <p:nvSpPr>
          <p:cNvPr id="47" name="TextBox 46">
            <a:extLst>
              <a:ext uri="{FF2B5EF4-FFF2-40B4-BE49-F238E27FC236}">
                <a16:creationId xmlns:a16="http://schemas.microsoft.com/office/drawing/2014/main" id="{82D59553-AA61-4B91-8BBF-B94B84037879}"/>
              </a:ext>
            </a:extLst>
          </p:cNvPr>
          <p:cNvSpPr txBox="1"/>
          <p:nvPr/>
        </p:nvSpPr>
        <p:spPr>
          <a:xfrm>
            <a:off x="344486" y="2869654"/>
            <a:ext cx="4608510" cy="22252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の調達は、個々の医療機関グループが傘下の病院や診療所などのためにサプライヤーの選定・登録を行っている。</a:t>
            </a:r>
            <a:endParaRPr lang="en-US" altLang="ja-JP" sz="1400" dirty="0"/>
          </a:p>
          <a:p>
            <a:r>
              <a:rPr lang="ja-JP" altLang="en-US" sz="1400" dirty="0"/>
              <a:t>病院は、現地民間保険であるメディカルエイドから資金提供の承認を得たうえで調達する。</a:t>
            </a:r>
          </a:p>
          <a:p>
            <a:r>
              <a:rPr lang="ja-JP" altLang="en-US" sz="1400" dirty="0"/>
              <a:t>医療機器は、多数の小規模ディストリビューター、大規模卸売業者、国際的サプライヤーの現地法人を通じて販売されている。</a:t>
            </a:r>
          </a:p>
          <a:p>
            <a:endParaRPr lang="en-US" sz="1400" dirty="0"/>
          </a:p>
        </p:txBody>
      </p:sp>
    </p:spTree>
    <p:extLst>
      <p:ext uri="{BB962C8B-B14F-4D97-AF65-F5344CB8AC3E}">
        <p14:creationId xmlns:p14="http://schemas.microsoft.com/office/powerpoint/2010/main" val="28440585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13" name="Object 1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257" name="Chart 256">
            <a:extLst>
              <a:ext uri="{FF2B5EF4-FFF2-40B4-BE49-F238E27FC236}">
                <a16:creationId xmlns:a16="http://schemas.microsoft.com/office/drawing/2014/main" id="{5406CCA6-A2F5-498A-B543-B52C1AAE43F3}"/>
              </a:ext>
            </a:extLst>
          </p:cNvPr>
          <p:cNvGraphicFramePr/>
          <p:nvPr>
            <p:custDataLst>
              <p:tags r:id="rId3"/>
            </p:custDataLst>
            <p:extLst>
              <p:ext uri="{D42A27DB-BD31-4B8C-83A1-F6EECF244321}">
                <p14:modId xmlns:p14="http://schemas.microsoft.com/office/powerpoint/2010/main" val="1655067964"/>
              </p:ext>
            </p:extLst>
          </p:nvPr>
        </p:nvGraphicFramePr>
        <p:xfrm>
          <a:off x="215900" y="2251075"/>
          <a:ext cx="8683625" cy="3908425"/>
        </p:xfrm>
        <a:graphic>
          <a:graphicData uri="http://schemas.openxmlformats.org/drawingml/2006/chart">
            <c:chart xmlns:c="http://schemas.openxmlformats.org/drawingml/2006/chart" xmlns:r="http://schemas.openxmlformats.org/officeDocument/2006/relationships" r:id="rId14"/>
          </a:graphicData>
        </a:graphic>
      </p:graphicFrame>
      <p:sp useBgFill="1">
        <p:nvSpPr>
          <p:cNvPr id="182" name="テキスト プレースホルダ 9">
            <a:extLst>
              <a:ext uri="{FF2B5EF4-FFF2-40B4-BE49-F238E27FC236}">
                <a16:creationId xmlns:a16="http://schemas.microsoft.com/office/drawing/2014/main" id="{F9852706-A47C-4115-AC88-C7F2E11E43C8}"/>
              </a:ext>
            </a:extLst>
          </p:cNvPr>
          <p:cNvSpPr>
            <a:spLocks noGrp="1"/>
          </p:cNvSpPr>
          <p:nvPr>
            <p:custDataLst>
              <p:tags r:id="rId4"/>
            </p:custDataLst>
          </p:nvPr>
        </p:nvSpPr>
        <p:spPr bwMode="gray">
          <a:xfrm>
            <a:off x="3378200" y="3625850"/>
            <a:ext cx="27940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667305-9F9C-4575-AC85-04931F5ADD70}" type="datetime'''''''''1''''1''''''''''''''''.''''''1'''''''''''''''''''''">
              <a:rPr lang="en-US" altLang="en-US" sz="1000" smtClean="0">
                <a:effectLst/>
                <a:sym typeface="+mn-lt"/>
              </a:rPr>
              <a:pPr marL="0" indent="0">
                <a:spcBef>
                  <a:spcPct val="0"/>
                </a:spcBef>
                <a:buNone/>
              </a:pPr>
              <a:t>11.1</a:t>
            </a:fld>
            <a:endParaRPr lang="ja-JP" altLang="en-US" sz="1000" dirty="0">
              <a:sym typeface="+mn-lt"/>
            </a:endParaRPr>
          </a:p>
        </p:txBody>
      </p:sp>
      <p:sp>
        <p:nvSpPr>
          <p:cNvPr id="25" name="テキスト プレースホルダ 9"/>
          <p:cNvSpPr>
            <a:spLocks noGrp="1"/>
          </p:cNvSpPr>
          <p:nvPr>
            <p:custDataLst>
              <p:tags r:id="rId5"/>
            </p:custDataLst>
          </p:nvPr>
        </p:nvSpPr>
        <p:spPr bwMode="auto">
          <a:xfrm>
            <a:off x="307975" y="20351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p:nvSpPr>
          <p:cNvPr id="56" name="テキスト プレースホルダ 9">
            <a:extLst>
              <a:ext uri="{FF2B5EF4-FFF2-40B4-BE49-F238E27FC236}">
                <a16:creationId xmlns:a16="http://schemas.microsoft.com/office/drawing/2014/main" id="{E2E9ED07-D545-487B-AA58-AA3FCA191A1B}"/>
              </a:ext>
            </a:extLst>
          </p:cNvPr>
          <p:cNvSpPr>
            <a:spLocks noGrp="1"/>
          </p:cNvSpPr>
          <p:nvPr>
            <p:custDataLst>
              <p:tags r:id="rId6"/>
            </p:custDataLst>
          </p:nvPr>
        </p:nvSpPr>
        <p:spPr bwMode="auto">
          <a:xfrm>
            <a:off x="8842375" y="3129632"/>
            <a:ext cx="615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1C776D-FFB7-4C4B-A4F3-203D20776C6E}" type="datetime'''''ジ''''ェネ''''''''''リ''''ッ''''''''''''''ク'''''">
              <a:rPr lang="ja-JP" altLang="en-US" sz="1000" smtClean="0"/>
              <a:pPr/>
              <a:t>ジェネリック</a:t>
            </a:fld>
            <a:endParaRPr lang="ja-JP" altLang="en-US" sz="1000" dirty="0">
              <a:sym typeface="+mn-lt"/>
            </a:endParaRPr>
          </a:p>
        </p:txBody>
      </p:sp>
      <p:sp useBgFill="1">
        <p:nvSpPr>
          <p:cNvPr id="181" name="テキスト プレースホルダ 9">
            <a:extLst>
              <a:ext uri="{FF2B5EF4-FFF2-40B4-BE49-F238E27FC236}">
                <a16:creationId xmlns:a16="http://schemas.microsoft.com/office/drawing/2014/main" id="{183FD298-5CF7-40E9-89C8-CA34F0754D5F}"/>
              </a:ext>
            </a:extLst>
          </p:cNvPr>
          <p:cNvSpPr>
            <a:spLocks noGrp="1"/>
          </p:cNvSpPr>
          <p:nvPr>
            <p:custDataLst>
              <p:tags r:id="rId7"/>
            </p:custDataLst>
          </p:nvPr>
        </p:nvSpPr>
        <p:spPr bwMode="gray">
          <a:xfrm>
            <a:off x="671513" y="3332163"/>
            <a:ext cx="27940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295D423-2291-4686-9435-ACD29988E1E9}" type="datetime'''''''1''2''''''''''''''''''''.6'''''">
              <a:rPr lang="en-US" altLang="en-US" sz="1000" smtClean="0">
                <a:effectLst/>
                <a:sym typeface="+mn-lt"/>
              </a:rPr>
              <a:pPr marL="0" indent="0">
                <a:spcBef>
                  <a:spcPct val="0"/>
                </a:spcBef>
                <a:buNone/>
              </a:pPr>
              <a:t>12.6</a:t>
            </a:fld>
            <a:endParaRPr lang="ja-JP" altLang="en-US" sz="1000" dirty="0">
              <a:sym typeface="+mn-lt"/>
            </a:endParaRPr>
          </a:p>
        </p:txBody>
      </p:sp>
      <p:sp useBgFill="1">
        <p:nvSpPr>
          <p:cNvPr id="183" name="テキスト プレースホルダ 9">
            <a:extLst>
              <a:ext uri="{FF2B5EF4-FFF2-40B4-BE49-F238E27FC236}">
                <a16:creationId xmlns:a16="http://schemas.microsoft.com/office/drawing/2014/main" id="{1031FBD4-C31A-4C6E-93EE-A749051DAD29}"/>
              </a:ext>
            </a:extLst>
          </p:cNvPr>
          <p:cNvSpPr>
            <a:spLocks noGrp="1"/>
          </p:cNvSpPr>
          <p:nvPr>
            <p:custDataLst>
              <p:tags r:id="rId8"/>
            </p:custDataLst>
          </p:nvPr>
        </p:nvSpPr>
        <p:spPr bwMode="gray">
          <a:xfrm>
            <a:off x="6086475" y="3449638"/>
            <a:ext cx="27940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9CC4F0-2D5F-4056-AB0A-A04AEAB67B23}" type="datetime'''''''1''2''''''.''''''''''''''''''0'''''''">
              <a:rPr lang="en-US" altLang="en-US" sz="1000" smtClean="0">
                <a:effectLst/>
                <a:sym typeface="+mn-lt"/>
              </a:rPr>
              <a:pPr marL="0" indent="0">
                <a:spcBef>
                  <a:spcPct val="0"/>
                </a:spcBef>
                <a:buNone/>
              </a:pPr>
              <a:t>12.0</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54C84138-E2C1-4287-9D40-CA7883DAF093}"/>
              </a:ext>
            </a:extLst>
          </p:cNvPr>
          <p:cNvSpPr>
            <a:spLocks noGrp="1"/>
          </p:cNvSpPr>
          <p:nvPr>
            <p:custDataLst>
              <p:tags r:id="rId9"/>
            </p:custDataLst>
          </p:nvPr>
        </p:nvSpPr>
        <p:spPr bwMode="auto">
          <a:xfrm>
            <a:off x="8842375" y="5133975"/>
            <a:ext cx="268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D6901FC-B88E-4124-9525-FCDC9E593BC9}" type="datetime'''''''O''''T''''''''''''''''''''''''''''''''''''''''''''C'">
              <a:rPr lang="en-US" altLang="en-US" sz="1000" smtClean="0"/>
              <a:pPr/>
              <a:t>OTC</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7CF92358-9DF1-498A-AF2A-E23B609F1FB6}"/>
              </a:ext>
            </a:extLst>
          </p:cNvPr>
          <p:cNvSpPr>
            <a:spLocks noGrp="1"/>
          </p:cNvSpPr>
          <p:nvPr>
            <p:custDataLst>
              <p:tags r:id="rId10"/>
            </p:custDataLst>
          </p:nvPr>
        </p:nvSpPr>
        <p:spPr bwMode="auto">
          <a:xfrm>
            <a:off x="8842375" y="2684463"/>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193CBF-6AAE-4C5B-980A-C753550DBC03}" type="datetime'''''''''''''''特''''''''''''''''''許''''''薬'''''''''">
              <a:rPr lang="ja-JP" altLang="en-US" sz="1000" smtClean="0"/>
              <a:pPr/>
              <a:t>特許薬</a:t>
            </a:fld>
            <a:endParaRPr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00808"/>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0" name="グループ化 8"/>
          <p:cNvGrpSpPr/>
          <p:nvPr/>
        </p:nvGrpSpPr>
        <p:grpSpPr>
          <a:xfrm>
            <a:off x="4694059" y="2348880"/>
            <a:ext cx="4340584" cy="4085379"/>
            <a:chOff x="4257040" y="2300288"/>
            <a:chExt cx="4512310" cy="4109191"/>
          </a:xfrm>
        </p:grpSpPr>
        <p:sp>
          <p:nvSpPr>
            <p:cNvPr id="31" name="フリーフォーム 19"/>
            <p:cNvSpPr/>
            <p:nvPr/>
          </p:nvSpPr>
          <p:spPr>
            <a:xfrm>
              <a:off x="4257040" y="2300288"/>
              <a:ext cx="4512310" cy="39926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は、サハラ以南のアフリカで最大の医薬品市場である。医薬品総支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除く）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推定されている。</a:t>
            </a:r>
          </a:p>
        </p:txBody>
      </p:sp>
    </p:spTree>
    <p:extLst>
      <p:ext uri="{BB962C8B-B14F-4D97-AF65-F5344CB8AC3E}">
        <p14:creationId xmlns:p14="http://schemas.microsoft.com/office/powerpoint/2010/main" val="16658981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360" imgH="360" progId="TCLayout.ActiveDocument.1">
                  <p:embed/>
                </p:oleObj>
              </mc:Choice>
              <mc:Fallback>
                <p:oleObj name="think-cell Slide" r:id="rId38" imgW="360" imgH="360" progId="TCLayout.ActiveDocument.1">
                  <p:embed/>
                  <p:pic>
                    <p:nvPicPr>
                      <p:cNvPr id="4" name="Object 3"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2</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highlight>
                  <a:srgbClr val="FFFF00"/>
                </a:highlight>
                <a:latin typeface="Arial Black" pitchFamily="34" charset="0"/>
                <a:ea typeface="HGP創英角ｺﾞｼｯｸUB" pitchFamily="50" charset="-128"/>
              </a:endParaRPr>
            </a:p>
          </p:txBody>
        </p:sp>
      </p:grpSp>
      <p:sp>
        <p:nvSpPr>
          <p:cNvPr id="56" name="テキスト ボックス 18"/>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
            </p:custDataLst>
          </p:nvPr>
        </p:nvSpPr>
        <p:spPr bwMode="auto">
          <a:xfrm>
            <a:off x="6554787" y="404476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4"/>
            </p:custDataLst>
          </p:nvPr>
        </p:nvSpPr>
        <p:spPr bwMode="auto">
          <a:xfrm>
            <a:off x="8956675" y="34512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B08106-B154-4CB3-B04B-C261FF0B2FB9}" type="datetime'''''''イン''''''''''''''''''''''''''''''''''ド'">
              <a:rPr lang="ja-JP" altLang="en-US" sz="1000" smtClean="0"/>
              <a:pPr/>
              <a:t>インド</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5"/>
            </p:custDataLst>
          </p:nvPr>
        </p:nvSpPr>
        <p:spPr bwMode="auto">
          <a:xfrm>
            <a:off x="9471025" y="46164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FD3BE8D-478A-46C7-8C26-92EE22CE0122}" type="datetime'''''''''''''''''''''''''ド''''''''イ''ツ'">
              <a:rPr lang="ja-JP" altLang="en-US" sz="1000" smtClean="0"/>
              <a:pPr/>
              <a:t>ドイツ</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6"/>
            </p:custDataLst>
          </p:nvPr>
        </p:nvSpPr>
        <p:spPr bwMode="auto">
          <a:xfrm>
            <a:off x="6876805" y="5557116"/>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F758C14-FA52-4F6E-B28C-6D3286E3D165}" type="datetime'''''''''''''''''''''''''''アイ''''''''''ル''ラ''''''''ン''''ド'''">
              <a:rPr lang="ja-JP" altLang="en-US" sz="1000" smtClean="0"/>
              <a:pPr/>
              <a:t>アイルランド</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7"/>
            </p:custDataLst>
          </p:nvPr>
        </p:nvSpPr>
        <p:spPr bwMode="auto">
          <a:xfrm>
            <a:off x="8894762" y="5503733"/>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675B5D-78EB-4141-BB0E-9592D4219244}"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8"/>
            </p:custDataLst>
          </p:nvPr>
        </p:nvSpPr>
        <p:spPr bwMode="auto">
          <a:xfrm>
            <a:off x="8036575" y="5733256"/>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27EEA4-D17A-4D64-8E92-B581D09F05C2}" type="datetime'''''''''''''''アメ''''''''''リ''''''''''''''''カ'''''''''''">
              <a:rPr lang="ja-JP" altLang="en-US" sz="1000" smtClean="0"/>
              <a:pPr/>
              <a:t>アメリカ</a:t>
            </a:fld>
            <a:endParaRPr kumimoji="0" lang="ja-JP" altLang="en-US" sz="1000" dirty="0">
              <a:sym typeface="+mn-lt"/>
            </a:endParaRPr>
          </a:p>
        </p:txBody>
      </p:sp>
      <p:sp>
        <p:nvSpPr>
          <p:cNvPr id="66" name="テキスト ボックス 21">
            <a:extLst>
              <a:ext uri="{FF2B5EF4-FFF2-40B4-BE49-F238E27FC236}">
                <a16:creationId xmlns:a16="http://schemas.microsoft.com/office/drawing/2014/main" id="{FA1D3885-5109-4FD1-A3B5-4FF1CDDBEC2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graphicFrame>
        <p:nvGraphicFramePr>
          <p:cNvPr id="7" name="Chart 64">
            <a:extLst>
              <a:ext uri="{FF2B5EF4-FFF2-40B4-BE49-F238E27FC236}">
                <a16:creationId xmlns:a16="http://schemas.microsoft.com/office/drawing/2014/main" id="{C4D48CCD-9846-5A26-AE22-98B3BF5F5449}"/>
              </a:ext>
            </a:extLst>
          </p:cNvPr>
          <p:cNvGraphicFramePr/>
          <p:nvPr>
            <p:custDataLst>
              <p:tags r:id="rId9"/>
            </p:custDataLst>
            <p:extLst>
              <p:ext uri="{D42A27DB-BD31-4B8C-83A1-F6EECF244321}">
                <p14:modId xmlns:p14="http://schemas.microsoft.com/office/powerpoint/2010/main" val="4005951070"/>
              </p:ext>
            </p:extLst>
          </p:nvPr>
        </p:nvGraphicFramePr>
        <p:xfrm>
          <a:off x="6926262" y="3262313"/>
          <a:ext cx="2514600" cy="2498725"/>
        </p:xfrm>
        <a:graphic>
          <a:graphicData uri="http://schemas.openxmlformats.org/drawingml/2006/chart">
            <c:chart xmlns:c="http://schemas.openxmlformats.org/drawingml/2006/chart" xmlns:r="http://schemas.openxmlformats.org/officeDocument/2006/relationships" r:id="rId40"/>
          </a:graphicData>
        </a:graphic>
      </p:graphicFrame>
      <p:sp>
        <p:nvSpPr>
          <p:cNvPr id="53" name="Rectangle 8">
            <a:extLst>
              <a:ext uri="{FF2B5EF4-FFF2-40B4-BE49-F238E27FC236}">
                <a16:creationId xmlns:a16="http://schemas.microsoft.com/office/drawing/2014/main" id="{7FC4A8D8-5B33-427B-A0CD-460D72E318E6}"/>
              </a:ext>
            </a:extLst>
          </p:cNvPr>
          <p:cNvSpPr/>
          <p:nvPr>
            <p:custDataLst>
              <p:tags r:id="rId10"/>
            </p:custDataLst>
          </p:nvPr>
        </p:nvSpPr>
        <p:spPr bwMode="gray">
          <a:xfrm>
            <a:off x="5319067" y="6322169"/>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Rectangle 7">
            <a:extLst>
              <a:ext uri="{FF2B5EF4-FFF2-40B4-BE49-F238E27FC236}">
                <a16:creationId xmlns:a16="http://schemas.microsoft.com/office/drawing/2014/main" id="{660F218B-0344-4F18-ABDF-BF1EB3A21B35}"/>
              </a:ext>
            </a:extLst>
          </p:cNvPr>
          <p:cNvSpPr/>
          <p:nvPr>
            <p:custDataLst>
              <p:tags r:id="rId11"/>
            </p:custDataLst>
          </p:nvPr>
        </p:nvSpPr>
        <p:spPr bwMode="gray">
          <a:xfrm>
            <a:off x="4733280" y="6322169"/>
            <a:ext cx="179388" cy="133350"/>
          </a:xfrm>
          <a:prstGeom prst="rect">
            <a:avLst/>
          </a:prstGeom>
          <a:solidFill>
            <a:schemeClr val="accent6">
              <a:lumMod val="40000"/>
              <a:lumOff val="60000"/>
            </a:schemeClr>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a:extLst>
              <a:ext uri="{FF2B5EF4-FFF2-40B4-BE49-F238E27FC236}">
                <a16:creationId xmlns:a16="http://schemas.microsoft.com/office/drawing/2014/main" id="{D04CEE22-0F38-4C36-AA5B-1C4577E61A07}"/>
              </a:ext>
            </a:extLst>
          </p:cNvPr>
          <p:cNvSpPr>
            <a:spLocks noGrp="1"/>
          </p:cNvSpPr>
          <p:nvPr>
            <p:custDataLst>
              <p:tags r:id="rId12"/>
            </p:custDataLst>
          </p:nvPr>
        </p:nvSpPr>
        <p:spPr bwMode="auto">
          <a:xfrm>
            <a:off x="5549255" y="6317407"/>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E785639E-03F2-43A2-B350-F20E1610E12D}"/>
              </a:ext>
            </a:extLst>
          </p:cNvPr>
          <p:cNvSpPr>
            <a:spLocks noGrp="1"/>
          </p:cNvSpPr>
          <p:nvPr>
            <p:custDataLst>
              <p:tags r:id="rId13"/>
            </p:custDataLst>
          </p:nvPr>
        </p:nvSpPr>
        <p:spPr bwMode="auto">
          <a:xfrm>
            <a:off x="4963467" y="6317407"/>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graphicFrame>
        <p:nvGraphicFramePr>
          <p:cNvPr id="60" name="Chart 47">
            <a:extLst>
              <a:ext uri="{FF2B5EF4-FFF2-40B4-BE49-F238E27FC236}">
                <a16:creationId xmlns:a16="http://schemas.microsoft.com/office/drawing/2014/main" id="{65793B9E-08B4-490D-AB0E-F9E0EE8A9843}"/>
              </a:ext>
            </a:extLst>
          </p:cNvPr>
          <p:cNvGraphicFramePr/>
          <p:nvPr>
            <p:custDataLst>
              <p:tags r:id="rId14"/>
            </p:custDataLst>
            <p:extLst>
              <p:ext uri="{D42A27DB-BD31-4B8C-83A1-F6EECF244321}">
                <p14:modId xmlns:p14="http://schemas.microsoft.com/office/powerpoint/2010/main" val="4042615233"/>
              </p:ext>
            </p:extLst>
          </p:nvPr>
        </p:nvGraphicFramePr>
        <p:xfrm>
          <a:off x="687244" y="2480955"/>
          <a:ext cx="5318125" cy="3557588"/>
        </p:xfrm>
        <a:graphic>
          <a:graphicData uri="http://schemas.openxmlformats.org/drawingml/2006/chart">
            <c:chart xmlns:c="http://schemas.openxmlformats.org/drawingml/2006/chart" xmlns:r="http://schemas.openxmlformats.org/officeDocument/2006/relationships" r:id="rId41"/>
          </a:graphicData>
        </a:graphic>
      </p:graphicFrame>
      <p:sp>
        <p:nvSpPr>
          <p:cNvPr id="61" name="テキスト プレースホルダ 9">
            <a:extLst>
              <a:ext uri="{FF2B5EF4-FFF2-40B4-BE49-F238E27FC236}">
                <a16:creationId xmlns:a16="http://schemas.microsoft.com/office/drawing/2014/main" id="{7A9872E4-0492-4446-9727-88417A106A03}"/>
              </a:ext>
            </a:extLst>
          </p:cNvPr>
          <p:cNvSpPr>
            <a:spLocks noGrp="1"/>
          </p:cNvSpPr>
          <p:nvPr>
            <p:custDataLst>
              <p:tags r:id="rId15"/>
            </p:custDataLst>
          </p:nvPr>
        </p:nvSpPr>
        <p:spPr bwMode="gray">
          <a:xfrm>
            <a:off x="501507" y="255398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16A476D-594D-471A-A434-9C14E5010A28}" type="datetime'''''''3''''''''''''''''''''''0'''''">
              <a:rPr lang="en-US" altLang="en-US" sz="1000" smtClean="0"/>
              <a:pPr/>
              <a:t>30</a:t>
            </a:fld>
            <a:endParaRPr lang="ja-JP" altLang="en-US" sz="800" dirty="0">
              <a:sym typeface="+mn-lt"/>
            </a:endParaRPr>
          </a:p>
        </p:txBody>
      </p:sp>
      <p:sp>
        <p:nvSpPr>
          <p:cNvPr id="62" name="テキスト プレースホルダ 9">
            <a:extLst>
              <a:ext uri="{FF2B5EF4-FFF2-40B4-BE49-F238E27FC236}">
                <a16:creationId xmlns:a16="http://schemas.microsoft.com/office/drawing/2014/main" id="{8549B07C-ABC9-4229-8AE5-BF2AC8CF5777}"/>
              </a:ext>
            </a:extLst>
          </p:cNvPr>
          <p:cNvSpPr>
            <a:spLocks noGrp="1"/>
          </p:cNvSpPr>
          <p:nvPr>
            <p:custDataLst>
              <p:tags r:id="rId16"/>
            </p:custDataLst>
          </p:nvPr>
        </p:nvSpPr>
        <p:spPr bwMode="gray">
          <a:xfrm>
            <a:off x="571357" y="587979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74ECF50-9D48-4821-995F-B2EDAF66A911}" type="datetime'''''''''''''''''''''''''''''''''''''''''''0'''''''''''">
              <a:rPr lang="en-US" altLang="en-US" sz="1000" smtClean="0"/>
              <a:pPr/>
              <a:t>0</a:t>
            </a:fld>
            <a:endParaRPr lang="ja-JP" altLang="en-US" sz="800" dirty="0">
              <a:sym typeface="+mn-lt"/>
            </a:endParaRPr>
          </a:p>
        </p:txBody>
      </p:sp>
      <p:sp>
        <p:nvSpPr>
          <p:cNvPr id="63" name="テキスト プレースホルダ 9">
            <a:extLst>
              <a:ext uri="{FF2B5EF4-FFF2-40B4-BE49-F238E27FC236}">
                <a16:creationId xmlns:a16="http://schemas.microsoft.com/office/drawing/2014/main" id="{6EAD0F6C-28C4-4BFA-8B1E-4C65E7D432ED}"/>
              </a:ext>
            </a:extLst>
          </p:cNvPr>
          <p:cNvSpPr>
            <a:spLocks noGrp="1"/>
          </p:cNvSpPr>
          <p:nvPr>
            <p:custDataLst>
              <p:tags r:id="rId17"/>
            </p:custDataLst>
          </p:nvPr>
        </p:nvSpPr>
        <p:spPr bwMode="gray">
          <a:xfrm>
            <a:off x="571357" y="532575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B87ABB1-937F-42A9-9092-97E36E00D49F}" type="datetime'''''''''5'''''''''''''''''''''''''''''''''''''''''''''''''''">
              <a:rPr lang="en-US" altLang="en-US" sz="1000" smtClean="0"/>
              <a:pPr/>
              <a:t>5</a:t>
            </a:fld>
            <a:endParaRPr lang="ja-JP" altLang="en-US" sz="800" dirty="0">
              <a:sym typeface="+mn-lt"/>
            </a:endParaRPr>
          </a:p>
        </p:txBody>
      </p:sp>
      <p:sp>
        <p:nvSpPr>
          <p:cNvPr id="64" name="テキスト プレースホルダ 9">
            <a:extLst>
              <a:ext uri="{FF2B5EF4-FFF2-40B4-BE49-F238E27FC236}">
                <a16:creationId xmlns:a16="http://schemas.microsoft.com/office/drawing/2014/main" id="{13BA5CE8-3897-4D19-855C-BD65B09A21FD}"/>
              </a:ext>
            </a:extLst>
          </p:cNvPr>
          <p:cNvSpPr>
            <a:spLocks noGrp="1"/>
          </p:cNvSpPr>
          <p:nvPr>
            <p:custDataLst>
              <p:tags r:id="rId18"/>
            </p:custDataLst>
          </p:nvPr>
        </p:nvSpPr>
        <p:spPr bwMode="gray">
          <a:xfrm>
            <a:off x="501507" y="477171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B5CDB10-0D00-43C9-9BCD-C3176718A7AD}" type="datetime'''''''1''''''''''''''0'''''''''''''''">
              <a:rPr lang="en-US" altLang="en-US" sz="1000" smtClean="0"/>
              <a:pPr/>
              <a:t>10</a:t>
            </a:fld>
            <a:endParaRPr lang="ja-JP" altLang="en-US" sz="800" dirty="0">
              <a:sym typeface="+mn-lt"/>
            </a:endParaRPr>
          </a:p>
        </p:txBody>
      </p:sp>
      <p:sp>
        <p:nvSpPr>
          <p:cNvPr id="65" name="テキスト プレースホルダ 9">
            <a:extLst>
              <a:ext uri="{FF2B5EF4-FFF2-40B4-BE49-F238E27FC236}">
                <a16:creationId xmlns:a16="http://schemas.microsoft.com/office/drawing/2014/main" id="{798E2CF9-FB29-46EA-BD63-18FCC91EC9FC}"/>
              </a:ext>
            </a:extLst>
          </p:cNvPr>
          <p:cNvSpPr>
            <a:spLocks noGrp="1"/>
          </p:cNvSpPr>
          <p:nvPr>
            <p:custDataLst>
              <p:tags r:id="rId19"/>
            </p:custDataLst>
          </p:nvPr>
        </p:nvSpPr>
        <p:spPr bwMode="gray">
          <a:xfrm>
            <a:off x="501507" y="366364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326623CC-9080-44CC-88B2-F4A0C148BC24}" type="datetime'''''''''''''''''''''20'''''''''''''''''''''''''''">
              <a:rPr lang="en-US" altLang="en-US" sz="1000" smtClean="0"/>
              <a:pPr/>
              <a:t>20</a:t>
            </a:fld>
            <a:endParaRPr lang="ja-JP" altLang="en-US" sz="800" dirty="0">
              <a:sym typeface="+mn-lt"/>
            </a:endParaRPr>
          </a:p>
        </p:txBody>
      </p:sp>
      <p:sp>
        <p:nvSpPr>
          <p:cNvPr id="67" name="テキスト プレースホルダ 9">
            <a:extLst>
              <a:ext uri="{FF2B5EF4-FFF2-40B4-BE49-F238E27FC236}">
                <a16:creationId xmlns:a16="http://schemas.microsoft.com/office/drawing/2014/main" id="{CD48BEB8-2C29-4B9E-9746-FC0776B32265}"/>
              </a:ext>
            </a:extLst>
          </p:cNvPr>
          <p:cNvSpPr>
            <a:spLocks noGrp="1"/>
          </p:cNvSpPr>
          <p:nvPr>
            <p:custDataLst>
              <p:tags r:id="rId20"/>
            </p:custDataLst>
          </p:nvPr>
        </p:nvSpPr>
        <p:spPr bwMode="gray">
          <a:xfrm>
            <a:off x="501507" y="421768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B8DE67A-196C-4AFE-B497-E377ECD2153D}" type="datetime'''''''''''''''1''5'''''''''''''''''''''''''''''">
              <a:rPr lang="en-US" altLang="en-US" sz="1000" smtClean="0"/>
              <a:pPr/>
              <a:t>15</a:t>
            </a:fld>
            <a:endParaRPr lang="ja-JP" altLang="en-US" sz="800" dirty="0">
              <a:sym typeface="+mn-lt"/>
            </a:endParaRPr>
          </a:p>
        </p:txBody>
      </p:sp>
      <p:sp>
        <p:nvSpPr>
          <p:cNvPr id="68" name="テキスト プレースホルダ 9">
            <a:extLst>
              <a:ext uri="{FF2B5EF4-FFF2-40B4-BE49-F238E27FC236}">
                <a16:creationId xmlns:a16="http://schemas.microsoft.com/office/drawing/2014/main" id="{C119A847-723B-4E54-B191-281ACA7E8DCB}"/>
              </a:ext>
            </a:extLst>
          </p:cNvPr>
          <p:cNvSpPr>
            <a:spLocks noGrp="1"/>
          </p:cNvSpPr>
          <p:nvPr>
            <p:custDataLst>
              <p:tags r:id="rId21"/>
            </p:custDataLst>
          </p:nvPr>
        </p:nvSpPr>
        <p:spPr bwMode="gray">
          <a:xfrm>
            <a:off x="501507" y="310801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CF74DB3-630F-40BD-B1C4-740C8DA837D3}" type="datetime'''''''''''''2''''''''5'''''''''''''''''''''''''''''''''''''''">
              <a:rPr lang="en-US" altLang="en-US" sz="1000" smtClean="0"/>
              <a:pPr/>
              <a:t>25</a:t>
            </a:fld>
            <a:endParaRPr lang="ja-JP" altLang="en-US" sz="800" dirty="0">
              <a:sym typeface="+mn-lt"/>
            </a:endParaRPr>
          </a:p>
        </p:txBody>
      </p:sp>
      <p:sp>
        <p:nvSpPr>
          <p:cNvPr id="69" name="テキスト プレースホルダ 9">
            <a:extLst>
              <a:ext uri="{FF2B5EF4-FFF2-40B4-BE49-F238E27FC236}">
                <a16:creationId xmlns:a16="http://schemas.microsoft.com/office/drawing/2014/main" id="{51A29E59-368F-4A7D-B141-41F08ECDEF75}"/>
              </a:ext>
            </a:extLst>
          </p:cNvPr>
          <p:cNvSpPr>
            <a:spLocks noGrp="1"/>
          </p:cNvSpPr>
          <p:nvPr>
            <p:custDataLst>
              <p:tags r:id="rId22"/>
            </p:custDataLst>
          </p:nvPr>
        </p:nvSpPr>
        <p:spPr bwMode="gray">
          <a:xfrm>
            <a:off x="5468794" y="2952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5.3</a:t>
            </a:r>
            <a:endParaRPr lang="ja-JP" altLang="en-US" sz="800" dirty="0">
              <a:sym typeface="+mn-lt"/>
            </a:endParaRPr>
          </a:p>
        </p:txBody>
      </p:sp>
      <p:sp>
        <p:nvSpPr>
          <p:cNvPr id="70" name="テキスト プレースホルダ 9">
            <a:extLst>
              <a:ext uri="{FF2B5EF4-FFF2-40B4-BE49-F238E27FC236}">
                <a16:creationId xmlns:a16="http://schemas.microsoft.com/office/drawing/2014/main" id="{3617A73F-0EC3-4C9C-8ED5-2710C5E0766A}"/>
              </a:ext>
            </a:extLst>
          </p:cNvPr>
          <p:cNvSpPr>
            <a:spLocks noGrp="1"/>
          </p:cNvSpPr>
          <p:nvPr>
            <p:custDataLst>
              <p:tags r:id="rId23"/>
            </p:custDataLst>
          </p:nvPr>
        </p:nvSpPr>
        <p:spPr bwMode="gray">
          <a:xfrm>
            <a:off x="4069825" y="497021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7.5</a:t>
            </a:r>
            <a:endParaRPr lang="ja-JP" altLang="en-US" sz="800" dirty="0">
              <a:sym typeface="+mn-lt"/>
            </a:endParaRPr>
          </a:p>
        </p:txBody>
      </p:sp>
      <p:sp>
        <p:nvSpPr>
          <p:cNvPr id="71" name="テキスト プレースホルダ 9">
            <a:extLst>
              <a:ext uri="{FF2B5EF4-FFF2-40B4-BE49-F238E27FC236}">
                <a16:creationId xmlns:a16="http://schemas.microsoft.com/office/drawing/2014/main" id="{82B21FA3-CB1C-4CC0-8888-442A8420D406}"/>
              </a:ext>
            </a:extLst>
          </p:cNvPr>
          <p:cNvSpPr>
            <a:spLocks noGrp="1"/>
          </p:cNvSpPr>
          <p:nvPr>
            <p:custDataLst>
              <p:tags r:id="rId24"/>
            </p:custDataLst>
          </p:nvPr>
        </p:nvSpPr>
        <p:spPr bwMode="gray">
          <a:xfrm>
            <a:off x="1341294" y="3028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4.8</a:t>
            </a:r>
            <a:endParaRPr lang="ja-JP" altLang="en-US" sz="800" dirty="0">
              <a:sym typeface="+mn-lt"/>
            </a:endParaRPr>
          </a:p>
        </p:txBody>
      </p:sp>
      <p:sp>
        <p:nvSpPr>
          <p:cNvPr id="72" name="テキスト プレースホルダ 9">
            <a:extLst>
              <a:ext uri="{FF2B5EF4-FFF2-40B4-BE49-F238E27FC236}">
                <a16:creationId xmlns:a16="http://schemas.microsoft.com/office/drawing/2014/main" id="{3C8A66DF-DCB9-4578-BB73-924D9C51D425}"/>
              </a:ext>
            </a:extLst>
          </p:cNvPr>
          <p:cNvSpPr>
            <a:spLocks noGrp="1"/>
          </p:cNvSpPr>
          <p:nvPr>
            <p:custDataLst>
              <p:tags r:id="rId25"/>
            </p:custDataLst>
          </p:nvPr>
        </p:nvSpPr>
        <p:spPr bwMode="auto">
          <a:xfrm>
            <a:off x="1138094" y="604171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018</a:t>
            </a:r>
            <a:endParaRPr kumimoji="0" lang="ja-JP" altLang="en-US" sz="800" dirty="0">
              <a:sym typeface="+mn-lt"/>
            </a:endParaRPr>
          </a:p>
        </p:txBody>
      </p:sp>
      <p:sp>
        <p:nvSpPr>
          <p:cNvPr id="73" name="テキスト プレースホルダ 9">
            <a:extLst>
              <a:ext uri="{FF2B5EF4-FFF2-40B4-BE49-F238E27FC236}">
                <a16:creationId xmlns:a16="http://schemas.microsoft.com/office/drawing/2014/main" id="{5F4D06CC-8A49-4722-91DC-0A7957E90E58}"/>
              </a:ext>
            </a:extLst>
          </p:cNvPr>
          <p:cNvSpPr>
            <a:spLocks noGrp="1"/>
          </p:cNvSpPr>
          <p:nvPr>
            <p:custDataLst>
              <p:tags r:id="rId26"/>
            </p:custDataLst>
          </p:nvPr>
        </p:nvSpPr>
        <p:spPr bwMode="auto">
          <a:xfrm>
            <a:off x="2238232" y="60417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19</a:t>
            </a:r>
            <a:endParaRPr kumimoji="0" lang="ja-JP" altLang="en-US" sz="800" dirty="0">
              <a:sym typeface="+mn-lt"/>
            </a:endParaRPr>
          </a:p>
        </p:txBody>
      </p:sp>
      <p:sp>
        <p:nvSpPr>
          <p:cNvPr id="74" name="テキスト プレースホルダ 9">
            <a:extLst>
              <a:ext uri="{FF2B5EF4-FFF2-40B4-BE49-F238E27FC236}">
                <a16:creationId xmlns:a16="http://schemas.microsoft.com/office/drawing/2014/main" id="{0EFD6653-654D-4467-904D-B1738F22C0DB}"/>
              </a:ext>
            </a:extLst>
          </p:cNvPr>
          <p:cNvSpPr>
            <a:spLocks noGrp="1"/>
          </p:cNvSpPr>
          <p:nvPr>
            <p:custDataLst>
              <p:tags r:id="rId27"/>
            </p:custDataLst>
          </p:nvPr>
        </p:nvSpPr>
        <p:spPr bwMode="auto">
          <a:xfrm>
            <a:off x="3270107" y="60417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0</a:t>
            </a:r>
            <a:endParaRPr kumimoji="0" lang="ja-JP" altLang="en-US" sz="800" dirty="0">
              <a:sym typeface="+mn-lt"/>
            </a:endParaRPr>
          </a:p>
        </p:txBody>
      </p:sp>
      <p:sp>
        <p:nvSpPr>
          <p:cNvPr id="75" name="テキスト プレースホルダ 9">
            <a:extLst>
              <a:ext uri="{FF2B5EF4-FFF2-40B4-BE49-F238E27FC236}">
                <a16:creationId xmlns:a16="http://schemas.microsoft.com/office/drawing/2014/main" id="{14C3211F-807D-4E4F-99A7-8A3BCE929B24}"/>
              </a:ext>
            </a:extLst>
          </p:cNvPr>
          <p:cNvSpPr>
            <a:spLocks noGrp="1"/>
          </p:cNvSpPr>
          <p:nvPr>
            <p:custDataLst>
              <p:tags r:id="rId28"/>
            </p:custDataLst>
          </p:nvPr>
        </p:nvSpPr>
        <p:spPr bwMode="auto">
          <a:xfrm>
            <a:off x="4300394" y="60417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1</a:t>
            </a:r>
            <a:endParaRPr kumimoji="0" lang="ja-JP" altLang="en-US" sz="800" dirty="0">
              <a:sym typeface="+mn-lt"/>
            </a:endParaRPr>
          </a:p>
        </p:txBody>
      </p:sp>
      <p:sp>
        <p:nvSpPr>
          <p:cNvPr id="76" name="テキスト プレースホルダ 9">
            <a:extLst>
              <a:ext uri="{FF2B5EF4-FFF2-40B4-BE49-F238E27FC236}">
                <a16:creationId xmlns:a16="http://schemas.microsoft.com/office/drawing/2014/main" id="{3697A14A-3F05-43C2-95FB-5F0EFD1A4CBD}"/>
              </a:ext>
            </a:extLst>
          </p:cNvPr>
          <p:cNvSpPr>
            <a:spLocks noGrp="1"/>
          </p:cNvSpPr>
          <p:nvPr>
            <p:custDataLst>
              <p:tags r:id="rId29"/>
            </p:custDataLst>
          </p:nvPr>
        </p:nvSpPr>
        <p:spPr bwMode="gray">
          <a:xfrm>
            <a:off x="2011219" y="530670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4.3</a:t>
            </a:r>
            <a:endParaRPr lang="ja-JP" altLang="en-US" sz="800" dirty="0">
              <a:sym typeface="+mn-lt"/>
            </a:endParaRPr>
          </a:p>
        </p:txBody>
      </p:sp>
      <p:sp>
        <p:nvSpPr>
          <p:cNvPr id="77" name="テキスト プレースホルダ 9">
            <a:extLst>
              <a:ext uri="{FF2B5EF4-FFF2-40B4-BE49-F238E27FC236}">
                <a16:creationId xmlns:a16="http://schemas.microsoft.com/office/drawing/2014/main" id="{CDA32A2B-F236-451A-B24A-00D00FC379A4}"/>
              </a:ext>
            </a:extLst>
          </p:cNvPr>
          <p:cNvSpPr>
            <a:spLocks noGrp="1"/>
          </p:cNvSpPr>
          <p:nvPr>
            <p:custDataLst>
              <p:tags r:id="rId30"/>
            </p:custDataLst>
          </p:nvPr>
        </p:nvSpPr>
        <p:spPr bwMode="auto">
          <a:xfrm>
            <a:off x="5330682" y="604171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2</a:t>
            </a:r>
            <a:endParaRPr kumimoji="0" lang="ja-JP" altLang="en-US" sz="800" dirty="0">
              <a:sym typeface="+mn-lt"/>
            </a:endParaRPr>
          </a:p>
        </p:txBody>
      </p:sp>
      <p:sp>
        <p:nvSpPr>
          <p:cNvPr id="78" name="テキスト プレースホルダ 9">
            <a:extLst>
              <a:ext uri="{FF2B5EF4-FFF2-40B4-BE49-F238E27FC236}">
                <a16:creationId xmlns:a16="http://schemas.microsoft.com/office/drawing/2014/main" id="{EE5AB1DD-9392-4D45-B9D9-95399F730412}"/>
              </a:ext>
            </a:extLst>
          </p:cNvPr>
          <p:cNvSpPr>
            <a:spLocks noGrp="1"/>
          </p:cNvSpPr>
          <p:nvPr>
            <p:custDataLst>
              <p:tags r:id="rId31"/>
            </p:custDataLst>
          </p:nvPr>
        </p:nvSpPr>
        <p:spPr bwMode="gray">
          <a:xfrm>
            <a:off x="980932" y="527813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4.3</a:t>
            </a:r>
            <a:endParaRPr lang="ja-JP" altLang="en-US" sz="1000" dirty="0">
              <a:sym typeface="+mn-lt"/>
            </a:endParaRPr>
          </a:p>
        </p:txBody>
      </p:sp>
      <p:sp>
        <p:nvSpPr>
          <p:cNvPr id="79" name="テキスト プレースホルダ 9">
            <a:extLst>
              <a:ext uri="{FF2B5EF4-FFF2-40B4-BE49-F238E27FC236}">
                <a16:creationId xmlns:a16="http://schemas.microsoft.com/office/drawing/2014/main" id="{48E562F2-9B21-42F8-88AE-BB8DF16166D4}"/>
              </a:ext>
            </a:extLst>
          </p:cNvPr>
          <p:cNvSpPr>
            <a:spLocks noGrp="1"/>
          </p:cNvSpPr>
          <p:nvPr>
            <p:custDataLst>
              <p:tags r:id="rId32"/>
            </p:custDataLst>
          </p:nvPr>
        </p:nvSpPr>
        <p:spPr bwMode="gray">
          <a:xfrm>
            <a:off x="2373169" y="303181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4.1</a:t>
            </a:r>
            <a:endParaRPr lang="ja-JP" altLang="en-US" sz="800" dirty="0">
              <a:sym typeface="+mn-lt"/>
            </a:endParaRPr>
          </a:p>
        </p:txBody>
      </p:sp>
      <p:sp>
        <p:nvSpPr>
          <p:cNvPr id="80" name="テキスト プレースホルダ 9">
            <a:extLst>
              <a:ext uri="{FF2B5EF4-FFF2-40B4-BE49-F238E27FC236}">
                <a16:creationId xmlns:a16="http://schemas.microsoft.com/office/drawing/2014/main" id="{E4791EA2-DE89-41F4-A8FB-71C080BEA405}"/>
              </a:ext>
            </a:extLst>
          </p:cNvPr>
          <p:cNvSpPr>
            <a:spLocks noGrp="1"/>
          </p:cNvSpPr>
          <p:nvPr>
            <p:custDataLst>
              <p:tags r:id="rId33"/>
            </p:custDataLst>
          </p:nvPr>
        </p:nvSpPr>
        <p:spPr bwMode="gray">
          <a:xfrm>
            <a:off x="3043094" y="529718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3.9</a:t>
            </a:r>
            <a:endParaRPr lang="ja-JP" altLang="en-US" sz="800" dirty="0">
              <a:sym typeface="+mn-lt"/>
            </a:endParaRPr>
          </a:p>
        </p:txBody>
      </p:sp>
      <p:sp>
        <p:nvSpPr>
          <p:cNvPr id="81" name="テキスト プレースホルダ 9">
            <a:extLst>
              <a:ext uri="{FF2B5EF4-FFF2-40B4-BE49-F238E27FC236}">
                <a16:creationId xmlns:a16="http://schemas.microsoft.com/office/drawing/2014/main" id="{7ED575AB-69BF-4085-97FB-6BB7B715E1F3}"/>
              </a:ext>
            </a:extLst>
          </p:cNvPr>
          <p:cNvSpPr>
            <a:spLocks noGrp="1"/>
          </p:cNvSpPr>
          <p:nvPr>
            <p:custDataLst>
              <p:tags r:id="rId34"/>
            </p:custDataLst>
          </p:nvPr>
        </p:nvSpPr>
        <p:spPr bwMode="gray">
          <a:xfrm>
            <a:off x="3405044" y="310801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24.1</a:t>
            </a:r>
            <a:endParaRPr lang="ja-JP" altLang="en-US" sz="800" dirty="0">
              <a:sym typeface="+mn-lt"/>
            </a:endParaRPr>
          </a:p>
        </p:txBody>
      </p:sp>
      <p:sp>
        <p:nvSpPr>
          <p:cNvPr id="82" name="テキスト プレースホルダ 9">
            <a:extLst>
              <a:ext uri="{FF2B5EF4-FFF2-40B4-BE49-F238E27FC236}">
                <a16:creationId xmlns:a16="http://schemas.microsoft.com/office/drawing/2014/main" id="{FA8A6760-20FD-41F4-96AD-C806C65A32A9}"/>
              </a:ext>
            </a:extLst>
          </p:cNvPr>
          <p:cNvSpPr>
            <a:spLocks noGrp="1"/>
          </p:cNvSpPr>
          <p:nvPr>
            <p:custDataLst>
              <p:tags r:id="rId35"/>
            </p:custDataLst>
          </p:nvPr>
        </p:nvSpPr>
        <p:spPr bwMode="gray">
          <a:xfrm>
            <a:off x="4425772" y="2387496"/>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30.6</a:t>
            </a:r>
            <a:endParaRPr lang="ja-JP" altLang="en-US" sz="800" dirty="0">
              <a:sym typeface="+mn-lt"/>
            </a:endParaRPr>
          </a:p>
        </p:txBody>
      </p:sp>
      <p:sp>
        <p:nvSpPr>
          <p:cNvPr id="83" name="テキスト プレースホルダ 9">
            <a:extLst>
              <a:ext uri="{FF2B5EF4-FFF2-40B4-BE49-F238E27FC236}">
                <a16:creationId xmlns:a16="http://schemas.microsoft.com/office/drawing/2014/main" id="{DE4B37B3-D233-4F41-BD9F-E5220239CB6D}"/>
              </a:ext>
            </a:extLst>
          </p:cNvPr>
          <p:cNvSpPr>
            <a:spLocks noGrp="1"/>
          </p:cNvSpPr>
          <p:nvPr>
            <p:custDataLst>
              <p:tags r:id="rId36"/>
            </p:custDataLst>
          </p:nvPr>
        </p:nvSpPr>
        <p:spPr bwMode="gray">
          <a:xfrm>
            <a:off x="5103669" y="494951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000" dirty="0"/>
              <a:t>7.2</a:t>
            </a:r>
            <a:endParaRPr lang="ja-JP" altLang="en-US" sz="800" dirty="0">
              <a:sym typeface="+mn-lt"/>
            </a:endParaRPr>
          </a:p>
        </p:txBody>
      </p:sp>
      <p:sp>
        <p:nvSpPr>
          <p:cNvPr id="84" name="テキスト ボックス 83">
            <a:extLst>
              <a:ext uri="{FF2B5EF4-FFF2-40B4-BE49-F238E27FC236}">
                <a16:creationId xmlns:a16="http://schemas.microsoft.com/office/drawing/2014/main" id="{86DFA8B6-7CDB-41EB-85DE-6FD8686E4761}"/>
              </a:ext>
            </a:extLst>
          </p:cNvPr>
          <p:cNvSpPr txBox="1"/>
          <p:nvPr/>
        </p:nvSpPr>
        <p:spPr>
          <a:xfrm>
            <a:off x="553948" y="2227834"/>
            <a:ext cx="876246" cy="227621"/>
          </a:xfrm>
          <a:prstGeom prst="rect">
            <a:avLst/>
          </a:prstGeom>
          <a:noFill/>
        </p:spPr>
        <p:txBody>
          <a:bodyPr wrap="square" lIns="0" tIns="0" rIns="0" bIns="0" rtlCol="0" anchor="ctr" anchorCtr="0">
            <a:noAutofit/>
          </a:bodyPr>
          <a:lstStyle/>
          <a:p>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noProof="1">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19517971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421063336"/>
              </p:ext>
            </p:extLst>
          </p:nvPr>
        </p:nvGraphicFramePr>
        <p:xfrm>
          <a:off x="213190" y="2536652"/>
          <a:ext cx="9420329" cy="3619252"/>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oche Pharma South Afric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医師が患者の治療方針を迅速かつ正確に伝えることを可能にする、最新のがん診断用組織染色プラットフォーム「</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enchMark</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ULTRA PLUS syste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発売。</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南アフリカで事業を展開。現在、本社はケープタウンを拠点とす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ロンドンとケープタウンの工場で、一般用医薬品と市販薬を製造し、南アフリカで販売。</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noProof="1">
                          <a:solidFill>
                            <a:schemeClr val="dk1"/>
                          </a:solidFill>
                          <a:latin typeface="Arial" panose="020B0604020202020204" pitchFamily="34" charset="0"/>
                          <a:ea typeface="ＭＳ Ｐゴシック" panose="020B0600070205080204" pitchFamily="50" charset="-128"/>
                          <a:cs typeface="Arial" panose="020B0604020202020204" pitchFamily="34" charset="0"/>
                        </a:rPr>
                        <a:t>693</a:t>
                      </a:r>
                      <a:endParaRPr kumimoji="1" lang="ja-JP" altLang="en-US" sz="7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ovarti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は、民間（</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公共（</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4</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医療セクターで医薬品を販売。</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rck Sharp &amp; Dohme</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D</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社名で</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1</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事業を展開しており、南アフリカに地域本部を持つ。</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南アフリカおよびサハラ以南のアフリカの地域本部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64827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W Africa(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04529" y="2182655"/>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79173" y="314404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79173" y="385980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79173" y="450749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79173" y="507075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79173" y="565753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テキスト ボックス 3">
            <a:extLst>
              <a:ext uri="{FF2B5EF4-FFF2-40B4-BE49-F238E27FC236}">
                <a16:creationId xmlns:a16="http://schemas.microsoft.com/office/drawing/2014/main" id="{6BCCE6CF-F143-468A-889A-377FE3BF32DA}"/>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283048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nvGraphicFramePr>
        <p:xfrm>
          <a:off x="213191" y="2420888"/>
          <a:ext cx="9420329" cy="3646684"/>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533195">
                  <a:extLst>
                    <a:ext uri="{9D8B030D-6E8A-4147-A177-3AD203B41FA5}">
                      <a16:colId xmlns:a16="http://schemas.microsoft.com/office/drawing/2014/main" val="3661723914"/>
                    </a:ext>
                  </a:extLst>
                </a:gridCol>
                <a:gridCol w="1080121">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南アフリカでのプレゼンスについての情報は見つけられなかった。</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海外投融資情報財団</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800" dirty="0"/>
              <a:t>寄稿「アフリカの法務」</a:t>
            </a:r>
            <a:r>
              <a:rPr lang="en-US" altLang="zh-TW"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72481" y="206084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4" name="Multiplication Sign 13">
            <a:extLst>
              <a:ext uri="{FF2B5EF4-FFF2-40B4-BE49-F238E27FC236}">
                <a16:creationId xmlns:a16="http://schemas.microsoft.com/office/drawing/2014/main" id="{4CB5A004-7E10-4ADE-AB1E-4B22C177AE4E}"/>
              </a:ext>
            </a:extLst>
          </p:cNvPr>
          <p:cNvSpPr/>
          <p:nvPr/>
        </p:nvSpPr>
        <p:spPr>
          <a:xfrm>
            <a:off x="3647811" y="2917207"/>
            <a:ext cx="576064" cy="560007"/>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15" name="テキスト ボックス 3">
            <a:extLst>
              <a:ext uri="{FF2B5EF4-FFF2-40B4-BE49-F238E27FC236}">
                <a16:creationId xmlns:a16="http://schemas.microsoft.com/office/drawing/2014/main" id="{1C5B940E-562F-4037-AF60-9C7FBFC6393B}"/>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や合弁会社の設立、買収により拠点を築いており、アフリカ南部・サブサハラの地域本部としている場合が多い。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42598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nvGraphicFramePr>
        <p:xfrm>
          <a:off x="213191" y="2708920"/>
          <a:ext cx="9420329" cy="3630387"/>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389179">
                  <a:extLst>
                    <a:ext uri="{9D8B030D-6E8A-4147-A177-3AD203B41FA5}">
                      <a16:colId xmlns:a16="http://schemas.microsoft.com/office/drawing/2014/main" val="3661723914"/>
                    </a:ext>
                  </a:extLst>
                </a:gridCol>
                <a:gridCol w="1224137">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南アフリ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オフィスは、ジェネリック医薬品、一般用医薬品、オリジネーター医薬品の販売、流通を実施。</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中東・アフリカに強い制約が記者</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KMA</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LUMYA™</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中東・北アフリカ地域における独占的ライセンス契約を締結。</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の公共および民間医療機関向けにジェネリック医薬品を製造・販売。</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South Africa</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で数量ベースで最大、金額ベースでは第</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位の製薬会社。</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nturephar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の合弁により、直接市場に参入。</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にこの合弁会社は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r Reddy‘s </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となっ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においては中枢神経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N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イマリーケアなどが主要治療分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南アフリカのジェネリック医薬品大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 Dynamic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買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507495"/>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Cipla Limited Annual Report 2021-22 </a:t>
            </a:r>
            <a:endParaRPr kumimoji="0" lang="ja-JP" altLang="en-US" sz="800" dirty="0" bmk=""/>
          </a:p>
        </p:txBody>
      </p:sp>
      <p:sp>
        <p:nvSpPr>
          <p:cNvPr id="12" name="Rectangle 6"/>
          <p:cNvSpPr>
            <a:spLocks noChangeArrowheads="1"/>
          </p:cNvSpPr>
          <p:nvPr/>
        </p:nvSpPr>
        <p:spPr bwMode="auto">
          <a:xfrm>
            <a:off x="272481" y="234888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3">
            <a:extLst>
              <a:ext uri="{FF2B5EF4-FFF2-40B4-BE49-F238E27FC236}">
                <a16:creationId xmlns:a16="http://schemas.microsoft.com/office/drawing/2014/main" id="{02669D47-0DA6-4989-AF33-D28DBA263B92}"/>
              </a:ext>
            </a:extLst>
          </p:cNvPr>
          <p:cNvSpPr txBox="1"/>
          <p:nvPr/>
        </p:nvSpPr>
        <p:spPr>
          <a:xfrm>
            <a:off x="213191" y="1050682"/>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国からの投資はあらゆる経済分野において奨励されており、医薬品市場に関しても外資規制はない。</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系やインド系の外資メーカーは南アフリカに支店の設立や買収、合弁会社の設立により拠点を築いており、アフリカ南部・サブサハラを統括している。一方で、中国の</a:t>
            </a:r>
            <a:r>
              <a:rPr lang="ja-JP" altLang="en-US" sz="1400" dirty="0"/>
              <a:t>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ーカーの南アフリ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Circle: Hollow 15">
            <a:extLst>
              <a:ext uri="{FF2B5EF4-FFF2-40B4-BE49-F238E27FC236}">
                <a16:creationId xmlns:a16="http://schemas.microsoft.com/office/drawing/2014/main" id="{44F246D7-CACB-4E1E-9EC7-27F81DF93080}"/>
              </a:ext>
            </a:extLst>
          </p:cNvPr>
          <p:cNvSpPr/>
          <p:nvPr/>
        </p:nvSpPr>
        <p:spPr>
          <a:xfrm>
            <a:off x="3728864" y="327078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7" name="Circle: Hollow 16">
            <a:extLst>
              <a:ext uri="{FF2B5EF4-FFF2-40B4-BE49-F238E27FC236}">
                <a16:creationId xmlns:a16="http://schemas.microsoft.com/office/drawing/2014/main" id="{FD7B0787-082E-4445-B7CB-43CCC02EC298}"/>
              </a:ext>
            </a:extLst>
          </p:cNvPr>
          <p:cNvSpPr/>
          <p:nvPr/>
        </p:nvSpPr>
        <p:spPr>
          <a:xfrm>
            <a:off x="3728864" y="410590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8" name="Circle: Hollow 17">
            <a:extLst>
              <a:ext uri="{FF2B5EF4-FFF2-40B4-BE49-F238E27FC236}">
                <a16:creationId xmlns:a16="http://schemas.microsoft.com/office/drawing/2014/main" id="{A9500348-DF44-40F1-91FB-CCDE704C26C0}"/>
              </a:ext>
            </a:extLst>
          </p:cNvPr>
          <p:cNvSpPr/>
          <p:nvPr/>
        </p:nvSpPr>
        <p:spPr>
          <a:xfrm>
            <a:off x="3732025" y="526651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5" name="Circle: Hollow 24">
            <a:extLst>
              <a:ext uri="{FF2B5EF4-FFF2-40B4-BE49-F238E27FC236}">
                <a16:creationId xmlns:a16="http://schemas.microsoft.com/office/drawing/2014/main" id="{59195A91-6453-4C68-9251-F0A6C8ADD4E4}"/>
              </a:ext>
            </a:extLst>
          </p:cNvPr>
          <p:cNvSpPr/>
          <p:nvPr/>
        </p:nvSpPr>
        <p:spPr>
          <a:xfrm>
            <a:off x="3728864" y="585495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26" name="Circle: Hollow 25">
            <a:extLst>
              <a:ext uri="{FF2B5EF4-FFF2-40B4-BE49-F238E27FC236}">
                <a16:creationId xmlns:a16="http://schemas.microsoft.com/office/drawing/2014/main" id="{E07D45EA-C414-4239-ACAD-96E44E892F28}"/>
              </a:ext>
            </a:extLst>
          </p:cNvPr>
          <p:cNvSpPr/>
          <p:nvPr/>
        </p:nvSpPr>
        <p:spPr>
          <a:xfrm>
            <a:off x="3728864" y="4678082"/>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Tree>
    <p:extLst>
      <p:ext uri="{BB962C8B-B14F-4D97-AF65-F5344CB8AC3E}">
        <p14:creationId xmlns:p14="http://schemas.microsoft.com/office/powerpoint/2010/main" val="2984976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BE405-2499-468B-AE9F-9E905850D2F8}"/>
              </a:ext>
            </a:extLst>
          </p:cNvPr>
          <p:cNvGraphicFramePr>
            <a:graphicFrameLocks noChangeAspect="1"/>
          </p:cNvGraphicFramePr>
          <p:nvPr>
            <p:custDataLst>
              <p:tags r:id="rId1"/>
            </p:custDataLst>
            <p:extLst>
              <p:ext uri="{D42A27DB-BD31-4B8C-83A1-F6EECF244321}">
                <p14:modId xmlns:p14="http://schemas.microsoft.com/office/powerpoint/2010/main" val="3260423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8F9BE405-2499-468B-AE9F-9E905850D2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739453143"/>
              </p:ext>
            </p:extLst>
          </p:nvPr>
        </p:nvGraphicFramePr>
        <p:xfrm>
          <a:off x="264761" y="1121350"/>
          <a:ext cx="9505056" cy="5189567"/>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レトリア（行政上の首都</a:t>
                      </a:r>
                      <a:r>
                        <a:rPr kumimoji="1" lang="en-US" altLang="ja-JP" sz="1200" b="0" kern="1200" baseline="300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英語，アフリカーンス語，バンツー諸語（ズールー語，ソト語他）の合計</a:t>
                      </a:r>
                      <a:r>
                        <a:rPr kumimoji="1" lang="en-US" altLang="ja-JP" sz="1200" b="0" dirty="0">
                          <a:solidFill>
                            <a:schemeClr val="tx1"/>
                          </a:solidFill>
                        </a:rPr>
                        <a:t>11</a:t>
                      </a:r>
                      <a:r>
                        <a:rPr kumimoji="1" lang="ja-JP" altLang="en-US" sz="1200" b="0" dirty="0">
                          <a:solidFill>
                            <a:schemeClr val="tx1"/>
                          </a:solidFill>
                        </a:rPr>
                        <a:t>が公用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ランド（</a:t>
                      </a:r>
                      <a:r>
                        <a:rPr kumimoji="1" lang="en-US" altLang="ja-JP" sz="1200" b="0" dirty="0">
                          <a:solidFill>
                            <a:schemeClr val="tx1"/>
                          </a:solidFill>
                        </a:rPr>
                        <a:t>ZAR</a:t>
                      </a:r>
                      <a:r>
                        <a:rPr kumimoji="1" lang="ja-JP" altLang="en-US" sz="1200" b="0" dirty="0">
                          <a:solidFill>
                            <a:schemeClr val="tx1"/>
                          </a:solidFill>
                        </a:rPr>
                        <a:t>）　＝　</a:t>
                      </a:r>
                      <a:r>
                        <a:rPr kumimoji="1" lang="en-US" altLang="ja-JP" sz="1200" b="0" dirty="0">
                          <a:solidFill>
                            <a:schemeClr val="tx1"/>
                          </a:solidFill>
                        </a:rPr>
                        <a:t>7.88</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4</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21</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社が独自に決定することができるが、多くの企業は</a:t>
                      </a:r>
                      <a:r>
                        <a:rPr kumimoji="1" lang="en-US" altLang="ja-JP" sz="1200" b="0" dirty="0">
                          <a:solidFill>
                            <a:schemeClr val="tx1"/>
                          </a:solidFill>
                        </a:rPr>
                        <a:t>2</a:t>
                      </a:r>
                      <a:r>
                        <a:rPr kumimoji="1" lang="ja-JP" altLang="en-US" sz="1200" b="0" dirty="0">
                          <a:solidFill>
                            <a:schemeClr val="tx1"/>
                          </a:solidFill>
                        </a:rPr>
                        <a:t>月末決算</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901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人口の約</a:t>
                      </a:r>
                      <a:r>
                        <a:rPr kumimoji="1" lang="en-US" altLang="ja-JP" sz="1200" kern="1200" dirty="0">
                          <a:solidFill>
                            <a:schemeClr val="dk1"/>
                          </a:solidFill>
                          <a:latin typeface="+mn-lt"/>
                          <a:ea typeface="+mn-ea"/>
                          <a:cs typeface="+mn-cs"/>
                        </a:rPr>
                        <a:t>80</a:t>
                      </a:r>
                      <a:r>
                        <a:rPr kumimoji="1" lang="ja-JP" altLang="en-US" sz="1200" kern="1200" dirty="0">
                          <a:solidFill>
                            <a:schemeClr val="dk1"/>
                          </a:solidFill>
                          <a:latin typeface="+mn-lt"/>
                          <a:ea typeface="+mn-ea"/>
                          <a:cs typeface="+mn-cs"/>
                        </a:rPr>
                        <a:t>％），ヒンズー教，イスラム教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593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85917">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4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代後半に法制化され，以来継続されたアパルトヘイト政策は，国際社会からの非難や制裁，反アパルトヘイト運動の激化を受け，デ・クラーク大統領により，撤廃に向けての改革が進展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関連法が全廃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南ア史上初めて黒人を含む全人種が参加した制憲議会選挙および州議会選挙が実施されて完全撤廃された。議会選挙では，アパルトヘイト撤廃を推進したアフリカ民族会議（</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率で勝利し，マンデラ議長が大統領に選出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第六回総選挙が実施さ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NC</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5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で勝利し，現職のシリル・ラマポーザ大統領が再任を果たした。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実施予定の総選挙まで。</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39318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以降、南アフリカではコロナ禍による諸規制が実施され、当初は犯罪発生も減少したが、最近は徐々に例年の水準に戻りつつあり、殺人、強盗、傷害等の凶悪犯罪が高水準で発生している。</a:t>
                      </a:r>
                    </a:p>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南アフリカにおける所得格差は依然として大きく、政府による行政サービスが改善されないことへの反発から、一部のタウンシップ（旧黒人居住区）において住民による焼き討ちや公道封鎖、行政サービス等への不満に対するデモがしばしば行われている。</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indent="-171450" algn="just" defTabSz="914400" rtl="0" eaLnBrk="1" fontAlgn="auto" latinLnBrk="0" hangingPunct="1">
                        <a:lnSpc>
                          <a:spcPct val="113000"/>
                        </a:lnSpc>
                        <a:spcBef>
                          <a:spcPts val="0"/>
                        </a:spcBef>
                        <a:spcAft>
                          <a:spcPts val="300"/>
                        </a:spcAft>
                        <a:buClrTx/>
                        <a:buSzTx/>
                        <a:buFont typeface="Wingdings" panose="05000000000000000000" pitchFamily="2" charset="2"/>
                        <a:buChar char="n"/>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依然として失業率は高く、低所得者の生活向上が社会問題の一つとなっており、労働組合等によるデモが頻繁に行われてい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64761" y="6518851"/>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みずほ銀行</a:t>
            </a:r>
            <a:endParaRPr lang="en-US" altLang="ja-JP" sz="800" b="1" dirty="0"/>
          </a:p>
        </p:txBody>
      </p:sp>
      <p:sp>
        <p:nvSpPr>
          <p:cNvPr id="10" name="テキスト ボックス 12">
            <a:extLst>
              <a:ext uri="{FF2B5EF4-FFF2-40B4-BE49-F238E27FC236}">
                <a16:creationId xmlns:a16="http://schemas.microsoft.com/office/drawing/2014/main" id="{22351167-875E-45EA-9004-6FADA8979428}"/>
              </a:ext>
            </a:extLst>
          </p:cNvPr>
          <p:cNvSpPr txBox="1"/>
          <p:nvPr/>
        </p:nvSpPr>
        <p:spPr>
          <a:xfrm>
            <a:off x="264761" y="6342430"/>
            <a:ext cx="8568878" cy="136462"/>
          </a:xfrm>
          <a:prstGeom prst="rect">
            <a:avLst/>
          </a:prstGeom>
          <a:noFill/>
        </p:spPr>
        <p:txBody>
          <a:bodyPr wrap="square" lIns="0" tIns="0" rIns="0" bIns="0" rtlCol="0">
            <a:noAutofit/>
          </a:bodyPr>
          <a:lstStyle/>
          <a:p>
            <a:r>
              <a:rPr lang="en-US" altLang="ja-JP" sz="800" dirty="0">
                <a:latin typeface="+mn-ea"/>
                <a:cs typeface="Arial" panose="020B0604020202020204" pitchFamily="34" charset="0"/>
              </a:rPr>
              <a:t>1)</a:t>
            </a:r>
            <a:r>
              <a:rPr lang="ja-JP" altLang="en-US" sz="800" dirty="0">
                <a:latin typeface="+mn-ea"/>
                <a:cs typeface="Arial" panose="020B0604020202020204" pitchFamily="34" charset="0"/>
              </a:rPr>
              <a:t> 立法府はケープタウン、司法府はブルーム・フォンテーンにある</a:t>
            </a:r>
            <a:endParaRPr lang="en-US" altLang="ja-JP" sz="800" dirty="0">
              <a:latin typeface="+mn-ea"/>
            </a:endParaRPr>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1222469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4245662140"/>
              </p:ext>
            </p:extLst>
          </p:nvPr>
        </p:nvGraphicFramePr>
        <p:xfrm>
          <a:off x="560512" y="2348880"/>
          <a:ext cx="8175166" cy="1921569"/>
        </p:xfrm>
        <a:graphic>
          <a:graphicData uri="http://schemas.openxmlformats.org/drawingml/2006/table">
            <a:tbl>
              <a:tblPr firstRow="1" bandRow="1">
                <a:tableStyleId>{5C22544A-7EE6-4342-B048-85BDC9FD1C3A}</a:tableStyleId>
              </a:tblPr>
              <a:tblGrid>
                <a:gridCol w="1931498">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843068">
                  <a:extLst>
                    <a:ext uri="{9D8B030D-6E8A-4147-A177-3AD203B41FA5}">
                      <a16:colId xmlns:a16="http://schemas.microsoft.com/office/drawing/2014/main" val="3386509722"/>
                    </a:ext>
                  </a:extLst>
                </a:gridCol>
                <a:gridCol w="1908212">
                  <a:extLst>
                    <a:ext uri="{9D8B030D-6E8A-4147-A177-3AD203B41FA5}">
                      <a16:colId xmlns:a16="http://schemas.microsoft.com/office/drawing/2014/main" val="20003"/>
                    </a:ext>
                  </a:extLst>
                </a:gridCol>
                <a:gridCol w="1908212">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spen Pharmacare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地域では鎮痛・抗炎症薬、甲状腺ホルモン薬、抗潰瘍薬など</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167</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以上に進出しているグローバル製薬企業。シーメンスと南アフリカ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OVID-19</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ワクチン生産強化で協力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spenpharma.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Adcok</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 Ingram Holdings</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幅広い市販薬および処方箋薬を製造</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1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ヨハネスブルク証券取引所に上場。南アフリカを中心としたアフリカ諸国の他にインドにも進出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2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adcock.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09078480"/>
                  </a:ext>
                </a:extLst>
              </a:tr>
            </a:tbl>
          </a:graphicData>
        </a:graphic>
      </p:graphicFrame>
      <p:sp>
        <p:nvSpPr>
          <p:cNvPr id="6" name="テキスト ボックス 5"/>
          <p:cNvSpPr txBox="1"/>
          <p:nvPr/>
        </p:nvSpPr>
        <p:spPr>
          <a:xfrm>
            <a:off x="165745" y="6428442"/>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南アフリカの医薬品メーカーのうち、大手企業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325243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435167251"/>
              </p:ext>
            </p:extLst>
          </p:nvPr>
        </p:nvGraphicFramePr>
        <p:xfrm>
          <a:off x="201526" y="2187000"/>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5514">
                  <a:extLst>
                    <a:ext uri="{9D8B030D-6E8A-4147-A177-3AD203B41FA5}">
                      <a16:colId xmlns:a16="http://schemas.microsoft.com/office/drawing/2014/main" val="20002"/>
                    </a:ext>
                  </a:extLst>
                </a:gridCol>
                <a:gridCol w="3384486">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Astellas</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harma</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Pty)</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詳細不明</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Pty.)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武田の扱う医薬品のマーケティングおよび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Mentholatum</a:t>
                      </a:r>
                      <a:r>
                        <a:rPr kumimoji="1" lang="en-US" altLang="zh-TW" sz="1100" b="0" i="0" u="none" strike="noStrike" kern="1200" dirty="0">
                          <a:solidFill>
                            <a:srgbClr val="000000"/>
                          </a:solidFill>
                          <a:effectLst/>
                          <a:latin typeface="+mn-lt"/>
                          <a:ea typeface="+mj-ea"/>
                          <a:cs typeface="+mn-cs"/>
                        </a:rPr>
                        <a:t> South Africa</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スキンケアを中心に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92208112"/>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務省の調査によれば、日本から南アフリカに進出している企業拠点数は</a:t>
            </a:r>
            <a:r>
              <a:rPr lang="en-US" altLang="ja-JP" sz="1400" dirty="0"/>
              <a:t>2021</a:t>
            </a:r>
            <a:r>
              <a:rPr lang="ja-JP" altLang="en-US" sz="1400" dirty="0"/>
              <a:t>年</a:t>
            </a:r>
            <a:r>
              <a:rPr lang="en-US" altLang="ja-JP" sz="1400" dirty="0"/>
              <a:t>10</a:t>
            </a:r>
            <a:r>
              <a:rPr lang="ja-JP" altLang="en-US" sz="1400" dirty="0"/>
              <a:t>月時点で</a:t>
            </a:r>
            <a:r>
              <a:rPr lang="en-US" altLang="ja-JP" sz="1400" dirty="0"/>
              <a:t>268</a:t>
            </a:r>
            <a:r>
              <a:rPr lang="ja-JP" altLang="en-US" sz="1400" dirty="0"/>
              <a:t>社。</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通り。</a:t>
            </a: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37165477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44" imgH="443" progId="TCLayout.ActiveDocument.1">
                  <p:embed/>
                </p:oleObj>
              </mc:Choice>
              <mc:Fallback>
                <p:oleObj name="think-cell Slide" r:id="rId9"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42" name="Chart 41">
            <a:extLst>
              <a:ext uri="{FF2B5EF4-FFF2-40B4-BE49-F238E27FC236}">
                <a16:creationId xmlns:a16="http://schemas.microsoft.com/office/drawing/2014/main" id="{30864407-943B-48C7-9CED-325C7158431F}"/>
              </a:ext>
            </a:extLst>
          </p:cNvPr>
          <p:cNvGraphicFramePr/>
          <p:nvPr>
            <p:custDataLst>
              <p:tags r:id="rId3"/>
            </p:custDataLst>
          </p:nvPr>
        </p:nvGraphicFramePr>
        <p:xfrm>
          <a:off x="488950" y="2270125"/>
          <a:ext cx="8520113" cy="3705225"/>
        </p:xfrm>
        <a:graphic>
          <a:graphicData uri="http://schemas.openxmlformats.org/drawingml/2006/chart">
            <c:chart xmlns:c="http://schemas.openxmlformats.org/drawingml/2006/chart" xmlns:r="http://schemas.openxmlformats.org/officeDocument/2006/relationships" r:id="rId11"/>
          </a:graphicData>
        </a:graphic>
      </p:graphicFrame>
      <p:sp>
        <p:nvSpPr>
          <p:cNvPr id="65" name="テキスト プレースホルダ 9"/>
          <p:cNvSpPr>
            <a:spLocks noGrp="1"/>
          </p:cNvSpPr>
          <p:nvPr>
            <p:custDataLst>
              <p:tags r:id="rId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5"/>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3" name="テキスト プレースホルダ 9"/>
          <p:cNvSpPr>
            <a:spLocks noGrp="1"/>
          </p:cNvSpPr>
          <p:nvPr>
            <p:custDataLst>
              <p:tags r:id="rId6"/>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95" name="テキスト プレースホルダ 9"/>
          <p:cNvSpPr>
            <a:spLocks noGrp="1"/>
          </p:cNvSpPr>
          <p:nvPr>
            <p:custDataLst>
              <p:tags r:id="rId7"/>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Tree>
    <p:extLst>
      <p:ext uri="{BB962C8B-B14F-4D97-AF65-F5344CB8AC3E}">
        <p14:creationId xmlns:p14="http://schemas.microsoft.com/office/powerpoint/2010/main" val="17806664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1.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8%</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extLst>
              <p:ext uri="{D42A27DB-BD31-4B8C-83A1-F6EECF244321}">
                <p14:modId xmlns:p14="http://schemas.microsoft.com/office/powerpoint/2010/main" val="1474230295"/>
              </p:ext>
            </p:extLst>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1"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4181A3B6-E293-4E35-AE7C-7A8BED8085BC}"/>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5555692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2509BA-1C72-4903-B5DD-53A63103AD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B12509BA-1C72-4903-B5DD-53A63103AD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p>
        </p:txBody>
      </p:sp>
    </p:spTree>
    <p:extLst>
      <p:ext uri="{BB962C8B-B14F-4D97-AF65-F5344CB8AC3E}">
        <p14:creationId xmlns:p14="http://schemas.microsoft.com/office/powerpoint/2010/main" val="7892197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0BBA4CFE-71C4-4545-BB9F-A61A78A8089B}"/>
              </a:ext>
            </a:extLst>
          </p:cNvPr>
          <p:cNvSpPr/>
          <p:nvPr/>
        </p:nvSpPr>
        <p:spPr>
          <a:xfrm>
            <a:off x="4832752" y="2595285"/>
            <a:ext cx="4753541" cy="218614"/>
          </a:xfrm>
          <a:prstGeom prst="rect">
            <a:avLst/>
          </a:prstGeom>
          <a:solidFill>
            <a:srgbClr val="AFCDE0"/>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Rectangle 36">
            <a:extLst>
              <a:ext uri="{FF2B5EF4-FFF2-40B4-BE49-F238E27FC236}">
                <a16:creationId xmlns:a16="http://schemas.microsoft.com/office/drawing/2014/main" id="{71AEDA33-EA50-4FB9-9607-3956A94F6BDD}"/>
              </a:ext>
            </a:extLst>
          </p:cNvPr>
          <p:cNvSpPr/>
          <p:nvPr/>
        </p:nvSpPr>
        <p:spPr>
          <a:xfrm>
            <a:off x="4832752" y="3157210"/>
            <a:ext cx="4753541" cy="343798"/>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E54FC763-4051-4AF2-B415-59FBC1B98257}"/>
              </a:ext>
            </a:extLst>
          </p:cNvPr>
          <p:cNvSpPr/>
          <p:nvPr/>
        </p:nvSpPr>
        <p:spPr>
          <a:xfrm>
            <a:off x="4832752" y="2843674"/>
            <a:ext cx="4753541" cy="297294"/>
          </a:xfrm>
          <a:prstGeom prst="rect">
            <a:avLst/>
          </a:prstGeom>
          <a:solidFill>
            <a:schemeClr val="accent2">
              <a:lumMod val="20000"/>
              <a:lumOff val="80000"/>
            </a:schemeClr>
          </a:solidFill>
        </p:spPr>
        <p:txBody>
          <a:bodyPr wrap="square" rtlCol="0" anchor="ctr">
            <a:noAutofit/>
          </a:bodyPr>
          <a:lstStyle/>
          <a:p>
            <a:pPr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extLst>
              <p:ext uri="{D42A27DB-BD31-4B8C-83A1-F6EECF244321}">
                <p14:modId xmlns:p14="http://schemas.microsoft.com/office/powerpoint/2010/main" val="4273651613"/>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南アフリ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携帯電話は普及しており、地域における</a:t>
            </a:r>
            <a:r>
              <a:rPr lang="en-US" altLang="ja-JP" sz="1138" dirty="0">
                <a:solidFill>
                  <a:srgbClr val="000000"/>
                </a:solidFill>
              </a:rPr>
              <a:t>primary healthcare worker</a:t>
            </a:r>
            <a:r>
              <a:rPr lang="ja-JP" altLang="en-US" sz="1138" dirty="0">
                <a:solidFill>
                  <a:srgbClr val="000000"/>
                </a:solidFill>
              </a:rPr>
              <a:t>を通じて、地域住民の情報をアプリで管理するのに活用されている。</a:t>
            </a:r>
          </a:p>
          <a:p>
            <a:r>
              <a:rPr lang="en-US" altLang="ja-JP" sz="1138" dirty="0">
                <a:solidFill>
                  <a:srgbClr val="000000"/>
                </a:solidFill>
              </a:rPr>
              <a:t>2019</a:t>
            </a:r>
            <a:r>
              <a:rPr lang="ja-JP" altLang="en-US" sz="1138" dirty="0">
                <a:solidFill>
                  <a:srgbClr val="000000"/>
                </a:solidFill>
              </a:rPr>
              <a:t>年に発表されたデジタルヘルス戦略では、</a:t>
            </a:r>
            <a:r>
              <a:rPr lang="en-US" altLang="ja-JP" sz="1138" dirty="0">
                <a:solidFill>
                  <a:srgbClr val="000000"/>
                </a:solidFill>
              </a:rPr>
              <a:t>EHR</a:t>
            </a:r>
            <a:r>
              <a:rPr lang="ja-JP" altLang="en-US" sz="1138" dirty="0">
                <a:solidFill>
                  <a:srgbClr val="000000"/>
                </a:solidFill>
              </a:rPr>
              <a:t>の整備や全国規模のプラットフォームの構築を目標としているが、大きな進捗は報告されていない。</a:t>
            </a:r>
          </a:p>
        </p:txBody>
      </p:sp>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南アフリカ保健省、デスクトップリサーチ</a:t>
            </a:r>
          </a:p>
        </p:txBody>
      </p:sp>
      <p:graphicFrame>
        <p:nvGraphicFramePr>
          <p:cNvPr id="5" name="表 4"/>
          <p:cNvGraphicFramePr>
            <a:graphicFrameLocks noGrp="1"/>
          </p:cNvGraphicFramePr>
          <p:nvPr>
            <p:extLst>
              <p:ext uri="{D42A27DB-BD31-4B8C-83A1-F6EECF244321}">
                <p14:modId xmlns:p14="http://schemas.microsoft.com/office/powerpoint/2010/main" val="2519505621"/>
              </p:ext>
            </p:extLst>
          </p:nvPr>
        </p:nvGraphicFramePr>
        <p:xfrm>
          <a:off x="128464" y="2346274"/>
          <a:ext cx="9438944" cy="4013061"/>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00569">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南アフリ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67</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3.2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4</a:t>
                      </a:r>
                      <a:r>
                        <a:rPr lang="ja-JP" altLang="en-US" sz="900" dirty="0"/>
                        <a:t>年を目標年としたデジタルヘルス戦略を</a:t>
                      </a:r>
                      <a:r>
                        <a:rPr lang="en-US" altLang="ja-JP" sz="900" dirty="0"/>
                        <a:t>2019</a:t>
                      </a:r>
                      <a:r>
                        <a:rPr lang="ja-JP" altLang="en-US" sz="900" dirty="0"/>
                        <a:t>年に発表。</a:t>
                      </a:r>
                      <a:r>
                        <a:rPr lang="en-US" altLang="ja-JP" sz="900" dirty="0"/>
                        <a:t>EHR</a:t>
                      </a:r>
                      <a:r>
                        <a:rPr lang="ja-JP" altLang="en-US" sz="900" dirty="0"/>
                        <a:t>の整備や保健セクター全体の統合情報プラットフォームの構築、地域でのモバイルヘルスの推進、デジタルヘルス関連の知識労働者の育成などを目標として掲げている。デジタルヘルスに限定した予算は不明だが、</a:t>
                      </a:r>
                      <a:r>
                        <a:rPr lang="en-US" altLang="ja-JP" sz="900" dirty="0"/>
                        <a:t>2024</a:t>
                      </a:r>
                      <a:r>
                        <a:rPr lang="ja-JP" altLang="en-US" sz="900" dirty="0"/>
                        <a:t>年には</a:t>
                      </a:r>
                      <a:r>
                        <a:rPr lang="en-US" altLang="ja-JP" sz="900" dirty="0"/>
                        <a:t>GDP</a:t>
                      </a:r>
                      <a:r>
                        <a:rPr lang="ja-JP" altLang="en-US" sz="900" dirty="0"/>
                        <a:t>の</a:t>
                      </a:r>
                      <a:r>
                        <a:rPr lang="en-US" altLang="ja-JP" sz="900" dirty="0"/>
                        <a:t>1.1%</a:t>
                      </a:r>
                      <a:r>
                        <a:rPr lang="ja-JP" altLang="en-US" sz="900" dirty="0"/>
                        <a:t>を</a:t>
                      </a:r>
                      <a:r>
                        <a:rPr lang="en-US" altLang="ja-JP" sz="900" dirty="0"/>
                        <a:t>R&amp;D</a:t>
                      </a:r>
                      <a:r>
                        <a:rPr lang="ja-JP" altLang="en-US" sz="900" dirty="0"/>
                        <a:t>に投資する計画。</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2013</a:t>
                      </a:r>
                      <a:r>
                        <a:rPr lang="ja-JP" altLang="en-US" sz="900" dirty="0"/>
                        <a:t>年から段階的に施行されてきた個人情報保護法が</a:t>
                      </a:r>
                      <a:r>
                        <a:rPr lang="en-US" altLang="ja-JP" sz="900" dirty="0"/>
                        <a:t>2021</a:t>
                      </a:r>
                      <a:r>
                        <a:rPr lang="ja-JP" altLang="en-US" sz="900" dirty="0"/>
                        <a:t>年には全面的に適用となっているのに加え、</a:t>
                      </a:r>
                      <a:r>
                        <a:rPr lang="en-US" altLang="ja-JP" sz="900" dirty="0"/>
                        <a:t>2000</a:t>
                      </a:r>
                      <a:r>
                        <a:rPr lang="ja-JP" altLang="en-US" sz="900" dirty="0"/>
                        <a:t>年に制定された情報アクセス促進法も、</a:t>
                      </a:r>
                      <a:r>
                        <a:rPr lang="en-US" altLang="ja-JP" sz="900" dirty="0"/>
                        <a:t>2021</a:t>
                      </a:r>
                      <a:r>
                        <a:rPr lang="ja-JP" altLang="en-US" sz="900" dirty="0"/>
                        <a:t>年に追加された規則によって事業者の義務が強化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ツールとしては存在するものの、広範に利用されているマスター患者インデックスは確認できず。一方で、地域で活動する</a:t>
                      </a:r>
                      <a:r>
                        <a:rPr lang="en-US" altLang="ja-JP" sz="900" dirty="0"/>
                        <a:t>PHO</a:t>
                      </a:r>
                      <a:r>
                        <a:rPr lang="ja-JP" altLang="en-US" sz="900" dirty="0"/>
                        <a:t>チームにより、地域住民の情報をモバイルアプリによって一元管理する試みは進んでいる。</a:t>
                      </a:r>
                      <a:r>
                        <a:rPr lang="en-US" altLang="ja-JP" sz="900" dirty="0"/>
                        <a:t>2020</a:t>
                      </a:r>
                      <a:r>
                        <a:rPr lang="ja-JP" altLang="en-US" sz="900" dirty="0"/>
                        <a:t>年現在、約</a:t>
                      </a:r>
                      <a:r>
                        <a:rPr lang="en-US" altLang="ja-JP" sz="900" dirty="0"/>
                        <a:t>50</a:t>
                      </a:r>
                      <a:r>
                        <a:rPr lang="ja-JP" altLang="en-US" sz="900" dirty="0"/>
                        <a:t>万人の住民／患者の情報が収集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2076412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2340053345"/>
              </p:ext>
            </p:extLst>
          </p:nvPr>
        </p:nvGraphicFramePr>
        <p:xfrm>
          <a:off x="681553" y="2281450"/>
          <a:ext cx="8280920" cy="1452132"/>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047074">
                  <a:extLst>
                    <a:ext uri="{9D8B030D-6E8A-4147-A177-3AD203B41FA5}">
                      <a16:colId xmlns:a16="http://schemas.microsoft.com/office/drawing/2014/main" val="20002"/>
                    </a:ext>
                  </a:extLst>
                </a:gridCol>
                <a:gridCol w="2505654">
                  <a:extLst>
                    <a:ext uri="{9D8B030D-6E8A-4147-A177-3AD203B41FA5}">
                      <a16:colId xmlns:a16="http://schemas.microsoft.com/office/drawing/2014/main" val="3100871719"/>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forc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予約なしに地元の看護師のクリニックを訪れることにより、必要に応じて医師とのビデオ診療を受けることが専門的な指示や処方箋を出してくれる。</a:t>
                      </a:r>
                      <a:endParaRPr kumimoji="1" lang="en-US" altLang="ja-JP" sz="10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ealthforce.io/</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Inter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パソコンもしくはカメラ付き携帯電話経由で医師の診療を受けることができる</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intercare.co.za/services/virtu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Virtualca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家庭医向けの、オンライン診療サービスを始めるための</a:t>
                      </a:r>
                      <a:r>
                        <a:rPr kumimoji="1" lang="en-US" altLang="ja-JP" sz="1000" kern="1200" dirty="0" err="1">
                          <a:solidFill>
                            <a:schemeClr val="tx1"/>
                          </a:solidFill>
                          <a:latin typeface="+mn-lt"/>
                          <a:ea typeface="+mn-ea"/>
                          <a:cs typeface="+mn-cs"/>
                        </a:rPr>
                        <a:t>Bonitas</a:t>
                      </a:r>
                      <a:r>
                        <a:rPr kumimoji="1" lang="en-US" altLang="ja-JP" sz="1000" kern="1200" dirty="0">
                          <a:solidFill>
                            <a:schemeClr val="tx1"/>
                          </a:solidFill>
                          <a:latin typeface="+mn-lt"/>
                          <a:ea typeface="+mn-ea"/>
                          <a:cs typeface="+mn-cs"/>
                        </a:rPr>
                        <a:t> </a:t>
                      </a:r>
                      <a:r>
                        <a:rPr kumimoji="1" lang="en-US" altLang="ja-JP" sz="1000" kern="1200" dirty="0" err="1">
                          <a:solidFill>
                            <a:schemeClr val="tx1"/>
                          </a:solidFill>
                          <a:latin typeface="+mn-lt"/>
                          <a:ea typeface="+mn-ea"/>
                          <a:cs typeface="+mn-cs"/>
                        </a:rPr>
                        <a:t>Virtualcare</a:t>
                      </a:r>
                      <a:r>
                        <a:rPr kumimoji="1" lang="ja-JP" altLang="en-US" sz="1000" kern="1200" dirty="0">
                          <a:solidFill>
                            <a:schemeClr val="tx1"/>
                          </a:solidFill>
                          <a:latin typeface="+mn-lt"/>
                          <a:ea typeface="+mn-ea"/>
                          <a:cs typeface="+mn-cs"/>
                        </a:rPr>
                        <a:t>というソリューションを提供</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portal.allegra.co.za/products</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オンライン診療の選択肢はまだ多くはないが、保健省がガイドラインを策定しており、少しずつ参入企業が増えてきているものと見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95608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extLst>
              <p:ext uri="{D42A27DB-BD31-4B8C-83A1-F6EECF244321}">
                <p14:modId xmlns:p14="http://schemas.microsoft.com/office/powerpoint/2010/main" val="319126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および業界団体を以下の表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1202645404"/>
              </p:ext>
            </p:extLst>
          </p:nvPr>
        </p:nvGraphicFramePr>
        <p:xfrm>
          <a:off x="488504" y="1608594"/>
          <a:ext cx="8784976" cy="3484836"/>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ja-JP" altLang="en-US" sz="800" dirty="0"/>
                        <a:t>南アフリカ医療協会 </a:t>
                      </a:r>
                      <a:r>
                        <a:rPr lang="en-US" altLang="ja-JP" sz="800" dirty="0"/>
                        <a:t>South African Medical Associ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88</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の医師の約</a:t>
                      </a:r>
                      <a:r>
                        <a:rPr kumimoji="1" lang="en-US" altLang="ja-JP" sz="700" kern="1200" dirty="0">
                          <a:solidFill>
                            <a:schemeClr val="dk1"/>
                          </a:solidFill>
                          <a:latin typeface="+mn-lt"/>
                          <a:ea typeface="+mn-ea"/>
                          <a:cs typeface="+mn-cs"/>
                        </a:rPr>
                        <a:t>70%</a:t>
                      </a:r>
                      <a:r>
                        <a:rPr kumimoji="1" lang="ja-JP" altLang="en-US" sz="700" kern="1200" dirty="0">
                          <a:solidFill>
                            <a:schemeClr val="dk1"/>
                          </a:solidFill>
                          <a:latin typeface="+mn-lt"/>
                          <a:ea typeface="+mn-ea"/>
                          <a:cs typeface="+mn-cs"/>
                        </a:rPr>
                        <a:t>が所属する職能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amedical.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South African Academy of Family Physicia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Primary care</a:t>
                      </a:r>
                      <a:r>
                        <a:rPr kumimoji="1" lang="ja-JP" altLang="en-US" sz="700" kern="1200" dirty="0">
                          <a:solidFill>
                            <a:schemeClr val="dk1"/>
                          </a:solidFill>
                          <a:latin typeface="+mn-lt"/>
                          <a:ea typeface="+mn-ea"/>
                          <a:cs typeface="+mn-cs"/>
                        </a:rPr>
                        <a:t>を担当する家庭医の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afp.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6747954"/>
                  </a:ext>
                </a:extLst>
              </a:tr>
              <a:tr h="2878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Federation of South African Surgeon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にある外科医の学会を束ねる上位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fosas.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63989886"/>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外科医師会 </a:t>
                      </a:r>
                      <a:r>
                        <a:rPr lang="en-US" altLang="ja-JP" sz="800" dirty="0"/>
                        <a:t>The Association of Surgeons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43</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の一般外科医の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urgeon.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91857625"/>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心臓協会　</a:t>
                      </a:r>
                      <a:r>
                        <a:rPr lang="en-US" altLang="ja-JP" sz="800" dirty="0"/>
                        <a:t>South African Heart Association NP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99</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心臓外科医や関連する技師・看護師・放射線技師、心血管疾患の研究者などからなる非営利法人</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aheart.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803721"/>
                  </a:ext>
                </a:extLst>
              </a:tr>
              <a:tr h="167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整形外科学会 </a:t>
                      </a:r>
                      <a:r>
                        <a:rPr lang="en-US" altLang="ja-JP" sz="800" dirty="0"/>
                        <a:t>South African Orthopedic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47</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整形外科医</a:t>
                      </a:r>
                      <a:r>
                        <a:rPr kumimoji="1" lang="en-US" altLang="ja-JP" sz="700" kern="1200" dirty="0">
                          <a:solidFill>
                            <a:schemeClr val="dk1"/>
                          </a:solidFill>
                          <a:latin typeface="+mn-lt"/>
                          <a:ea typeface="+mn-ea"/>
                          <a:cs typeface="+mn-cs"/>
                        </a:rPr>
                        <a:t>800</a:t>
                      </a:r>
                      <a:r>
                        <a:rPr kumimoji="1" lang="ja-JP" altLang="en-US" sz="700" kern="1200" dirty="0">
                          <a:solidFill>
                            <a:schemeClr val="dk1"/>
                          </a:solidFill>
                          <a:latin typeface="+mn-lt"/>
                          <a:ea typeface="+mn-ea"/>
                          <a:cs typeface="+mn-cs"/>
                        </a:rPr>
                        <a:t>名ほ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o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38039226"/>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歯科医師会 </a:t>
                      </a:r>
                      <a:r>
                        <a:rPr lang="en-US" altLang="ja-JP" sz="800" dirty="0"/>
                        <a:t>The South African Dent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98</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00</a:t>
                      </a:r>
                      <a:r>
                        <a:rPr kumimoji="1" lang="ja-JP" altLang="en-US" sz="700" kern="1200" dirty="0">
                          <a:solidFill>
                            <a:schemeClr val="dk1"/>
                          </a:solidFill>
                          <a:latin typeface="+mn-lt"/>
                          <a:ea typeface="+mn-ea"/>
                          <a:cs typeface="+mn-cs"/>
                        </a:rPr>
                        <a:t>年前後から南アフリカに存在した歯科関連の様々な学会が統合し、</a:t>
                      </a:r>
                      <a:r>
                        <a:rPr kumimoji="1" lang="en-US" altLang="ja-JP" sz="700" kern="1200" dirty="0">
                          <a:solidFill>
                            <a:schemeClr val="dk1"/>
                          </a:solidFill>
                          <a:latin typeface="+mn-lt"/>
                          <a:ea typeface="+mn-ea"/>
                          <a:cs typeface="+mn-cs"/>
                        </a:rPr>
                        <a:t>1998</a:t>
                      </a:r>
                      <a:r>
                        <a:rPr kumimoji="1" lang="ja-JP" altLang="en-US" sz="700" kern="1200" dirty="0">
                          <a:solidFill>
                            <a:schemeClr val="dk1"/>
                          </a:solidFill>
                          <a:latin typeface="+mn-lt"/>
                          <a:ea typeface="+mn-ea"/>
                          <a:cs typeface="+mn-cs"/>
                        </a:rPr>
                        <a:t>年に国内の大半の歯科医師を会員とする学会として設立。</a:t>
                      </a:r>
                      <a:r>
                        <a:rPr kumimoji="1" lang="en-US" altLang="ja-JP" sz="700" kern="1200" dirty="0">
                          <a:solidFill>
                            <a:schemeClr val="dk1"/>
                          </a:solidFill>
                          <a:latin typeface="+mn-lt"/>
                          <a:ea typeface="+mn-ea"/>
                          <a:cs typeface="+mn-cs"/>
                        </a:rPr>
                        <a:t>2020</a:t>
                      </a:r>
                      <a:r>
                        <a:rPr kumimoji="1" lang="ja-JP" altLang="en-US" sz="700" kern="1200" dirty="0">
                          <a:solidFill>
                            <a:schemeClr val="dk1"/>
                          </a:solidFill>
                          <a:latin typeface="+mn-lt"/>
                          <a:ea typeface="+mn-ea"/>
                          <a:cs typeface="+mn-cs"/>
                        </a:rPr>
                        <a:t>年からは全ての歯科関連の専門職にも門戸を開い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ad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3926351"/>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病理学会 </a:t>
                      </a:r>
                      <a:r>
                        <a:rPr lang="en-US" altLang="ja-JP" sz="800" dirty="0"/>
                        <a:t>National Pathology Group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00</a:t>
                      </a:r>
                      <a:r>
                        <a:rPr kumimoji="1" lang="ja-JP" altLang="en-US" sz="700" kern="1200" dirty="0">
                          <a:solidFill>
                            <a:schemeClr val="dk1"/>
                          </a:solidFill>
                          <a:latin typeface="+mn-lt"/>
                          <a:ea typeface="+mn-ea"/>
                          <a:cs typeface="+mn-cs"/>
                        </a:rPr>
                        <a:t>名ほどの病理専門医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pathology.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87068564"/>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放射線医学学会　</a:t>
                      </a:r>
                      <a:r>
                        <a:rPr lang="en-US" altLang="ja-JP" sz="800" dirty="0"/>
                        <a:t>The Radiological Society of South Afric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74</a:t>
                      </a:r>
                      <a:endParaRPr kumimoji="1" lang="ja-JP" altLang="en-US" sz="7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ボツワナ・ナミビア・ジンバブエの放射線科専門医による学会。</a:t>
                      </a:r>
                      <a:r>
                        <a:rPr kumimoji="1" lang="en-US" altLang="ja-JP" sz="700" kern="1200" dirty="0">
                          <a:solidFill>
                            <a:schemeClr val="dk1"/>
                          </a:solidFill>
                          <a:latin typeface="+mn-lt"/>
                          <a:ea typeface="+mn-ea"/>
                          <a:cs typeface="+mn-cs"/>
                        </a:rPr>
                        <a:t>900</a:t>
                      </a:r>
                      <a:r>
                        <a:rPr kumimoji="1" lang="ja-JP" altLang="en-US" sz="700" kern="1200" dirty="0">
                          <a:solidFill>
                            <a:schemeClr val="dk1"/>
                          </a:solidFill>
                          <a:latin typeface="+mn-lt"/>
                          <a:ea typeface="+mn-ea"/>
                          <a:cs typeface="+mn-cs"/>
                        </a:rPr>
                        <a:t>名以上の会員が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rss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22113144"/>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泌尿器科学会 </a:t>
                      </a:r>
                      <a:r>
                        <a:rPr lang="en-US" altLang="ja-JP" sz="800" dirty="0"/>
                        <a:t>South African Urolog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国内の泌尿器科専門医や研究者、学生などからなる学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ua.co.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43161189"/>
                  </a:ext>
                </a:extLst>
              </a:tr>
            </a:tbl>
          </a:graphicData>
        </a:graphic>
      </p:graphicFrame>
    </p:spTree>
    <p:extLst>
      <p:ext uri="{BB962C8B-B14F-4D97-AF65-F5344CB8AC3E}">
        <p14:creationId xmlns:p14="http://schemas.microsoft.com/office/powerpoint/2010/main" val="25084142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2D497C0-B624-4B1F-AF98-A43E0680C810}"/>
              </a:ext>
            </a:extLst>
          </p:cNvPr>
          <p:cNvGraphicFramePr>
            <a:graphicFrameLocks noChangeAspect="1"/>
          </p:cNvGraphicFramePr>
          <p:nvPr>
            <p:custDataLst>
              <p:tags r:id="rId1"/>
            </p:custDataLst>
            <p:extLst>
              <p:ext uri="{D42A27DB-BD31-4B8C-83A1-F6EECF244321}">
                <p14:modId xmlns:p14="http://schemas.microsoft.com/office/powerpoint/2010/main" val="335680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C2D497C0-B624-4B1F-AF98-A43E0680C8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業界団体および代表的なイベントを以下に示す。</a:t>
            </a:r>
          </a:p>
        </p:txBody>
      </p:sp>
      <p:sp>
        <p:nvSpPr>
          <p:cNvPr id="7" name="テキスト ボックス 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0AA9F180-01A2-41F5-917A-5C2914FDD43D}"/>
              </a:ext>
            </a:extLst>
          </p:cNvPr>
          <p:cNvGraphicFramePr>
            <a:graphicFrameLocks noGrp="1"/>
          </p:cNvGraphicFramePr>
          <p:nvPr>
            <p:extLst>
              <p:ext uri="{D42A27DB-BD31-4B8C-83A1-F6EECF244321}">
                <p14:modId xmlns:p14="http://schemas.microsoft.com/office/powerpoint/2010/main" val="3806509859"/>
              </p:ext>
            </p:extLst>
          </p:nvPr>
        </p:nvGraphicFramePr>
        <p:xfrm>
          <a:off x="379022" y="3689942"/>
          <a:ext cx="8750442" cy="606348"/>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753323387"/>
                    </a:ext>
                  </a:extLst>
                </a:gridCol>
                <a:gridCol w="1117594">
                  <a:extLst>
                    <a:ext uri="{9D8B030D-6E8A-4147-A177-3AD203B41FA5}">
                      <a16:colId xmlns:a16="http://schemas.microsoft.com/office/drawing/2014/main" val="783939283"/>
                    </a:ext>
                  </a:extLst>
                </a:gridCol>
                <a:gridCol w="3816424">
                  <a:extLst>
                    <a:ext uri="{9D8B030D-6E8A-4147-A177-3AD203B41FA5}">
                      <a16:colId xmlns:a16="http://schemas.microsoft.com/office/drawing/2014/main" val="2808370505"/>
                    </a:ext>
                  </a:extLst>
                </a:gridCol>
                <a:gridCol w="936104">
                  <a:extLst>
                    <a:ext uri="{9D8B030D-6E8A-4147-A177-3AD203B41FA5}">
                      <a16:colId xmlns:a16="http://schemas.microsoft.com/office/drawing/2014/main" val="2083171187"/>
                    </a:ext>
                  </a:extLst>
                </a:gridCol>
                <a:gridCol w="129614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扱い品目</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800" dirty="0"/>
                        <a:t>Africa Health  /</a:t>
                      </a:r>
                      <a:r>
                        <a:rPr lang="ja-JP" altLang="en-US" sz="800" dirty="0"/>
                        <a:t> </a:t>
                      </a:r>
                      <a:r>
                        <a:rPr lang="en-US" altLang="ja-JP" sz="800" dirty="0" err="1"/>
                        <a:t>Medlab</a:t>
                      </a:r>
                      <a:r>
                        <a:rPr lang="ja-JP" altLang="en-US" sz="800" dirty="0"/>
                        <a:t> </a:t>
                      </a:r>
                      <a:r>
                        <a:rPr lang="en-US" altLang="ja-JP" sz="800" dirty="0"/>
                        <a:t>Afric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Informa Markets</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医療機器・デバイス、整形外科・理学療法・リハビリテーション、消耗品・消費財、</a:t>
                      </a:r>
                      <a:r>
                        <a:rPr kumimoji="1" lang="en-US" altLang="ja-JP" sz="700" kern="1200" dirty="0">
                          <a:solidFill>
                            <a:schemeClr val="dk1"/>
                          </a:solidFill>
                          <a:latin typeface="+mn-lt"/>
                          <a:ea typeface="+mn-ea"/>
                          <a:cs typeface="+mn-cs"/>
                        </a:rPr>
                        <a:t>IT</a:t>
                      </a:r>
                      <a:r>
                        <a:rPr kumimoji="1" lang="ja-JP" altLang="en-US" sz="700" kern="1200" dirty="0">
                          <a:solidFill>
                            <a:schemeClr val="dk1"/>
                          </a:solidFill>
                          <a:latin typeface="+mn-lt"/>
                          <a:ea typeface="+mn-ea"/>
                          <a:cs typeface="+mn-cs"/>
                        </a:rPr>
                        <a:t>システム・ソリューション、医療インフラ・資産、画像診断・予防・診断後治療、ヘルスケア・一般サービス</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tx1"/>
                          </a:solidFill>
                          <a:latin typeface="+mn-lt"/>
                          <a:ea typeface="+mn-ea"/>
                          <a:cs typeface="+mn-cs"/>
                          <a:hlinkClick r:id="rId5">
                            <a:extLst>
                              <a:ext uri="{A12FA001-AC4F-418D-AE19-62706E023703}">
                                <ahyp:hlinkClr xmlns:ahyp="http://schemas.microsoft.com/office/drawing/2018/hyperlinkcolor" val="tx"/>
                              </a:ext>
                            </a:extLst>
                          </a:hlinkClick>
                        </a:rPr>
                        <a:t>https://www.africahealthexhibition.com/en/home.html</a:t>
                      </a:r>
                      <a:endParaRPr kumimoji="1" lang="en-US" altLang="ja-JP" sz="700" kern="1200" dirty="0">
                        <a:solidFill>
                          <a:schemeClr val="tx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graphicFrame>
        <p:nvGraphicFramePr>
          <p:cNvPr id="9" name="Table 8">
            <a:extLst>
              <a:ext uri="{FF2B5EF4-FFF2-40B4-BE49-F238E27FC236}">
                <a16:creationId xmlns:a16="http://schemas.microsoft.com/office/drawing/2014/main" id="{81958848-0648-4B20-B2DD-A60C952BA456}"/>
              </a:ext>
            </a:extLst>
          </p:cNvPr>
          <p:cNvGraphicFramePr>
            <a:graphicFrameLocks noGrp="1"/>
          </p:cNvGraphicFramePr>
          <p:nvPr>
            <p:extLst>
              <p:ext uri="{D42A27DB-BD31-4B8C-83A1-F6EECF244321}">
                <p14:modId xmlns:p14="http://schemas.microsoft.com/office/powerpoint/2010/main" val="2832126220"/>
              </p:ext>
            </p:extLst>
          </p:nvPr>
        </p:nvGraphicFramePr>
        <p:xfrm>
          <a:off x="344488" y="1877772"/>
          <a:ext cx="8784976" cy="944880"/>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医療機器メーカー団体</a:t>
                      </a:r>
                      <a:r>
                        <a:rPr lang="en-US" altLang="ja-JP" sz="800" dirty="0"/>
                        <a:t>Medical Device Manufacturers of South Africa</a:t>
                      </a:r>
                      <a:r>
                        <a:rPr lang="ja-JP" altLang="en-US" sz="800" dirty="0"/>
                        <a:t> </a:t>
                      </a:r>
                      <a:r>
                        <a:rPr lang="en-US" altLang="ja-JP" sz="800" dirty="0"/>
                        <a:t>(MDMS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不明</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で医療機器・資材を生産する企業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mdmsa.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800" dirty="0"/>
                        <a:t>南アフリカ医療機器産業組合 </a:t>
                      </a:r>
                      <a:r>
                        <a:rPr lang="en-US" altLang="ja-JP" sz="800" dirty="0"/>
                        <a:t>The South African Medical Technology Industry Association </a:t>
                      </a:r>
                      <a:r>
                        <a:rPr lang="ja-JP" altLang="en-US" sz="800" dirty="0"/>
                        <a:t>（</a:t>
                      </a:r>
                      <a:r>
                        <a:rPr lang="en-US" altLang="ja-JP" sz="800" dirty="0"/>
                        <a:t>SAMED</a:t>
                      </a:r>
                      <a:r>
                        <a:rPr lang="ja-JP" altLang="en-US" sz="800" dirty="0"/>
                        <a:t>）</a:t>
                      </a:r>
                      <a:endParaRPr lang="en-US" altLang="ja-JP" sz="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85</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南アフリカの医療テクノロジー企業の意欲向上を目的とした独立の業界団体</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samed.org.za/</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10" name="Rectangle 9">
            <a:extLst>
              <a:ext uri="{FF2B5EF4-FFF2-40B4-BE49-F238E27FC236}">
                <a16:creationId xmlns:a16="http://schemas.microsoft.com/office/drawing/2014/main" id="{DB53B254-8B8F-45AD-9BF1-7D99D3649792}"/>
              </a:ext>
            </a:extLst>
          </p:cNvPr>
          <p:cNvSpPr>
            <a:spLocks noChangeArrowheads="1"/>
          </p:cNvSpPr>
          <p:nvPr/>
        </p:nvSpPr>
        <p:spPr bwMode="auto">
          <a:xfrm>
            <a:off x="373797" y="159261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1" name="Rectangle 10">
            <a:extLst>
              <a:ext uri="{FF2B5EF4-FFF2-40B4-BE49-F238E27FC236}">
                <a16:creationId xmlns:a16="http://schemas.microsoft.com/office/drawing/2014/main" id="{3E6BA290-B566-4E7D-AB12-5558078D9EBE}"/>
              </a:ext>
            </a:extLst>
          </p:cNvPr>
          <p:cNvSpPr>
            <a:spLocks noChangeArrowheads="1"/>
          </p:cNvSpPr>
          <p:nvPr/>
        </p:nvSpPr>
        <p:spPr bwMode="auto">
          <a:xfrm>
            <a:off x="373797" y="340901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6053271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1012174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3" imgW="270" imgH="270" progId="TCLayout.ActiveDocument.1">
                  <p:embed/>
                </p:oleObj>
              </mc:Choice>
              <mc:Fallback>
                <p:oleObj name="think-cell Slide" r:id="rId223" imgW="270" imgH="270" progId="TCLayout.ActiveDocument.1">
                  <p:embed/>
                  <p:pic>
                    <p:nvPicPr>
                      <p:cNvPr id="7" name="オブジェクト 6" hidden="1"/>
                      <p:cNvPicPr>
                        <a:picLocks noChangeAspect="1" noChangeArrowheads="1"/>
                      </p:cNvPicPr>
                      <p:nvPr/>
                    </p:nvPicPr>
                    <p:blipFill>
                      <a:blip r:embed="rId2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超えて人口は増加を続け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からは徐々に高齢化が始まると見込まれている。</a:t>
            </a:r>
          </a:p>
        </p:txBody>
      </p:sp>
      <p:grpSp>
        <p:nvGrpSpPr>
          <p:cNvPr id="66" name="グループ化 65"/>
          <p:cNvGrpSpPr/>
          <p:nvPr/>
        </p:nvGrpSpPr>
        <p:grpSpPr>
          <a:xfrm>
            <a:off x="8192940" y="4494104"/>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36" name="Chart 335">
            <a:extLst>
              <a:ext uri="{FF2B5EF4-FFF2-40B4-BE49-F238E27FC236}">
                <a16:creationId xmlns:a16="http://schemas.microsoft.com/office/drawing/2014/main" id="{F6DC68DE-3073-49C5-A335-375A17FE5675}"/>
              </a:ext>
            </a:extLst>
          </p:cNvPr>
          <p:cNvGraphicFramePr/>
          <p:nvPr>
            <p:custDataLst>
              <p:tags r:id="rId3"/>
            </p:custDataLst>
            <p:extLst>
              <p:ext uri="{D42A27DB-BD31-4B8C-83A1-F6EECF244321}">
                <p14:modId xmlns:p14="http://schemas.microsoft.com/office/powerpoint/2010/main" val="2830549556"/>
              </p:ext>
            </p:extLst>
          </p:nvPr>
        </p:nvGraphicFramePr>
        <p:xfrm>
          <a:off x="233363" y="2452688"/>
          <a:ext cx="9377362" cy="1374775"/>
        </p:xfrm>
        <a:graphic>
          <a:graphicData uri="http://schemas.openxmlformats.org/drawingml/2006/chart">
            <c:chart xmlns:c="http://schemas.openxmlformats.org/drawingml/2006/chart" xmlns:r="http://schemas.openxmlformats.org/officeDocument/2006/relationships" r:id="rId225"/>
          </a:graphicData>
        </a:graphic>
      </p:graphicFrame>
      <p:cxnSp>
        <p:nvCxnSpPr>
          <p:cNvPr id="70" name="Straight Connector 69">
            <a:extLst>
              <a:ext uri="{FF2B5EF4-FFF2-40B4-BE49-F238E27FC236}">
                <a16:creationId xmlns:a16="http://schemas.microsoft.com/office/drawing/2014/main" id="{8D19715C-0BBB-4613-998A-A2EE7CBB2CAB}"/>
              </a:ext>
            </a:extLst>
          </p:cNvPr>
          <p:cNvCxnSpPr/>
          <p:nvPr>
            <p:custDataLst>
              <p:tags r:id="rId4"/>
            </p:custDataLst>
          </p:nvPr>
        </p:nvCxnSpPr>
        <p:spPr bwMode="auto">
          <a:xfrm>
            <a:off x="5915025" y="2708275"/>
            <a:ext cx="4921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69FD5F7-18C6-437A-AF47-D6D09A1C1245}"/>
              </a:ext>
            </a:extLst>
          </p:cNvPr>
          <p:cNvCxnSpPr/>
          <p:nvPr>
            <p:custDataLst>
              <p:tags r:id="rId5"/>
            </p:custDataLst>
          </p:nvPr>
        </p:nvCxnSpPr>
        <p:spPr bwMode="auto">
          <a:xfrm flipV="1">
            <a:off x="1508125" y="3370263"/>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857C179B-D68F-4872-9027-EA5B09E94783}"/>
              </a:ext>
            </a:extLst>
          </p:cNvPr>
          <p:cNvCxnSpPr/>
          <p:nvPr>
            <p:custDataLst>
              <p:tags r:id="rId6"/>
            </p:custDataLst>
          </p:nvPr>
        </p:nvCxnSpPr>
        <p:spPr bwMode="auto">
          <a:xfrm>
            <a:off x="5964238" y="2708275"/>
            <a:ext cx="0" cy="438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60A254C8-CCBA-472A-880A-6E4726F74180}"/>
              </a:ext>
            </a:extLst>
          </p:cNvPr>
          <p:cNvCxnSpPr/>
          <p:nvPr>
            <p:custDataLst>
              <p:tags r:id="rId7"/>
            </p:custDataLst>
          </p:nvPr>
        </p:nvCxnSpPr>
        <p:spPr bwMode="auto">
          <a:xfrm>
            <a:off x="2535238" y="2949575"/>
            <a:ext cx="7938"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9" name="Text Placeholder 12"/>
          <p:cNvSpPr>
            <a:spLocks noGrp="1"/>
          </p:cNvSpPr>
          <p:nvPr>
            <p:custDataLst>
              <p:tags r:id="rId8"/>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76" name="Text Placeholder 12"/>
          <p:cNvSpPr>
            <a:spLocks noGrp="1"/>
          </p:cNvSpPr>
          <p:nvPr>
            <p:custDataLst>
              <p:tags r:id="rId9"/>
            </p:custDataLst>
          </p:nvPr>
        </p:nvSpPr>
        <p:spPr bwMode="auto">
          <a:xfrm>
            <a:off x="623093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48" name="Text Placeholder 12"/>
          <p:cNvSpPr>
            <a:spLocks noGrp="1"/>
          </p:cNvSpPr>
          <p:nvPr>
            <p:custDataLst>
              <p:tags r:id="rId10"/>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85" name="Text Placeholder 12"/>
          <p:cNvSpPr>
            <a:spLocks noGrp="1"/>
          </p:cNvSpPr>
          <p:nvPr>
            <p:custDataLst>
              <p:tags r:id="rId11"/>
            </p:custDataLst>
          </p:nvPr>
        </p:nvSpPr>
        <p:spPr bwMode="auto">
          <a:xfrm>
            <a:off x="687388" y="38369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83" name="Text Placeholder 12"/>
          <p:cNvSpPr>
            <a:spLocks noGrp="1"/>
          </p:cNvSpPr>
          <p:nvPr>
            <p:custDataLst>
              <p:tags r:id="rId12"/>
            </p:custDataLst>
          </p:nvPr>
        </p:nvSpPr>
        <p:spPr bwMode="auto">
          <a:xfrm>
            <a:off x="14414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4" name="Text Placeholder 12"/>
          <p:cNvSpPr>
            <a:spLocks noGrp="1"/>
          </p:cNvSpPr>
          <p:nvPr>
            <p:custDataLst>
              <p:tags r:id="rId13"/>
            </p:custDataLst>
          </p:nvPr>
        </p:nvSpPr>
        <p:spPr bwMode="auto">
          <a:xfrm>
            <a:off x="10985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40" name="Text Placeholder 12"/>
          <p:cNvSpPr>
            <a:spLocks noGrp="1"/>
          </p:cNvSpPr>
          <p:nvPr>
            <p:custDataLst>
              <p:tags r:id="rId14"/>
            </p:custDataLst>
          </p:nvPr>
        </p:nvSpPr>
        <p:spPr bwMode="auto">
          <a:xfrm>
            <a:off x="89677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82" name="Text Placeholder 12"/>
          <p:cNvSpPr>
            <a:spLocks noGrp="1"/>
          </p:cNvSpPr>
          <p:nvPr>
            <p:custDataLst>
              <p:tags r:id="rId15"/>
            </p:custDataLst>
          </p:nvPr>
        </p:nvSpPr>
        <p:spPr bwMode="auto">
          <a:xfrm>
            <a:off x="17827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43" name="Text Placeholder 12"/>
          <p:cNvSpPr>
            <a:spLocks noGrp="1"/>
          </p:cNvSpPr>
          <p:nvPr>
            <p:custDataLst>
              <p:tags r:id="rId16"/>
            </p:custDataLst>
          </p:nvPr>
        </p:nvSpPr>
        <p:spPr bwMode="auto">
          <a:xfrm>
            <a:off x="383540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useBgFill="1">
        <p:nvSpPr>
          <p:cNvPr id="314" name="テキスト プレースホルダ 9">
            <a:extLst>
              <a:ext uri="{FF2B5EF4-FFF2-40B4-BE49-F238E27FC236}">
                <a16:creationId xmlns:a16="http://schemas.microsoft.com/office/drawing/2014/main" id="{4A72BF5A-92B3-48E4-96BE-4B5A6D2DA73E}"/>
              </a:ext>
            </a:extLst>
          </p:cNvPr>
          <p:cNvSpPr>
            <a:spLocks noGrp="1"/>
          </p:cNvSpPr>
          <p:nvPr>
            <p:custDataLst>
              <p:tags r:id="rId17"/>
            </p:custDataLst>
          </p:nvPr>
        </p:nvSpPr>
        <p:spPr bwMode="gray">
          <a:xfrm>
            <a:off x="2114550" y="34432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5DFA174-7C4D-440E-AD38-4207214BAE25}" type="datetime'''''''0''''''''''''.''''''''''''''''''''''''9'">
              <a:rPr kumimoji="0" lang="ja-JP" altLang="en-US" sz="1000" smtClean="0">
                <a:effectLst/>
              </a:rPr>
              <a:pPr/>
              <a:t>0.9</a:t>
            </a:fld>
            <a:endParaRPr kumimoji="0" lang="ja-JP" altLang="en-US" sz="1000" dirty="0">
              <a:sym typeface="+mn-lt"/>
            </a:endParaRPr>
          </a:p>
        </p:txBody>
      </p:sp>
      <p:sp>
        <p:nvSpPr>
          <p:cNvPr id="78" name="Text Placeholder 12"/>
          <p:cNvSpPr>
            <a:spLocks noGrp="1"/>
          </p:cNvSpPr>
          <p:nvPr>
            <p:custDataLst>
              <p:tags r:id="rId18"/>
            </p:custDataLst>
          </p:nvPr>
        </p:nvSpPr>
        <p:spPr bwMode="auto">
          <a:xfrm>
            <a:off x="24669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80" name="Text Placeholder 12"/>
          <p:cNvSpPr>
            <a:spLocks noGrp="1"/>
          </p:cNvSpPr>
          <p:nvPr>
            <p:custDataLst>
              <p:tags r:id="rId19"/>
            </p:custDataLst>
          </p:nvPr>
        </p:nvSpPr>
        <p:spPr bwMode="auto">
          <a:xfrm>
            <a:off x="21256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46" name="Text Placeholder 12"/>
          <p:cNvSpPr>
            <a:spLocks noGrp="1"/>
          </p:cNvSpPr>
          <p:nvPr>
            <p:custDataLst>
              <p:tags r:id="rId20"/>
            </p:custDataLst>
          </p:nvPr>
        </p:nvSpPr>
        <p:spPr bwMode="auto">
          <a:xfrm>
            <a:off x="31511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7" name="Text Placeholder 12"/>
          <p:cNvSpPr>
            <a:spLocks noGrp="1"/>
          </p:cNvSpPr>
          <p:nvPr>
            <p:custDataLst>
              <p:tags r:id="rId21"/>
            </p:custDataLst>
          </p:nvPr>
        </p:nvSpPr>
        <p:spPr bwMode="auto">
          <a:xfrm>
            <a:off x="28098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196" name="Text Placeholder 12"/>
          <p:cNvSpPr>
            <a:spLocks noGrp="1"/>
          </p:cNvSpPr>
          <p:nvPr>
            <p:custDataLst>
              <p:tags r:id="rId22"/>
            </p:custDataLst>
          </p:nvPr>
        </p:nvSpPr>
        <p:spPr bwMode="auto">
          <a:xfrm>
            <a:off x="69151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42" name="Text Placeholder 12"/>
          <p:cNvSpPr>
            <a:spLocks noGrp="1"/>
          </p:cNvSpPr>
          <p:nvPr>
            <p:custDataLst>
              <p:tags r:id="rId23"/>
            </p:custDataLst>
          </p:nvPr>
        </p:nvSpPr>
        <p:spPr bwMode="auto">
          <a:xfrm>
            <a:off x="417830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1" name="Text Placeholder 12"/>
          <p:cNvSpPr>
            <a:spLocks noGrp="1"/>
          </p:cNvSpPr>
          <p:nvPr>
            <p:custDataLst>
              <p:tags r:id="rId24"/>
            </p:custDataLst>
          </p:nvPr>
        </p:nvSpPr>
        <p:spPr bwMode="auto">
          <a:xfrm>
            <a:off x="451961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50" name="Text Placeholder 12"/>
          <p:cNvSpPr>
            <a:spLocks noGrp="1"/>
          </p:cNvSpPr>
          <p:nvPr>
            <p:custDataLst>
              <p:tags r:id="rId25"/>
            </p:custDataLst>
          </p:nvPr>
        </p:nvSpPr>
        <p:spPr bwMode="auto">
          <a:xfrm>
            <a:off x="486251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44" name="Text Placeholder 12"/>
          <p:cNvSpPr>
            <a:spLocks noGrp="1"/>
          </p:cNvSpPr>
          <p:nvPr>
            <p:custDataLst>
              <p:tags r:id="rId26"/>
            </p:custDataLst>
          </p:nvPr>
        </p:nvSpPr>
        <p:spPr bwMode="auto">
          <a:xfrm>
            <a:off x="520382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5" name="Text Placeholder 12"/>
          <p:cNvSpPr>
            <a:spLocks noGrp="1"/>
          </p:cNvSpPr>
          <p:nvPr>
            <p:custDataLst>
              <p:tags r:id="rId27"/>
            </p:custDataLst>
          </p:nvPr>
        </p:nvSpPr>
        <p:spPr bwMode="auto">
          <a:xfrm>
            <a:off x="554672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7" name="Text Placeholder 12"/>
          <p:cNvSpPr>
            <a:spLocks noGrp="1"/>
          </p:cNvSpPr>
          <p:nvPr>
            <p:custDataLst>
              <p:tags r:id="rId28"/>
            </p:custDataLst>
          </p:nvPr>
        </p:nvSpPr>
        <p:spPr bwMode="auto">
          <a:xfrm>
            <a:off x="588803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195" name="Text Placeholder 12"/>
          <p:cNvSpPr>
            <a:spLocks noGrp="1"/>
          </p:cNvSpPr>
          <p:nvPr>
            <p:custDataLst>
              <p:tags r:id="rId29"/>
            </p:custDataLst>
          </p:nvPr>
        </p:nvSpPr>
        <p:spPr bwMode="auto">
          <a:xfrm>
            <a:off x="6572250"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7" name="Text Placeholder 12"/>
          <p:cNvSpPr>
            <a:spLocks noGrp="1"/>
          </p:cNvSpPr>
          <p:nvPr>
            <p:custDataLst>
              <p:tags r:id="rId30"/>
            </p:custDataLst>
          </p:nvPr>
        </p:nvSpPr>
        <p:spPr bwMode="auto">
          <a:xfrm>
            <a:off x="72564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2" name="Text Placeholder 12"/>
          <p:cNvSpPr>
            <a:spLocks noGrp="1"/>
          </p:cNvSpPr>
          <p:nvPr>
            <p:custDataLst>
              <p:tags r:id="rId31"/>
            </p:custDataLst>
          </p:nvPr>
        </p:nvSpPr>
        <p:spPr bwMode="auto">
          <a:xfrm>
            <a:off x="7599363"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53" name="Text Placeholder 12"/>
          <p:cNvSpPr>
            <a:spLocks noGrp="1"/>
          </p:cNvSpPr>
          <p:nvPr>
            <p:custDataLst>
              <p:tags r:id="rId32"/>
            </p:custDataLst>
          </p:nvPr>
        </p:nvSpPr>
        <p:spPr bwMode="auto">
          <a:xfrm>
            <a:off x="79406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3"/>
            </p:custDataLst>
          </p:nvPr>
        </p:nvSpPr>
        <p:spPr bwMode="auto">
          <a:xfrm>
            <a:off x="8283575"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39" name="Text Placeholder 12"/>
          <p:cNvSpPr>
            <a:spLocks noGrp="1"/>
          </p:cNvSpPr>
          <p:nvPr>
            <p:custDataLst>
              <p:tags r:id="rId34"/>
            </p:custDataLst>
          </p:nvPr>
        </p:nvSpPr>
        <p:spPr bwMode="auto">
          <a:xfrm>
            <a:off x="86248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useBgFill="1">
        <p:nvSpPr>
          <p:cNvPr id="331" name="テキスト プレースホルダ 9">
            <a:extLst>
              <a:ext uri="{FF2B5EF4-FFF2-40B4-BE49-F238E27FC236}">
                <a16:creationId xmlns:a16="http://schemas.microsoft.com/office/drawing/2014/main" id="{169D6120-33F9-4FA5-BD5D-2E7100C024A7}"/>
              </a:ext>
            </a:extLst>
          </p:cNvPr>
          <p:cNvSpPr>
            <a:spLocks noGrp="1"/>
          </p:cNvSpPr>
          <p:nvPr>
            <p:custDataLst>
              <p:tags r:id="rId35"/>
            </p:custDataLst>
          </p:nvPr>
        </p:nvSpPr>
        <p:spPr bwMode="gray">
          <a:xfrm>
            <a:off x="1071563" y="30622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815F32-7341-4EF8-81E6-6CF89861FF4C}" type="datetime'''''''''''0''''''''''''''''''''''.''''''''''''''9'">
              <a:rPr lang="ja-JP" altLang="en-US" sz="1000" smtClean="0">
                <a:effectLst/>
                <a:sym typeface="+mn-lt"/>
              </a:rPr>
              <a:pPr marL="0" indent="0" algn="ctr">
                <a:spcBef>
                  <a:spcPct val="0"/>
                </a:spcBef>
                <a:buNone/>
              </a:pPr>
              <a:t>0.9</a:t>
            </a:fld>
            <a:endParaRPr lang="ja-JP" altLang="en-US" sz="1000" dirty="0">
              <a:sym typeface="+mn-lt"/>
            </a:endParaRPr>
          </a:p>
        </p:txBody>
      </p:sp>
      <p:sp useBgFill="1">
        <p:nvSpPr>
          <p:cNvPr id="332" name="テキスト プレースホルダ 9">
            <a:extLst>
              <a:ext uri="{FF2B5EF4-FFF2-40B4-BE49-F238E27FC236}">
                <a16:creationId xmlns:a16="http://schemas.microsoft.com/office/drawing/2014/main" id="{0AC50106-7C9B-48C9-BC55-FD5A9C496D72}"/>
              </a:ext>
            </a:extLst>
          </p:cNvPr>
          <p:cNvSpPr>
            <a:spLocks noGrp="1"/>
          </p:cNvSpPr>
          <p:nvPr>
            <p:custDataLst>
              <p:tags r:id="rId36"/>
            </p:custDataLst>
          </p:nvPr>
        </p:nvSpPr>
        <p:spPr bwMode="gray">
          <a:xfrm>
            <a:off x="5483225" y="278447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0E9116-E07C-4298-B1C5-7E36B7CAAE82}" type="datetime'5''''''''''''''''''''''''4''''.''''''7'">
              <a:rPr lang="ja-JP" altLang="en-US" sz="1000" smtClean="0">
                <a:effectLst/>
                <a:sym typeface="+mn-lt"/>
              </a:rPr>
              <a:pPr marL="0" indent="0" algn="ctr">
                <a:spcBef>
                  <a:spcPct val="0"/>
                </a:spcBef>
                <a:buNone/>
              </a:pPr>
              <a:t>54.7</a:t>
            </a:fld>
            <a:endParaRPr lang="ja-JP" altLang="en-US" sz="1000" dirty="0">
              <a:sym typeface="+mn-lt"/>
            </a:endParaRPr>
          </a:p>
        </p:txBody>
      </p:sp>
      <p:sp useBgFill="1">
        <p:nvSpPr>
          <p:cNvPr id="333" name="テキスト プレースホルダ 9">
            <a:extLst>
              <a:ext uri="{FF2B5EF4-FFF2-40B4-BE49-F238E27FC236}">
                <a16:creationId xmlns:a16="http://schemas.microsoft.com/office/drawing/2014/main" id="{FCBD6C13-90FC-4189-B936-52E1CCAE952A}"/>
              </a:ext>
            </a:extLst>
          </p:cNvPr>
          <p:cNvSpPr>
            <a:spLocks noGrp="1"/>
          </p:cNvSpPr>
          <p:nvPr>
            <p:custDataLst>
              <p:tags r:id="rId37"/>
            </p:custDataLst>
          </p:nvPr>
        </p:nvSpPr>
        <p:spPr bwMode="gray">
          <a:xfrm>
            <a:off x="5861050" y="28368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4EE3BD-461D-4085-B50C-F1643BBE5919}" type="datetime'''''''''''''2''''''''.''''''''''''''''1'''''''''">
              <a:rPr lang="ja-JP" altLang="en-US" sz="1000" smtClean="0">
                <a:effectLst/>
                <a:sym typeface="+mn-lt"/>
              </a:rPr>
              <a:pPr marL="0" indent="0" algn="ctr">
                <a:spcBef>
                  <a:spcPct val="0"/>
                </a:spcBef>
                <a:buNone/>
              </a:pPr>
              <a:t>2.1</a:t>
            </a:fld>
            <a:endParaRPr lang="ja-JP" altLang="en-US" sz="1000" dirty="0">
              <a:sym typeface="+mn-lt"/>
            </a:endParaRPr>
          </a:p>
        </p:txBody>
      </p:sp>
      <p:sp useBgFill="1">
        <p:nvSpPr>
          <p:cNvPr id="334" name="テキスト プレースホルダ 9">
            <a:extLst>
              <a:ext uri="{FF2B5EF4-FFF2-40B4-BE49-F238E27FC236}">
                <a16:creationId xmlns:a16="http://schemas.microsoft.com/office/drawing/2014/main" id="{E96A211D-7DD3-4CE6-9889-D93800AAAABB}"/>
              </a:ext>
            </a:extLst>
          </p:cNvPr>
          <p:cNvSpPr>
            <a:spLocks noGrp="1"/>
          </p:cNvSpPr>
          <p:nvPr>
            <p:custDataLst>
              <p:tags r:id="rId38"/>
            </p:custDataLst>
          </p:nvPr>
        </p:nvSpPr>
        <p:spPr bwMode="gray">
          <a:xfrm>
            <a:off x="6545263" y="364172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EB8E6E-9FEB-465C-8FC1-18CF64238342}" type="datetime'''0''''''.''''''''''''''''''''''''''4'">
              <a:rPr lang="ja-JP" altLang="en-US" sz="1000" smtClean="0">
                <a:effectLst/>
                <a:sym typeface="+mn-lt"/>
              </a:rPr>
              <a:pPr marL="0" indent="0" algn="ctr">
                <a:spcBef>
                  <a:spcPct val="0"/>
                </a:spcBef>
                <a:buNone/>
              </a:pPr>
              <a:t>0.4</a:t>
            </a:fld>
            <a:endParaRPr lang="ja-JP" altLang="en-US" sz="1000" dirty="0">
              <a:sym typeface="+mn-lt"/>
            </a:endParaRPr>
          </a:p>
        </p:txBody>
      </p:sp>
      <p:sp>
        <p:nvSpPr>
          <p:cNvPr id="41" name="Text Placeholder 12"/>
          <p:cNvSpPr>
            <a:spLocks noGrp="1"/>
          </p:cNvSpPr>
          <p:nvPr>
            <p:custDataLst>
              <p:tags r:id="rId39"/>
            </p:custDataLst>
          </p:nvPr>
        </p:nvSpPr>
        <p:spPr bwMode="auto">
          <a:xfrm>
            <a:off x="3494088" y="3836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86" name="Rectangle 85"/>
          <p:cNvSpPr/>
          <p:nvPr>
            <p:custDataLst>
              <p:tags r:id="rId40"/>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cxnSp>
        <p:nvCxnSpPr>
          <p:cNvPr id="87" name="Straight Connector 86"/>
          <p:cNvCxnSpPr/>
          <p:nvPr>
            <p:custDataLst>
              <p:tags r:id="rId41"/>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8" name="Oval 87"/>
          <p:cNvSpPr/>
          <p:nvPr>
            <p:custDataLst>
              <p:tags r:id="rId42"/>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3"/>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44"/>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75" name="Straight Connector 274">
            <a:extLst>
              <a:ext uri="{FF2B5EF4-FFF2-40B4-BE49-F238E27FC236}">
                <a16:creationId xmlns:a16="http://schemas.microsoft.com/office/drawing/2014/main" id="{C6B64492-4354-4FC7-A307-5A8315DEA4CC}"/>
              </a:ext>
            </a:extLst>
          </p:cNvPr>
          <p:cNvCxnSpPr/>
          <p:nvPr>
            <p:custDataLst>
              <p:tags r:id="rId45"/>
            </p:custDataLst>
          </p:nvPr>
        </p:nvCxnSpPr>
        <p:spPr bwMode="auto">
          <a:xfrm>
            <a:off x="7089775" y="48799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46"/>
            </p:custDataLst>
          </p:nvPr>
        </p:nvCxnSpPr>
        <p:spPr bwMode="auto">
          <a:xfrm>
            <a:off x="7089775" y="57975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47"/>
            </p:custDataLst>
          </p:nvPr>
        </p:nvCxnSpPr>
        <p:spPr bwMode="auto">
          <a:xfrm>
            <a:off x="7434263" y="48799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48"/>
            </p:custDataLst>
          </p:nvPr>
        </p:nvCxnSpPr>
        <p:spPr bwMode="auto">
          <a:xfrm>
            <a:off x="6403974" y="487521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49"/>
            </p:custDataLst>
          </p:nvPr>
        </p:nvCxnSpPr>
        <p:spPr bwMode="auto">
          <a:xfrm>
            <a:off x="7434263" y="57975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50"/>
            </p:custDataLst>
          </p:nvPr>
        </p:nvCxnSpPr>
        <p:spPr bwMode="auto">
          <a:xfrm>
            <a:off x="7777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51"/>
            </p:custDataLst>
          </p:nvPr>
        </p:nvCxnSpPr>
        <p:spPr bwMode="auto">
          <a:xfrm>
            <a:off x="8120063" y="5797550"/>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52"/>
            </p:custDataLst>
          </p:nvPr>
        </p:nvCxnSpPr>
        <p:spPr bwMode="auto">
          <a:xfrm>
            <a:off x="7777163" y="48815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53"/>
            </p:custDataLst>
          </p:nvPr>
        </p:nvCxnSpPr>
        <p:spPr bwMode="auto">
          <a:xfrm>
            <a:off x="7777163" y="57975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54"/>
            </p:custDataLst>
          </p:nvPr>
        </p:nvCxnSpPr>
        <p:spPr bwMode="auto">
          <a:xfrm>
            <a:off x="81200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5"/>
            </p:custDataLst>
          </p:nvPr>
        </p:nvCxnSpPr>
        <p:spPr bwMode="auto">
          <a:xfrm>
            <a:off x="8120063" y="4881563"/>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56"/>
            </p:custDataLst>
          </p:nvPr>
        </p:nvCxnSpPr>
        <p:spPr bwMode="auto">
          <a:xfrm>
            <a:off x="84629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57"/>
            </p:custDataLst>
          </p:nvPr>
        </p:nvCxnSpPr>
        <p:spPr bwMode="auto">
          <a:xfrm>
            <a:off x="8462963" y="4895850"/>
            <a:ext cx="128588"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58"/>
            </p:custDataLst>
          </p:nvPr>
        </p:nvCxnSpPr>
        <p:spPr bwMode="auto">
          <a:xfrm>
            <a:off x="8462963" y="5838825"/>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9"/>
            </p:custDataLst>
          </p:nvPr>
        </p:nvCxnSpPr>
        <p:spPr bwMode="auto">
          <a:xfrm>
            <a:off x="8807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60"/>
            </p:custDataLst>
          </p:nvPr>
        </p:nvCxnSpPr>
        <p:spPr bwMode="auto">
          <a:xfrm>
            <a:off x="8807450" y="4921251"/>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1"/>
            </p:custDataLst>
          </p:nvPr>
        </p:nvCxnSpPr>
        <p:spPr bwMode="auto">
          <a:xfrm>
            <a:off x="6746875" y="48783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62"/>
            </p:custDataLst>
          </p:nvPr>
        </p:nvCxnSpPr>
        <p:spPr bwMode="auto">
          <a:xfrm>
            <a:off x="19399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63"/>
            </p:custDataLst>
          </p:nvPr>
        </p:nvCxnSpPr>
        <p:spPr bwMode="auto">
          <a:xfrm>
            <a:off x="5373688"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64"/>
            </p:custDataLst>
          </p:nvPr>
        </p:nvCxnSpPr>
        <p:spPr bwMode="auto">
          <a:xfrm>
            <a:off x="6059487" y="48736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a:cxnSpLocks/>
          </p:cNvCxnSpPr>
          <p:nvPr>
            <p:custDataLst>
              <p:tags r:id="rId65"/>
            </p:custDataLst>
          </p:nvPr>
        </p:nvCxnSpPr>
        <p:spPr bwMode="auto">
          <a:xfrm flipV="1">
            <a:off x="6403975" y="57991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66"/>
            </p:custDataLst>
          </p:nvPr>
        </p:nvCxnSpPr>
        <p:spPr bwMode="auto">
          <a:xfrm>
            <a:off x="2627313" y="5768975"/>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67"/>
            </p:custDataLst>
          </p:nvPr>
        </p:nvCxnSpPr>
        <p:spPr bwMode="auto">
          <a:xfrm>
            <a:off x="2627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68"/>
            </p:custDataLst>
          </p:nvPr>
        </p:nvCxnSpPr>
        <p:spPr bwMode="auto">
          <a:xfrm>
            <a:off x="4686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9"/>
            </p:custDataLst>
          </p:nvPr>
        </p:nvCxnSpPr>
        <p:spPr bwMode="auto">
          <a:xfrm>
            <a:off x="9096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70"/>
            </p:custDataLst>
          </p:nvPr>
        </p:nvCxnSpPr>
        <p:spPr bwMode="auto">
          <a:xfrm>
            <a:off x="909638" y="48561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71"/>
            </p:custDataLst>
          </p:nvPr>
        </p:nvCxnSpPr>
        <p:spPr bwMode="auto">
          <a:xfrm>
            <a:off x="60594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72"/>
            </p:custDataLst>
          </p:nvPr>
        </p:nvCxnSpPr>
        <p:spPr bwMode="auto">
          <a:xfrm>
            <a:off x="909638" y="5705474"/>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73"/>
            </p:custDataLst>
          </p:nvPr>
        </p:nvCxnSpPr>
        <p:spPr bwMode="auto">
          <a:xfrm>
            <a:off x="12541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74"/>
            </p:custDataLst>
          </p:nvPr>
        </p:nvCxnSpPr>
        <p:spPr bwMode="auto">
          <a:xfrm>
            <a:off x="1254125" y="48561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75"/>
            </p:custDataLst>
          </p:nvPr>
        </p:nvCxnSpPr>
        <p:spPr bwMode="auto">
          <a:xfrm>
            <a:off x="1254125" y="5719762"/>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76"/>
            </p:custDataLst>
          </p:nvPr>
        </p:nvCxnSpPr>
        <p:spPr bwMode="auto">
          <a:xfrm>
            <a:off x="1597025" y="4856162"/>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77"/>
            </p:custDataLst>
          </p:nvPr>
        </p:nvCxnSpPr>
        <p:spPr bwMode="auto">
          <a:xfrm>
            <a:off x="1597025" y="5734049"/>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78"/>
            </p:custDataLst>
          </p:nvPr>
        </p:nvCxnSpPr>
        <p:spPr bwMode="auto">
          <a:xfrm>
            <a:off x="1939925" y="48577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79"/>
            </p:custDataLst>
          </p:nvPr>
        </p:nvCxnSpPr>
        <p:spPr bwMode="auto">
          <a:xfrm>
            <a:off x="1939925" y="5748338"/>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80"/>
            </p:custDataLst>
          </p:nvPr>
        </p:nvCxnSpPr>
        <p:spPr bwMode="auto">
          <a:xfrm>
            <a:off x="3657600" y="578961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81"/>
            </p:custDataLst>
          </p:nvPr>
        </p:nvCxnSpPr>
        <p:spPr bwMode="auto">
          <a:xfrm>
            <a:off x="2282825" y="485774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82"/>
            </p:custDataLst>
          </p:nvPr>
        </p:nvCxnSpPr>
        <p:spPr bwMode="auto">
          <a:xfrm>
            <a:off x="2282825" y="5759450"/>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83"/>
            </p:custDataLst>
          </p:nvPr>
        </p:nvCxnSpPr>
        <p:spPr bwMode="auto">
          <a:xfrm>
            <a:off x="2627313"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84"/>
            </p:custDataLst>
          </p:nvPr>
        </p:nvCxnSpPr>
        <p:spPr bwMode="auto">
          <a:xfrm>
            <a:off x="159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85"/>
            </p:custDataLst>
          </p:nvPr>
        </p:nvCxnSpPr>
        <p:spPr bwMode="auto">
          <a:xfrm>
            <a:off x="29702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86"/>
            </p:custDataLst>
          </p:nvPr>
        </p:nvCxnSpPr>
        <p:spPr bwMode="auto">
          <a:xfrm>
            <a:off x="2970213"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87"/>
            </p:custDataLst>
          </p:nvPr>
        </p:nvCxnSpPr>
        <p:spPr bwMode="auto">
          <a:xfrm>
            <a:off x="2970213" y="57785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88"/>
            </p:custDataLst>
          </p:nvPr>
        </p:nvCxnSpPr>
        <p:spPr bwMode="auto">
          <a:xfrm>
            <a:off x="33131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89"/>
            </p:custDataLst>
          </p:nvPr>
        </p:nvCxnSpPr>
        <p:spPr bwMode="auto">
          <a:xfrm>
            <a:off x="3313113" y="48625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90"/>
            </p:custDataLst>
          </p:nvPr>
        </p:nvCxnSpPr>
        <p:spPr bwMode="auto">
          <a:xfrm>
            <a:off x="3313113" y="57848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91"/>
            </p:custDataLst>
          </p:nvPr>
        </p:nvCxnSpPr>
        <p:spPr bwMode="auto">
          <a:xfrm>
            <a:off x="3657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92"/>
            </p:custDataLst>
          </p:nvPr>
        </p:nvCxnSpPr>
        <p:spPr bwMode="auto">
          <a:xfrm>
            <a:off x="3657600"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93"/>
            </p:custDataLst>
          </p:nvPr>
        </p:nvCxnSpPr>
        <p:spPr bwMode="auto">
          <a:xfrm>
            <a:off x="40005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4"/>
            </p:custDataLst>
          </p:nvPr>
        </p:nvCxnSpPr>
        <p:spPr bwMode="auto">
          <a:xfrm>
            <a:off x="4000500"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95"/>
            </p:custDataLst>
          </p:nvPr>
        </p:nvCxnSpPr>
        <p:spPr bwMode="auto">
          <a:xfrm>
            <a:off x="4000500" y="57927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96"/>
            </p:custDataLst>
          </p:nvPr>
        </p:nvCxnSpPr>
        <p:spPr bwMode="auto">
          <a:xfrm>
            <a:off x="43434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97"/>
            </p:custDataLst>
          </p:nvPr>
        </p:nvCxnSpPr>
        <p:spPr bwMode="auto">
          <a:xfrm>
            <a:off x="4343400" y="48656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98"/>
            </p:custDataLst>
          </p:nvPr>
        </p:nvCxnSpPr>
        <p:spPr bwMode="auto">
          <a:xfrm>
            <a:off x="4343400" y="57975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99"/>
            </p:custDataLst>
          </p:nvPr>
        </p:nvCxnSpPr>
        <p:spPr bwMode="auto">
          <a:xfrm>
            <a:off x="4686300" y="48672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100"/>
            </p:custDataLst>
          </p:nvPr>
        </p:nvCxnSpPr>
        <p:spPr bwMode="auto">
          <a:xfrm>
            <a:off x="70897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01"/>
            </p:custDataLst>
          </p:nvPr>
        </p:nvCxnSpPr>
        <p:spPr bwMode="auto">
          <a:xfrm>
            <a:off x="640397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02"/>
            </p:custDataLst>
          </p:nvPr>
        </p:nvCxnSpPr>
        <p:spPr bwMode="auto">
          <a:xfrm>
            <a:off x="4686300" y="5800724"/>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3"/>
            </p:custDataLst>
          </p:nvPr>
        </p:nvCxnSpPr>
        <p:spPr bwMode="auto">
          <a:xfrm>
            <a:off x="22828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04"/>
            </p:custDataLst>
          </p:nvPr>
        </p:nvCxnSpPr>
        <p:spPr bwMode="auto">
          <a:xfrm>
            <a:off x="50307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05"/>
            </p:custDataLst>
          </p:nvPr>
        </p:nvCxnSpPr>
        <p:spPr bwMode="auto">
          <a:xfrm>
            <a:off x="5030788"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06"/>
            </p:custDataLst>
          </p:nvPr>
        </p:nvCxnSpPr>
        <p:spPr bwMode="auto">
          <a:xfrm>
            <a:off x="5030788" y="58023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07"/>
            </p:custDataLst>
          </p:nvPr>
        </p:nvCxnSpPr>
        <p:spPr bwMode="auto">
          <a:xfrm>
            <a:off x="53736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08"/>
            </p:custDataLst>
          </p:nvPr>
        </p:nvCxnSpPr>
        <p:spPr bwMode="auto">
          <a:xfrm>
            <a:off x="5373688" y="58023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09"/>
            </p:custDataLst>
          </p:nvPr>
        </p:nvCxnSpPr>
        <p:spPr bwMode="auto">
          <a:xfrm>
            <a:off x="57165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10"/>
            </p:custDataLst>
          </p:nvPr>
        </p:nvCxnSpPr>
        <p:spPr bwMode="auto">
          <a:xfrm>
            <a:off x="5716588" y="48720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111"/>
            </p:custDataLst>
          </p:nvPr>
        </p:nvCxnSpPr>
        <p:spPr bwMode="auto">
          <a:xfrm>
            <a:off x="8807450" y="5880100"/>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112"/>
            </p:custDataLst>
          </p:nvPr>
        </p:nvCxnSpPr>
        <p:spPr bwMode="auto">
          <a:xfrm>
            <a:off x="74342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13"/>
            </p:custDataLst>
          </p:nvPr>
        </p:nvCxnSpPr>
        <p:spPr bwMode="auto">
          <a:xfrm>
            <a:off x="5716588" y="58023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a:cxnSpLocks/>
          </p:cNvCxnSpPr>
          <p:nvPr>
            <p:custDataLst>
              <p:tags r:id="rId114"/>
            </p:custDataLst>
          </p:nvPr>
        </p:nvCxnSpPr>
        <p:spPr bwMode="auto">
          <a:xfrm flipV="1">
            <a:off x="6059488" y="58023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115"/>
            </p:custDataLst>
          </p:nvPr>
        </p:nvCxnSpPr>
        <p:spPr bwMode="auto">
          <a:xfrm>
            <a:off x="6746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a:cxnSpLocks/>
          </p:cNvCxnSpPr>
          <p:nvPr>
            <p:custDataLst>
              <p:tags r:id="rId116"/>
            </p:custDataLst>
          </p:nvPr>
        </p:nvCxnSpPr>
        <p:spPr bwMode="auto">
          <a:xfrm flipV="1">
            <a:off x="6746875" y="579754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43" name="Chart 342">
            <a:extLst>
              <a:ext uri="{FF2B5EF4-FFF2-40B4-BE49-F238E27FC236}">
                <a16:creationId xmlns:a16="http://schemas.microsoft.com/office/drawing/2014/main" id="{EEAD59B0-90D7-4991-A975-B1D0E7BA8234}"/>
              </a:ext>
            </a:extLst>
          </p:cNvPr>
          <p:cNvGraphicFramePr/>
          <p:nvPr>
            <p:custDataLst>
              <p:tags r:id="rId117"/>
            </p:custDataLst>
            <p:extLst>
              <p:ext uri="{D42A27DB-BD31-4B8C-83A1-F6EECF244321}">
                <p14:modId xmlns:p14="http://schemas.microsoft.com/office/powerpoint/2010/main" val="371367046"/>
              </p:ext>
            </p:extLst>
          </p:nvPr>
        </p:nvGraphicFramePr>
        <p:xfrm>
          <a:off x="96838" y="4597400"/>
          <a:ext cx="9201150" cy="1701800"/>
        </p:xfrm>
        <a:graphic>
          <a:graphicData uri="http://schemas.openxmlformats.org/drawingml/2006/chart">
            <c:chart xmlns:c="http://schemas.openxmlformats.org/drawingml/2006/chart" xmlns:r="http://schemas.openxmlformats.org/officeDocument/2006/relationships" r:id="rId226"/>
          </a:graphicData>
        </a:graphic>
      </p:graphicFrame>
      <p:cxnSp>
        <p:nvCxnSpPr>
          <p:cNvPr id="153" name="Straight Connector 152">
            <a:extLst>
              <a:ext uri="{FF2B5EF4-FFF2-40B4-BE49-F238E27FC236}">
                <a16:creationId xmlns:a16="http://schemas.microsoft.com/office/drawing/2014/main" id="{7453CC8F-1853-4B4E-AE5A-F78A822D5AB7}"/>
              </a:ext>
            </a:extLst>
          </p:cNvPr>
          <p:cNvCxnSpPr/>
          <p:nvPr>
            <p:custDataLst>
              <p:tags r:id="rId118"/>
            </p:custDataLst>
          </p:nvPr>
        </p:nvCxnSpPr>
        <p:spPr bwMode="auto">
          <a:xfrm>
            <a:off x="76692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19"/>
            </p:custDataLst>
          </p:nvPr>
        </p:nvCxnSpPr>
        <p:spPr bwMode="auto">
          <a:xfrm>
            <a:off x="286226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20"/>
            </p:custDataLst>
          </p:nvPr>
        </p:nvCxnSpPr>
        <p:spPr bwMode="auto">
          <a:xfrm>
            <a:off x="1146175"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21"/>
            </p:custDataLst>
          </p:nvPr>
        </p:nvCxnSpPr>
        <p:spPr bwMode="auto">
          <a:xfrm>
            <a:off x="56086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22"/>
            </p:custDataLst>
          </p:nvPr>
        </p:nvCxnSpPr>
        <p:spPr bwMode="auto">
          <a:xfrm>
            <a:off x="6638925" y="4772025"/>
            <a:ext cx="0" cy="650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custDataLst>
              <p:tags r:id="rId123"/>
            </p:custDataLst>
          </p:nvPr>
        </p:nvCxnSpPr>
        <p:spPr bwMode="auto">
          <a:xfrm>
            <a:off x="6981825" y="4772026"/>
            <a:ext cx="0" cy="666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EBC7F39-8D5D-43EB-84CE-13E691F581F8}"/>
              </a:ext>
            </a:extLst>
          </p:cNvPr>
          <p:cNvCxnSpPr/>
          <p:nvPr>
            <p:custDataLst>
              <p:tags r:id="rId124"/>
            </p:custDataLst>
          </p:nvPr>
        </p:nvCxnSpPr>
        <p:spPr bwMode="auto">
          <a:xfrm>
            <a:off x="6296025"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85FB01D6-DBBB-41F5-9EAE-799FBA0FCB88}"/>
              </a:ext>
            </a:extLst>
          </p:cNvPr>
          <p:cNvCxnSpPr/>
          <p:nvPr>
            <p:custDataLst>
              <p:tags r:id="rId125"/>
            </p:custDataLst>
          </p:nvPr>
        </p:nvCxnSpPr>
        <p:spPr bwMode="auto">
          <a:xfrm>
            <a:off x="80121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6"/>
            </p:custDataLst>
          </p:nvPr>
        </p:nvCxnSpPr>
        <p:spPr bwMode="auto">
          <a:xfrm>
            <a:off x="801688"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7"/>
            </p:custDataLst>
          </p:nvPr>
        </p:nvCxnSpPr>
        <p:spPr bwMode="auto">
          <a:xfrm>
            <a:off x="5265738" y="4772026"/>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8"/>
            </p:custDataLst>
          </p:nvPr>
        </p:nvCxnSpPr>
        <p:spPr bwMode="auto">
          <a:xfrm>
            <a:off x="4922838"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29"/>
            </p:custDataLst>
          </p:nvPr>
        </p:nvCxnSpPr>
        <p:spPr bwMode="auto">
          <a:xfrm>
            <a:off x="320516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30"/>
            </p:custDataLst>
          </p:nvPr>
        </p:nvCxnSpPr>
        <p:spPr bwMode="auto">
          <a:xfrm>
            <a:off x="2174875"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31"/>
            </p:custDataLst>
          </p:nvPr>
        </p:nvCxnSpPr>
        <p:spPr bwMode="auto">
          <a:xfrm>
            <a:off x="354965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2"/>
            </p:custDataLst>
          </p:nvPr>
        </p:nvCxnSpPr>
        <p:spPr bwMode="gray">
          <a:xfrm>
            <a:off x="5951538" y="4772025"/>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16C7C7C9-AD7E-44A4-8D82-8138D50BB173}"/>
              </a:ext>
            </a:extLst>
          </p:cNvPr>
          <p:cNvCxnSpPr/>
          <p:nvPr>
            <p:custDataLst>
              <p:tags r:id="rId133"/>
            </p:custDataLst>
          </p:nvPr>
        </p:nvCxnSpPr>
        <p:spPr bwMode="auto">
          <a:xfrm>
            <a:off x="8699500"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34"/>
            </p:custDataLst>
          </p:nvPr>
        </p:nvCxnSpPr>
        <p:spPr bwMode="auto">
          <a:xfrm>
            <a:off x="251936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0E7A9C81-5C7D-4A99-B458-29A8568AF590}"/>
              </a:ext>
            </a:extLst>
          </p:cNvPr>
          <p:cNvCxnSpPr>
            <a:cxnSpLocks/>
          </p:cNvCxnSpPr>
          <p:nvPr>
            <p:custDataLst>
              <p:tags r:id="rId135"/>
            </p:custDataLst>
          </p:nvPr>
        </p:nvCxnSpPr>
        <p:spPr bwMode="auto">
          <a:xfrm>
            <a:off x="9042400"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9E41F8F4-2A4B-46DA-9F10-6F8295574F7F}"/>
              </a:ext>
            </a:extLst>
          </p:cNvPr>
          <p:cNvCxnSpPr/>
          <p:nvPr>
            <p:custDataLst>
              <p:tags r:id="rId136"/>
            </p:custDataLst>
          </p:nvPr>
        </p:nvCxnSpPr>
        <p:spPr bwMode="auto">
          <a:xfrm>
            <a:off x="8355013"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7"/>
            </p:custDataLst>
          </p:nvPr>
        </p:nvCxnSpPr>
        <p:spPr bwMode="auto">
          <a:xfrm>
            <a:off x="1489075"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38"/>
            </p:custDataLst>
          </p:nvPr>
        </p:nvCxnSpPr>
        <p:spPr bwMode="auto">
          <a:xfrm>
            <a:off x="3892550"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355AA0CB-DDAA-4B6C-B113-0DB16C15D354}"/>
              </a:ext>
            </a:extLst>
          </p:cNvPr>
          <p:cNvCxnSpPr/>
          <p:nvPr>
            <p:custDataLst>
              <p:tags r:id="rId139"/>
            </p:custDataLst>
          </p:nvPr>
        </p:nvCxnSpPr>
        <p:spPr bwMode="auto">
          <a:xfrm>
            <a:off x="7326313" y="4772025"/>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40"/>
            </p:custDataLst>
          </p:nvPr>
        </p:nvCxnSpPr>
        <p:spPr bwMode="auto">
          <a:xfrm>
            <a:off x="4235450"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41"/>
            </p:custDataLst>
          </p:nvPr>
        </p:nvCxnSpPr>
        <p:spPr bwMode="auto">
          <a:xfrm>
            <a:off x="1831975"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42"/>
            </p:custDataLst>
          </p:nvPr>
        </p:nvCxnSpPr>
        <p:spPr bwMode="auto">
          <a:xfrm>
            <a:off x="4578350"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3" name="Text Placeholder 12"/>
          <p:cNvSpPr>
            <a:spLocks noGrp="1"/>
          </p:cNvSpPr>
          <p:nvPr>
            <p:custDataLst>
              <p:tags r:id="rId143"/>
            </p:custDataLst>
          </p:nvPr>
        </p:nvSpPr>
        <p:spPr bwMode="gray">
          <a:xfrm>
            <a:off x="661988" y="52038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8A935E-4F26-469F-8BC2-32C06CA57C77}" type="datetime'''''''''''''''''''''''''''''''''60.''''''''6'''''">
              <a:rPr lang="ja-JP" altLang="en-US" sz="1000" b="0" smtClean="0">
                <a:effectLst/>
              </a:rPr>
              <a:pPr/>
              <a:t>60.6</a:t>
            </a:fld>
            <a:endParaRPr kumimoji="0" lang="ja-JP" altLang="en-US" sz="1000" b="0" dirty="0">
              <a:sym typeface="+mn-lt"/>
            </a:endParaRPr>
          </a:p>
        </p:txBody>
      </p:sp>
      <p:sp>
        <p:nvSpPr>
          <p:cNvPr id="103" name="Text Placeholder 12"/>
          <p:cNvSpPr>
            <a:spLocks noGrp="1"/>
          </p:cNvSpPr>
          <p:nvPr>
            <p:custDataLst>
              <p:tags r:id="rId144"/>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04" name="Text Placeholder 12"/>
          <p:cNvSpPr>
            <a:spLocks noGrp="1"/>
          </p:cNvSpPr>
          <p:nvPr>
            <p:custDataLst>
              <p:tags r:id="rId145"/>
            </p:custDataLst>
          </p:nvPr>
        </p:nvSpPr>
        <p:spPr bwMode="auto">
          <a:xfrm>
            <a:off x="655638"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18" name="Text Placeholder 12"/>
          <p:cNvSpPr>
            <a:spLocks noGrp="1"/>
          </p:cNvSpPr>
          <p:nvPr>
            <p:custDataLst>
              <p:tags r:id="rId146"/>
            </p:custDataLst>
          </p:nvPr>
        </p:nvSpPr>
        <p:spPr bwMode="auto">
          <a:xfrm>
            <a:off x="5532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55" name="Text Placeholder 12"/>
          <p:cNvSpPr>
            <a:spLocks noGrp="1"/>
          </p:cNvSpPr>
          <p:nvPr>
            <p:custDataLst>
              <p:tags r:id="rId147"/>
            </p:custDataLst>
          </p:nvPr>
        </p:nvSpPr>
        <p:spPr bwMode="gray">
          <a:xfrm>
            <a:off x="1006475"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E0BC2F-2E4F-4D7E-8C06-A3B8BC8E86D6}" type="datetime'''''''''''''''3''''4.''''''''''2'''''''''''''''''">
              <a:rPr lang="ja-JP" altLang="en-US" sz="1000" b="0" smtClean="0">
                <a:solidFill>
                  <a:schemeClr val="bg1"/>
                </a:solidFill>
                <a:effectLst/>
              </a:rPr>
              <a:pPr/>
              <a:t>34.2</a:t>
            </a:fld>
            <a:endParaRPr kumimoji="0" lang="ja-JP" altLang="en-US" sz="1000" b="0" dirty="0">
              <a:solidFill>
                <a:schemeClr val="bg1"/>
              </a:solidFill>
              <a:sym typeface="+mn-lt"/>
            </a:endParaRPr>
          </a:p>
        </p:txBody>
      </p:sp>
      <p:sp>
        <p:nvSpPr>
          <p:cNvPr id="109" name="Text Placeholder 12"/>
          <p:cNvSpPr>
            <a:spLocks noGrp="1"/>
          </p:cNvSpPr>
          <p:nvPr>
            <p:custDataLst>
              <p:tags r:id="rId148"/>
            </p:custDataLst>
          </p:nvPr>
        </p:nvSpPr>
        <p:spPr bwMode="auto">
          <a:xfrm>
            <a:off x="2443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66" name="Text Placeholder 12"/>
          <p:cNvSpPr>
            <a:spLocks noGrp="1"/>
          </p:cNvSpPr>
          <p:nvPr>
            <p:custDataLst>
              <p:tags r:id="rId149"/>
            </p:custDataLst>
          </p:nvPr>
        </p:nvSpPr>
        <p:spPr bwMode="gray">
          <a:xfrm>
            <a:off x="4783138"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CF269C-7976-48A5-9CE9-3DEAEC3E6653}"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54" name="Text Placeholder 12"/>
          <p:cNvSpPr>
            <a:spLocks noGrp="1"/>
          </p:cNvSpPr>
          <p:nvPr>
            <p:custDataLst>
              <p:tags r:id="rId150"/>
            </p:custDataLst>
          </p:nvPr>
        </p:nvSpPr>
        <p:spPr bwMode="gray">
          <a:xfrm>
            <a:off x="661988" y="58769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8C1DFA-D84D-4E1C-8BE8-BE10E511D633}" type="datetime'''''''''''3''''''''5''''''''''''.''''''''''''''''''''''''2'">
              <a:rPr lang="ja-JP" altLang="en-US" sz="1000" b="0" smtClean="0">
                <a:solidFill>
                  <a:schemeClr val="bg1"/>
                </a:solidFill>
                <a:effectLst/>
              </a:rPr>
              <a:pPr/>
              <a:t>35.2</a:t>
            </a:fld>
            <a:endParaRPr kumimoji="0" lang="ja-JP" altLang="en-US" sz="1000" b="0" dirty="0">
              <a:solidFill>
                <a:schemeClr val="bg1"/>
              </a:solidFill>
              <a:sym typeface="+mn-lt"/>
            </a:endParaRPr>
          </a:p>
        </p:txBody>
      </p:sp>
      <p:sp>
        <p:nvSpPr>
          <p:cNvPr id="116" name="Text Placeholder 12"/>
          <p:cNvSpPr>
            <a:spLocks noGrp="1"/>
          </p:cNvSpPr>
          <p:nvPr>
            <p:custDataLst>
              <p:tags r:id="rId151"/>
            </p:custDataLst>
          </p:nvPr>
        </p:nvSpPr>
        <p:spPr bwMode="auto">
          <a:xfrm>
            <a:off x="4846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05" name="Text Placeholder 12"/>
          <p:cNvSpPr>
            <a:spLocks noGrp="1"/>
          </p:cNvSpPr>
          <p:nvPr>
            <p:custDataLst>
              <p:tags r:id="rId152"/>
            </p:custDataLst>
          </p:nvPr>
        </p:nvSpPr>
        <p:spPr bwMode="auto">
          <a:xfrm>
            <a:off x="10699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08" name="Text Placeholder 12"/>
          <p:cNvSpPr>
            <a:spLocks noGrp="1"/>
          </p:cNvSpPr>
          <p:nvPr>
            <p:custDataLst>
              <p:tags r:id="rId153"/>
            </p:custDataLst>
          </p:nvPr>
        </p:nvSpPr>
        <p:spPr bwMode="auto">
          <a:xfrm>
            <a:off x="20986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10" name="Text Placeholder 12"/>
          <p:cNvSpPr>
            <a:spLocks noGrp="1"/>
          </p:cNvSpPr>
          <p:nvPr>
            <p:custDataLst>
              <p:tags r:id="rId154"/>
            </p:custDataLst>
          </p:nvPr>
        </p:nvSpPr>
        <p:spPr bwMode="auto">
          <a:xfrm>
            <a:off x="2786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13" name="Text Placeholder 12"/>
          <p:cNvSpPr>
            <a:spLocks noGrp="1"/>
          </p:cNvSpPr>
          <p:nvPr>
            <p:custDataLst>
              <p:tags r:id="rId155"/>
            </p:custDataLst>
          </p:nvPr>
        </p:nvSpPr>
        <p:spPr bwMode="auto">
          <a:xfrm>
            <a:off x="3816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35" name="Text Placeholder 12"/>
          <p:cNvSpPr>
            <a:spLocks noGrp="1"/>
          </p:cNvSpPr>
          <p:nvPr>
            <p:custDataLst>
              <p:tags r:id="rId156"/>
            </p:custDataLst>
          </p:nvPr>
        </p:nvSpPr>
        <p:spPr bwMode="gray">
          <a:xfrm>
            <a:off x="1349375" y="5218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41CFB6F-FAD4-4836-9453-BC115E0310B9}" type="datetime'''''''''''''6''''''''''''''2''''''''''''.''5'''''''''''''''">
              <a:rPr lang="ja-JP" altLang="en-US" sz="1000" b="0" smtClean="0">
                <a:effectLst/>
              </a:rPr>
              <a:pPr/>
              <a:t>62.5</a:t>
            </a:fld>
            <a:endParaRPr kumimoji="0" lang="ja-JP" altLang="en-US" sz="1000" b="0" dirty="0">
              <a:sym typeface="+mn-lt"/>
            </a:endParaRPr>
          </a:p>
        </p:txBody>
      </p:sp>
      <p:sp>
        <p:nvSpPr>
          <p:cNvPr id="156" name="Text Placeholder 12"/>
          <p:cNvSpPr>
            <a:spLocks noGrp="1"/>
          </p:cNvSpPr>
          <p:nvPr>
            <p:custDataLst>
              <p:tags r:id="rId157"/>
            </p:custDataLst>
          </p:nvPr>
        </p:nvSpPr>
        <p:spPr bwMode="gray">
          <a:xfrm>
            <a:off x="1349375" y="5891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621EA0A-5852-4714-8381-6189B047CA1A}" type="datetime'''''3''''''''''''''''''''3''''''''.''''''''''''''2'''''''''''">
              <a:rPr lang="ja-JP" altLang="en-US" sz="1000" b="0" smtClean="0">
                <a:solidFill>
                  <a:schemeClr val="bg1"/>
                </a:solidFill>
                <a:effectLst/>
              </a:rPr>
              <a:pPr/>
              <a:t>33.2</a:t>
            </a:fld>
            <a:endParaRPr kumimoji="0" lang="ja-JP" altLang="en-US" sz="1000" b="0" dirty="0">
              <a:solidFill>
                <a:schemeClr val="bg1"/>
              </a:solidFill>
              <a:sym typeface="+mn-lt"/>
            </a:endParaRPr>
          </a:p>
        </p:txBody>
      </p:sp>
      <p:sp>
        <p:nvSpPr>
          <p:cNvPr id="136" name="Text Placeholder 12"/>
          <p:cNvSpPr>
            <a:spLocks noGrp="1"/>
          </p:cNvSpPr>
          <p:nvPr>
            <p:custDataLst>
              <p:tags r:id="rId158"/>
            </p:custDataLst>
          </p:nvPr>
        </p:nvSpPr>
        <p:spPr bwMode="gray">
          <a:xfrm>
            <a:off x="1692275"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9CADEE-7FA2-4948-8597-8977CC253355}" type="datetime'''''''''''''''''''''''''''''''''''6''''3''.''''''4'''''">
              <a:rPr lang="ja-JP" altLang="en-US" sz="1000" b="0" smtClean="0">
                <a:effectLst/>
              </a:rPr>
              <a:pPr/>
              <a:t>63.4</a:t>
            </a:fld>
            <a:endParaRPr kumimoji="0" lang="ja-JP" altLang="en-US" sz="1000" b="0" dirty="0">
              <a:sym typeface="+mn-lt"/>
            </a:endParaRPr>
          </a:p>
        </p:txBody>
      </p:sp>
      <p:sp>
        <p:nvSpPr>
          <p:cNvPr id="148" name="Text Placeholder 12"/>
          <p:cNvSpPr>
            <a:spLocks noGrp="1"/>
          </p:cNvSpPr>
          <p:nvPr>
            <p:custDataLst>
              <p:tags r:id="rId159"/>
            </p:custDataLst>
          </p:nvPr>
        </p:nvSpPr>
        <p:spPr bwMode="gray">
          <a:xfrm>
            <a:off x="5811838"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2470D83-AB7E-49F3-84F2-6EF7947DE6E3}" type="datetime'''''''''''''''''''66''''''''''''''''''''''''.''''''''''''3'">
              <a:rPr lang="ja-JP" altLang="en-US" sz="1000" b="0" smtClean="0">
                <a:effectLst/>
              </a:rPr>
              <a:pPr/>
              <a:t>66.3</a:t>
            </a:fld>
            <a:endParaRPr kumimoji="0" lang="ja-JP" altLang="en-US" sz="1000" b="0" dirty="0">
              <a:sym typeface="+mn-lt"/>
            </a:endParaRPr>
          </a:p>
        </p:txBody>
      </p:sp>
      <p:sp>
        <p:nvSpPr>
          <p:cNvPr id="134" name="Text Placeholder 12"/>
          <p:cNvSpPr>
            <a:spLocks noGrp="1"/>
          </p:cNvSpPr>
          <p:nvPr>
            <p:custDataLst>
              <p:tags r:id="rId160"/>
            </p:custDataLst>
          </p:nvPr>
        </p:nvSpPr>
        <p:spPr bwMode="gray">
          <a:xfrm>
            <a:off x="1006475" y="52117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9570A4-509A-4D7D-BA34-0B48121A3869}" type="datetime'6''''1''''''''''''''''''''''''''''''''''.6'''''''''''''''">
              <a:rPr lang="ja-JP" altLang="en-US" sz="1000" b="0" smtClean="0">
                <a:effectLst/>
              </a:rPr>
              <a:pPr/>
              <a:t>61.6</a:t>
            </a:fld>
            <a:endParaRPr kumimoji="0" lang="ja-JP" altLang="en-US" sz="1000" b="0" dirty="0">
              <a:sym typeface="+mn-lt"/>
            </a:endParaRPr>
          </a:p>
        </p:txBody>
      </p:sp>
      <p:sp>
        <p:nvSpPr>
          <p:cNvPr id="157" name="Text Placeholder 12"/>
          <p:cNvSpPr>
            <a:spLocks noGrp="1"/>
          </p:cNvSpPr>
          <p:nvPr>
            <p:custDataLst>
              <p:tags r:id="rId161"/>
            </p:custDataLst>
          </p:nvPr>
        </p:nvSpPr>
        <p:spPr bwMode="gray">
          <a:xfrm>
            <a:off x="1692275"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17EDB2-E85E-47FF-930C-29536FCB35A5}" type="datetime'''''''''3''''''2''''''''''''''.''''''''''''''''''''''''''''3'">
              <a:rPr lang="ja-JP" altLang="en-US" sz="1000" b="0" smtClean="0">
                <a:solidFill>
                  <a:schemeClr val="bg1"/>
                </a:solidFill>
                <a:effectLst/>
              </a:rPr>
              <a:pPr/>
              <a:t>32.3</a:t>
            </a:fld>
            <a:endParaRPr kumimoji="0" lang="ja-JP" altLang="en-US" sz="1000" b="0" dirty="0">
              <a:solidFill>
                <a:schemeClr val="bg1"/>
              </a:solidFill>
              <a:sym typeface="+mn-lt"/>
            </a:endParaRPr>
          </a:p>
        </p:txBody>
      </p:sp>
      <p:sp>
        <p:nvSpPr>
          <p:cNvPr id="107" name="Text Placeholder 12"/>
          <p:cNvSpPr>
            <a:spLocks noGrp="1"/>
          </p:cNvSpPr>
          <p:nvPr>
            <p:custDataLst>
              <p:tags r:id="rId162"/>
            </p:custDataLst>
          </p:nvPr>
        </p:nvSpPr>
        <p:spPr bwMode="auto">
          <a:xfrm>
            <a:off x="1755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63" name="Text Placeholder 12"/>
          <p:cNvSpPr>
            <a:spLocks noGrp="1"/>
          </p:cNvSpPr>
          <p:nvPr>
            <p:custDataLst>
              <p:tags r:id="rId163"/>
            </p:custDataLst>
          </p:nvPr>
        </p:nvSpPr>
        <p:spPr bwMode="gray">
          <a:xfrm>
            <a:off x="3752850" y="59197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CAC531-C165-4DBC-943E-BE08530B5D2A}" type="datetime'''''2''''''''''''''''9''''''''''''''''''''''''.''''0'''''''''">
              <a:rPr lang="ja-JP" altLang="en-US" sz="1000" b="0" smtClean="0">
                <a:solidFill>
                  <a:schemeClr val="bg1"/>
                </a:solidFill>
                <a:effectLst/>
              </a:rPr>
              <a:pPr/>
              <a:t>29.0</a:t>
            </a:fld>
            <a:endParaRPr kumimoji="0" lang="ja-JP" altLang="en-US" sz="1000" b="0" dirty="0">
              <a:solidFill>
                <a:schemeClr val="bg1"/>
              </a:solidFill>
              <a:sym typeface="+mn-lt"/>
            </a:endParaRPr>
          </a:p>
        </p:txBody>
      </p:sp>
      <p:sp>
        <p:nvSpPr>
          <p:cNvPr id="111" name="Text Placeholder 12"/>
          <p:cNvSpPr>
            <a:spLocks noGrp="1"/>
          </p:cNvSpPr>
          <p:nvPr>
            <p:custDataLst>
              <p:tags r:id="rId164"/>
            </p:custDataLst>
          </p:nvPr>
        </p:nvSpPr>
        <p:spPr bwMode="auto">
          <a:xfrm>
            <a:off x="31289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37" name="Text Placeholder 12"/>
          <p:cNvSpPr>
            <a:spLocks noGrp="1"/>
          </p:cNvSpPr>
          <p:nvPr>
            <p:custDataLst>
              <p:tags r:id="rId165"/>
            </p:custDataLst>
          </p:nvPr>
        </p:nvSpPr>
        <p:spPr bwMode="gray">
          <a:xfrm>
            <a:off x="2035175"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8B8B05-B769-426F-AC7C-96F6AA54A7FD}" type="datetime'''''''6''''''''''''''''''''4''''''''''''.2'''''''''">
              <a:rPr lang="ja-JP" altLang="en-US" sz="1000" b="0" smtClean="0">
                <a:effectLst/>
              </a:rPr>
              <a:pPr/>
              <a:t>64.2</a:t>
            </a:fld>
            <a:endParaRPr kumimoji="0" lang="ja-JP" altLang="en-US" sz="1000" b="0" dirty="0">
              <a:sym typeface="+mn-lt"/>
            </a:endParaRPr>
          </a:p>
        </p:txBody>
      </p:sp>
      <p:sp>
        <p:nvSpPr>
          <p:cNvPr id="158" name="Text Placeholder 12"/>
          <p:cNvSpPr>
            <a:spLocks noGrp="1"/>
          </p:cNvSpPr>
          <p:nvPr>
            <p:custDataLst>
              <p:tags r:id="rId166"/>
            </p:custDataLst>
          </p:nvPr>
        </p:nvSpPr>
        <p:spPr bwMode="gray">
          <a:xfrm>
            <a:off x="2035175"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2BC3F7-B138-4E87-B967-0A8AD87AE164}" type="datetime'''''''''''''3''''''''1''''''''''.''''''''''''''4'''''''''''">
              <a:rPr lang="ja-JP" altLang="en-US" sz="1000" b="0" smtClean="0">
                <a:solidFill>
                  <a:schemeClr val="bg1"/>
                </a:solidFill>
                <a:effectLst/>
              </a:rPr>
              <a:pPr/>
              <a:t>31.4</a:t>
            </a:fld>
            <a:endParaRPr kumimoji="0" lang="ja-JP" altLang="en-US" sz="1000" b="0" dirty="0">
              <a:solidFill>
                <a:schemeClr val="bg1"/>
              </a:solidFill>
              <a:sym typeface="+mn-lt"/>
            </a:endParaRPr>
          </a:p>
        </p:txBody>
      </p:sp>
      <p:sp>
        <p:nvSpPr>
          <p:cNvPr id="114" name="Text Placeholder 12"/>
          <p:cNvSpPr>
            <a:spLocks noGrp="1"/>
          </p:cNvSpPr>
          <p:nvPr>
            <p:custDataLst>
              <p:tags r:id="rId167"/>
            </p:custDataLst>
          </p:nvPr>
        </p:nvSpPr>
        <p:spPr bwMode="auto">
          <a:xfrm>
            <a:off x="4159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67" name="Text Placeholder 12"/>
          <p:cNvSpPr>
            <a:spLocks noGrp="1"/>
          </p:cNvSpPr>
          <p:nvPr>
            <p:custDataLst>
              <p:tags r:id="rId168"/>
            </p:custDataLst>
          </p:nvPr>
        </p:nvSpPr>
        <p:spPr bwMode="gray">
          <a:xfrm>
            <a:off x="5126038"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60BA14-C5DD-4F20-AC1B-92053D147810}"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27" name="Text Placeholder 12"/>
          <p:cNvSpPr>
            <a:spLocks noGrp="1"/>
          </p:cNvSpPr>
          <p:nvPr>
            <p:custDataLst>
              <p:tags r:id="rId169"/>
            </p:custDataLst>
          </p:nvPr>
        </p:nvSpPr>
        <p:spPr bwMode="auto">
          <a:xfrm>
            <a:off x="9251950" y="59721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38" name="Text Placeholder 12"/>
          <p:cNvSpPr>
            <a:spLocks noGrp="1"/>
          </p:cNvSpPr>
          <p:nvPr>
            <p:custDataLst>
              <p:tags r:id="rId170"/>
            </p:custDataLst>
          </p:nvPr>
        </p:nvSpPr>
        <p:spPr bwMode="gray">
          <a:xfrm>
            <a:off x="2379663" y="52371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B1BDA9-3737-47B1-85BB-392634FDC4B4}" type="datetime'''''''6''''''4''.''8'''''''''''''''">
              <a:rPr lang="ja-JP" altLang="en-US" sz="1000" b="0" smtClean="0">
                <a:effectLst/>
              </a:rPr>
              <a:pPr/>
              <a:t>64.8</a:t>
            </a:fld>
            <a:endParaRPr kumimoji="0" lang="ja-JP" altLang="en-US" sz="1000" b="0" dirty="0">
              <a:sym typeface="+mn-lt"/>
            </a:endParaRPr>
          </a:p>
        </p:txBody>
      </p:sp>
      <p:sp>
        <p:nvSpPr>
          <p:cNvPr id="159" name="Text Placeholder 12"/>
          <p:cNvSpPr>
            <a:spLocks noGrp="1"/>
          </p:cNvSpPr>
          <p:nvPr>
            <p:custDataLst>
              <p:tags r:id="rId171"/>
            </p:custDataLst>
          </p:nvPr>
        </p:nvSpPr>
        <p:spPr bwMode="gray">
          <a:xfrm>
            <a:off x="2379663"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9DF9D1-080F-444C-BAEB-B67E6C7B7E3F}" type="datetime'''''''''3''0''''.''''7'''">
              <a:rPr lang="ja-JP" altLang="en-US" sz="1000" b="0" smtClean="0">
                <a:solidFill>
                  <a:schemeClr val="bg1"/>
                </a:solidFill>
                <a:effectLst/>
              </a:rPr>
              <a:pPr/>
              <a:t>30.7</a:t>
            </a:fld>
            <a:endParaRPr kumimoji="0" lang="ja-JP" altLang="en-US" sz="1000" b="0" dirty="0">
              <a:solidFill>
                <a:schemeClr val="bg1"/>
              </a:solidFill>
              <a:sym typeface="+mn-lt"/>
            </a:endParaRPr>
          </a:p>
        </p:txBody>
      </p:sp>
      <p:sp>
        <p:nvSpPr>
          <p:cNvPr id="139" name="Text Placeholder 12"/>
          <p:cNvSpPr>
            <a:spLocks noGrp="1"/>
          </p:cNvSpPr>
          <p:nvPr>
            <p:custDataLst>
              <p:tags r:id="rId172"/>
            </p:custDataLst>
          </p:nvPr>
        </p:nvSpPr>
        <p:spPr bwMode="gray">
          <a:xfrm>
            <a:off x="2722563" y="5243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2C66C5-6958-4036-AB64-221CECE7F3D3}" type="datetime'''''''6''''''''''''''''5''''.''''''''3'''''''''''''''''''''">
              <a:rPr lang="ja-JP" altLang="en-US" sz="1000" b="0" smtClean="0">
                <a:effectLst/>
              </a:rPr>
              <a:pPr/>
              <a:t>65.3</a:t>
            </a:fld>
            <a:endParaRPr kumimoji="0" lang="ja-JP" altLang="en-US" sz="1000" b="0" dirty="0">
              <a:sym typeface="+mn-lt"/>
            </a:endParaRPr>
          </a:p>
        </p:txBody>
      </p:sp>
      <p:sp>
        <p:nvSpPr>
          <p:cNvPr id="115" name="Text Placeholder 12"/>
          <p:cNvSpPr>
            <a:spLocks noGrp="1"/>
          </p:cNvSpPr>
          <p:nvPr>
            <p:custDataLst>
              <p:tags r:id="rId173"/>
            </p:custDataLst>
          </p:nvPr>
        </p:nvSpPr>
        <p:spPr bwMode="auto">
          <a:xfrm>
            <a:off x="4502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65" name="Text Placeholder 12"/>
          <p:cNvSpPr>
            <a:spLocks noGrp="1"/>
          </p:cNvSpPr>
          <p:nvPr>
            <p:custDataLst>
              <p:tags r:id="rId174"/>
            </p:custDataLst>
          </p:nvPr>
        </p:nvSpPr>
        <p:spPr bwMode="gray">
          <a:xfrm>
            <a:off x="4438650"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87A7B1-F572-41B2-8171-9DD1939435AC}" type="datetime'''''''''''''''2''''''8''''''''''''''''''''''.''''''5'">
              <a:rPr lang="ja-JP" altLang="en-US" sz="1000" b="0" smtClean="0">
                <a:solidFill>
                  <a:schemeClr val="bg1"/>
                </a:solidFill>
                <a:effectLst/>
              </a:rPr>
              <a:pPr/>
              <a:t>28.5</a:t>
            </a:fld>
            <a:endParaRPr kumimoji="0" lang="ja-JP" altLang="en-US" sz="1000" b="0" dirty="0">
              <a:solidFill>
                <a:schemeClr val="bg1"/>
              </a:solidFill>
              <a:sym typeface="+mn-lt"/>
            </a:endParaRPr>
          </a:p>
        </p:txBody>
      </p:sp>
      <p:sp>
        <p:nvSpPr>
          <p:cNvPr id="164" name="Text Placeholder 12"/>
          <p:cNvSpPr>
            <a:spLocks noGrp="1"/>
          </p:cNvSpPr>
          <p:nvPr>
            <p:custDataLst>
              <p:tags r:id="rId175"/>
            </p:custDataLst>
          </p:nvPr>
        </p:nvSpPr>
        <p:spPr bwMode="gray">
          <a:xfrm>
            <a:off x="4095750"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219207-FE0D-4EBD-9537-AA507E5516DC}"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160" name="Text Placeholder 12"/>
          <p:cNvSpPr>
            <a:spLocks noGrp="1"/>
          </p:cNvSpPr>
          <p:nvPr>
            <p:custDataLst>
              <p:tags r:id="rId176"/>
            </p:custDataLst>
          </p:nvPr>
        </p:nvSpPr>
        <p:spPr bwMode="gray">
          <a:xfrm>
            <a:off x="2722563"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5441BBB-7445-4685-A1C9-618007A999C9}" type="datetime'''''''''''''''''''''3''''''''''''''''''''''''0''.''1'''">
              <a:rPr lang="ja-JP" altLang="en-US" sz="1000" b="0" smtClean="0">
                <a:solidFill>
                  <a:schemeClr val="bg1"/>
                </a:solidFill>
                <a:effectLst/>
              </a:rPr>
              <a:pPr/>
              <a:t>30.1</a:t>
            </a:fld>
            <a:endParaRPr kumimoji="0" lang="ja-JP" altLang="en-US" sz="1000" b="0" dirty="0">
              <a:solidFill>
                <a:schemeClr val="bg1"/>
              </a:solidFill>
              <a:sym typeface="+mn-lt"/>
            </a:endParaRPr>
          </a:p>
        </p:txBody>
      </p:sp>
      <p:sp>
        <p:nvSpPr>
          <p:cNvPr id="143" name="Text Placeholder 12"/>
          <p:cNvSpPr>
            <a:spLocks noGrp="1"/>
          </p:cNvSpPr>
          <p:nvPr>
            <p:custDataLst>
              <p:tags r:id="rId177"/>
            </p:custDataLst>
          </p:nvPr>
        </p:nvSpPr>
        <p:spPr bwMode="gray">
          <a:xfrm>
            <a:off x="4095750" y="52546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EFBFB0-FBC3-4E63-8821-82FC93DE1982}" type="datetime'''''''''''6''6.4'''''">
              <a:rPr lang="ja-JP" altLang="en-US" sz="1000" b="0" smtClean="0">
                <a:effectLst/>
              </a:rPr>
              <a:pPr/>
              <a:t>66.4</a:t>
            </a:fld>
            <a:endParaRPr kumimoji="0" lang="ja-JP" altLang="en-US" sz="1000" b="0" dirty="0">
              <a:sym typeface="+mn-lt"/>
            </a:endParaRPr>
          </a:p>
        </p:txBody>
      </p:sp>
      <p:sp>
        <p:nvSpPr>
          <p:cNvPr id="140" name="Text Placeholder 12"/>
          <p:cNvSpPr>
            <a:spLocks noGrp="1"/>
          </p:cNvSpPr>
          <p:nvPr>
            <p:custDataLst>
              <p:tags r:id="rId178"/>
            </p:custDataLst>
          </p:nvPr>
        </p:nvSpPr>
        <p:spPr bwMode="gray">
          <a:xfrm>
            <a:off x="3065463"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020446-E4BD-4353-8011-BFAFB2962683}" type="datetime'''6''''''''''''''''5''''''''''.''''''''''7'''''''">
              <a:rPr lang="ja-JP" altLang="en-US" sz="1000" b="0" smtClean="0">
                <a:effectLst/>
              </a:rPr>
              <a:pPr/>
              <a:t>65.7</a:t>
            </a:fld>
            <a:endParaRPr kumimoji="0" lang="ja-JP" altLang="en-US" sz="1000" b="0" dirty="0">
              <a:sym typeface="+mn-lt"/>
            </a:endParaRPr>
          </a:p>
        </p:txBody>
      </p:sp>
      <p:sp>
        <p:nvSpPr>
          <p:cNvPr id="144" name="Text Placeholder 12"/>
          <p:cNvSpPr>
            <a:spLocks noGrp="1"/>
          </p:cNvSpPr>
          <p:nvPr>
            <p:custDataLst>
              <p:tags r:id="rId179"/>
            </p:custDataLst>
          </p:nvPr>
        </p:nvSpPr>
        <p:spPr bwMode="gray">
          <a:xfrm>
            <a:off x="4438650" y="5257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D6DE53-D728-4224-A029-DEA47EF7F4F7}" type="datetime'''''''6''''''''''''6''''''''''''''''.5'''''''''''''''''">
              <a:rPr lang="ja-JP" altLang="en-US" sz="1000" b="0" smtClean="0">
                <a:effectLst/>
              </a:rPr>
              <a:pPr/>
              <a:t>66.5</a:t>
            </a:fld>
            <a:endParaRPr kumimoji="0" lang="ja-JP" altLang="en-US" sz="1000" b="0" dirty="0">
              <a:sym typeface="+mn-lt"/>
            </a:endParaRPr>
          </a:p>
        </p:txBody>
      </p:sp>
      <p:sp>
        <p:nvSpPr>
          <p:cNvPr id="209" name="テキスト プレースホルダ 9"/>
          <p:cNvSpPr>
            <a:spLocks noGrp="1"/>
          </p:cNvSpPr>
          <p:nvPr>
            <p:custDataLst>
              <p:tags r:id="rId180"/>
            </p:custDataLst>
          </p:nvPr>
        </p:nvSpPr>
        <p:spPr bwMode="gray">
          <a:xfrm>
            <a:off x="6499225" y="52625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92DB73-34A5-4327-9D1A-D21C917AAA13}" type="datetime'6''''''''''5''''''.7'''">
              <a:rPr lang="ja-JP" altLang="en-US" sz="1000" smtClean="0">
                <a:effectLst/>
              </a:rPr>
              <a:pPr/>
              <a:t>65.7</a:t>
            </a:fld>
            <a:endParaRPr kumimoji="0" lang="ja-JP" altLang="en-US" sz="1000" dirty="0">
              <a:sym typeface="+mn-lt"/>
            </a:endParaRPr>
          </a:p>
        </p:txBody>
      </p:sp>
      <p:sp>
        <p:nvSpPr>
          <p:cNvPr id="147" name="Text Placeholder 12"/>
          <p:cNvSpPr>
            <a:spLocks noGrp="1"/>
          </p:cNvSpPr>
          <p:nvPr>
            <p:custDataLst>
              <p:tags r:id="rId181"/>
            </p:custDataLst>
          </p:nvPr>
        </p:nvSpPr>
        <p:spPr bwMode="gray">
          <a:xfrm>
            <a:off x="5468938" y="52609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3DE794-BC8B-42E5-A316-2AB2C7646A42}" type="datetime'6''''''''''''''''''''6''''''''.''''3'''''''''''''''''''''''">
              <a:rPr lang="ja-JP" altLang="en-US" sz="1000" b="0" smtClean="0">
                <a:effectLst/>
              </a:rPr>
              <a:pPr/>
              <a:t>66.3</a:t>
            </a:fld>
            <a:endParaRPr kumimoji="0" lang="ja-JP" altLang="en-US" sz="1000" b="0" dirty="0">
              <a:sym typeface="+mn-lt"/>
            </a:endParaRPr>
          </a:p>
        </p:txBody>
      </p:sp>
      <p:sp>
        <p:nvSpPr>
          <p:cNvPr id="168" name="Text Placeholder 12"/>
          <p:cNvSpPr>
            <a:spLocks noGrp="1"/>
          </p:cNvSpPr>
          <p:nvPr>
            <p:custDataLst>
              <p:tags r:id="rId182"/>
            </p:custDataLst>
          </p:nvPr>
        </p:nvSpPr>
        <p:spPr bwMode="gray">
          <a:xfrm>
            <a:off x="5468938"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1F25E3-05CE-4948-8A10-85577E717F9C}"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69" name="Text Placeholder 12"/>
          <p:cNvSpPr>
            <a:spLocks noGrp="1"/>
          </p:cNvSpPr>
          <p:nvPr>
            <p:custDataLst>
              <p:tags r:id="rId183"/>
            </p:custDataLst>
          </p:nvPr>
        </p:nvSpPr>
        <p:spPr bwMode="gray">
          <a:xfrm>
            <a:off x="5811838" y="59261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F52DD6-1C55-4F7D-A41A-6A4BED18AD16}" type="datetime'2''''''''8''''''''''''.''''''''''3'''''''">
              <a:rPr lang="ja-JP" altLang="en-US" sz="1000" b="0" smtClean="0">
                <a:solidFill>
                  <a:schemeClr val="bg1"/>
                </a:solidFill>
                <a:effectLst/>
              </a:rPr>
              <a:pPr/>
              <a:t>28.3</a:t>
            </a:fld>
            <a:endParaRPr kumimoji="0" lang="ja-JP" altLang="en-US" sz="1000" b="0" dirty="0">
              <a:solidFill>
                <a:schemeClr val="bg1"/>
              </a:solidFill>
              <a:sym typeface="+mn-lt"/>
            </a:endParaRPr>
          </a:p>
        </p:txBody>
      </p:sp>
      <p:sp>
        <p:nvSpPr>
          <p:cNvPr id="119" name="Text Placeholder 12"/>
          <p:cNvSpPr>
            <a:spLocks noGrp="1"/>
          </p:cNvSpPr>
          <p:nvPr>
            <p:custDataLst>
              <p:tags r:id="rId184"/>
            </p:custDataLst>
          </p:nvPr>
        </p:nvSpPr>
        <p:spPr bwMode="auto">
          <a:xfrm>
            <a:off x="58753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49" name="Text Placeholder 12"/>
          <p:cNvSpPr>
            <a:spLocks noGrp="1"/>
          </p:cNvSpPr>
          <p:nvPr>
            <p:custDataLst>
              <p:tags r:id="rId185"/>
            </p:custDataLst>
          </p:nvPr>
        </p:nvSpPr>
        <p:spPr bwMode="gray">
          <a:xfrm>
            <a:off x="6156325"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3C7AD2-56FD-4919-BA87-4916546FC93F}" type="datetime'''''''''''''''''''''66''''''''.''1'''''''''''''''''''''">
              <a:rPr lang="ja-JP" altLang="en-US" sz="1000" b="0" smtClean="0">
                <a:effectLst/>
              </a:rPr>
              <a:pPr/>
              <a:t>66.1</a:t>
            </a:fld>
            <a:endParaRPr kumimoji="0" lang="ja-JP" altLang="en-US" sz="1000" b="0" dirty="0">
              <a:sym typeface="+mn-lt"/>
            </a:endParaRPr>
          </a:p>
        </p:txBody>
      </p:sp>
      <p:sp>
        <p:nvSpPr>
          <p:cNvPr id="170" name="Text Placeholder 12"/>
          <p:cNvSpPr>
            <a:spLocks noGrp="1"/>
          </p:cNvSpPr>
          <p:nvPr>
            <p:custDataLst>
              <p:tags r:id="rId186"/>
            </p:custDataLst>
          </p:nvPr>
        </p:nvSpPr>
        <p:spPr bwMode="gray">
          <a:xfrm>
            <a:off x="6156325" y="59245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678E33-BA3A-4D10-ACE6-EEE4C6DD1338}" type="datetime'''''''''''''2''''8''''''''''''''''''.''''''4'''''''''''''''">
              <a:rPr lang="ja-JP" altLang="en-US" sz="1000" b="0" smtClean="0">
                <a:solidFill>
                  <a:schemeClr val="bg1"/>
                </a:solidFill>
                <a:effectLst/>
              </a:rPr>
              <a:pPr/>
              <a:t>28.4</a:t>
            </a:fld>
            <a:endParaRPr kumimoji="0" lang="ja-JP" altLang="en-US" sz="1000" b="0" dirty="0">
              <a:solidFill>
                <a:schemeClr val="bg1"/>
              </a:solidFill>
              <a:sym typeface="+mn-lt"/>
            </a:endParaRPr>
          </a:p>
        </p:txBody>
      </p:sp>
      <p:sp>
        <p:nvSpPr>
          <p:cNvPr id="120" name="Text Placeholder 12"/>
          <p:cNvSpPr>
            <a:spLocks noGrp="1"/>
          </p:cNvSpPr>
          <p:nvPr>
            <p:custDataLst>
              <p:tags r:id="rId187"/>
            </p:custDataLst>
          </p:nvPr>
        </p:nvSpPr>
        <p:spPr bwMode="auto">
          <a:xfrm>
            <a:off x="6219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141" name="Text Placeholder 12"/>
          <p:cNvSpPr>
            <a:spLocks noGrp="1"/>
          </p:cNvSpPr>
          <p:nvPr>
            <p:custDataLst>
              <p:tags r:id="rId188"/>
            </p:custDataLst>
          </p:nvPr>
        </p:nvSpPr>
        <p:spPr bwMode="gray">
          <a:xfrm>
            <a:off x="3409950"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C3B7E6-FA56-4A31-B3F9-62A83EA7399A}" type="datetime'''''''''''''''6''''''6''''''''''''''''''''''''''.''''0'">
              <a:rPr lang="ja-JP" altLang="en-US" sz="1000" b="0" smtClean="0">
                <a:effectLst/>
              </a:rPr>
              <a:pPr/>
              <a:t>66.0</a:t>
            </a:fld>
            <a:endParaRPr kumimoji="0" lang="ja-JP" altLang="en-US" sz="1000" b="0" dirty="0">
              <a:sym typeface="+mn-lt"/>
            </a:endParaRPr>
          </a:p>
        </p:txBody>
      </p:sp>
      <p:sp>
        <p:nvSpPr>
          <p:cNvPr id="212" name="テキスト プレースホルダ 9"/>
          <p:cNvSpPr>
            <a:spLocks noGrp="1"/>
          </p:cNvSpPr>
          <p:nvPr>
            <p:custDataLst>
              <p:tags r:id="rId189"/>
            </p:custDataLst>
          </p:nvPr>
        </p:nvSpPr>
        <p:spPr bwMode="gray">
          <a:xfrm>
            <a:off x="6499225" y="59229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23DB23-7955-4FD4-AA9A-FEFD1169B86C}" type="datetime'''''''''''''''''2''''''''8''''''''''''''''''''''''.''6'''">
              <a:rPr lang="ja-JP" altLang="en-US" sz="1000" smtClean="0">
                <a:solidFill>
                  <a:schemeClr val="bg1"/>
                </a:solidFill>
                <a:effectLst/>
              </a:rPr>
              <a:pPr/>
              <a:t>28.6</a:t>
            </a:fld>
            <a:endParaRPr kumimoji="0" lang="ja-JP" altLang="en-US" sz="1000" dirty="0">
              <a:solidFill>
                <a:schemeClr val="bg1"/>
              </a:solidFill>
              <a:sym typeface="+mn-lt"/>
            </a:endParaRPr>
          </a:p>
        </p:txBody>
      </p:sp>
      <p:sp>
        <p:nvSpPr>
          <p:cNvPr id="205" name="Text Placeholder 12"/>
          <p:cNvSpPr>
            <a:spLocks noGrp="1"/>
          </p:cNvSpPr>
          <p:nvPr>
            <p:custDataLst>
              <p:tags r:id="rId190"/>
            </p:custDataLst>
          </p:nvPr>
        </p:nvSpPr>
        <p:spPr bwMode="auto">
          <a:xfrm>
            <a:off x="65627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42" name="Text Placeholder 12"/>
          <p:cNvSpPr>
            <a:spLocks noGrp="1"/>
          </p:cNvSpPr>
          <p:nvPr>
            <p:custDataLst>
              <p:tags r:id="rId191"/>
            </p:custDataLst>
          </p:nvPr>
        </p:nvSpPr>
        <p:spPr bwMode="gray">
          <a:xfrm>
            <a:off x="3752850"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755965-AA46-47FA-AD1B-7A0A53662C91}" type="datetime'''''''''''''6''''''''''''''''6''''.''2'''''''">
              <a:rPr lang="ja-JP" altLang="en-US" sz="1000" b="0" smtClean="0">
                <a:effectLst/>
              </a:rPr>
              <a:pPr/>
              <a:t>66.2</a:t>
            </a:fld>
            <a:endParaRPr kumimoji="0" lang="ja-JP" altLang="en-US" sz="1000" b="0" dirty="0">
              <a:sym typeface="+mn-lt"/>
            </a:endParaRPr>
          </a:p>
        </p:txBody>
      </p:sp>
      <p:sp>
        <p:nvSpPr>
          <p:cNvPr id="213" name="テキスト プレースホルダ 9"/>
          <p:cNvSpPr>
            <a:spLocks noGrp="1"/>
          </p:cNvSpPr>
          <p:nvPr>
            <p:custDataLst>
              <p:tags r:id="rId192"/>
            </p:custDataLst>
          </p:nvPr>
        </p:nvSpPr>
        <p:spPr bwMode="gray">
          <a:xfrm>
            <a:off x="6842125" y="52625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F56FC9-0830-4BFE-BD9C-1E10456A2BE7}" type="datetime'''''''6''''''''''''''''''''''''5''''''''''''.5'''''''">
              <a:rPr lang="ja-JP" altLang="en-US" sz="1000" smtClean="0">
                <a:effectLst/>
              </a:rPr>
              <a:pPr/>
              <a:t>65.5</a:t>
            </a:fld>
            <a:endParaRPr kumimoji="0" lang="ja-JP" altLang="en-US" sz="1000" dirty="0">
              <a:sym typeface="+mn-lt"/>
            </a:endParaRPr>
          </a:p>
        </p:txBody>
      </p:sp>
      <p:sp>
        <p:nvSpPr>
          <p:cNvPr id="211" name="テキスト プレースホルダ 9"/>
          <p:cNvSpPr>
            <a:spLocks noGrp="1"/>
          </p:cNvSpPr>
          <p:nvPr>
            <p:custDataLst>
              <p:tags r:id="rId193"/>
            </p:custDataLst>
          </p:nvPr>
        </p:nvSpPr>
        <p:spPr bwMode="gray">
          <a:xfrm>
            <a:off x="6842125" y="59229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74CEF-0FAF-426C-B64D-33930882F220}" type="datetime'2''''''''''''8''''''''''''''.''''''''''7'''''''''''">
              <a:rPr lang="ja-JP" altLang="en-US" sz="1000" smtClean="0">
                <a:solidFill>
                  <a:schemeClr val="bg1"/>
                </a:solidFill>
                <a:effectLst/>
              </a:rPr>
              <a:pPr/>
              <a:t>28.7</a:t>
            </a:fld>
            <a:endParaRPr kumimoji="0" lang="ja-JP" altLang="en-US" sz="1000" dirty="0">
              <a:solidFill>
                <a:schemeClr val="bg1"/>
              </a:solidFill>
              <a:sym typeface="+mn-lt"/>
            </a:endParaRPr>
          </a:p>
        </p:txBody>
      </p:sp>
      <p:sp>
        <p:nvSpPr>
          <p:cNvPr id="207" name="Text Placeholder 12"/>
          <p:cNvSpPr>
            <a:spLocks noGrp="1"/>
          </p:cNvSpPr>
          <p:nvPr>
            <p:custDataLst>
              <p:tags r:id="rId194"/>
            </p:custDataLst>
          </p:nvPr>
        </p:nvSpPr>
        <p:spPr bwMode="auto">
          <a:xfrm>
            <a:off x="69056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61" name="Text Placeholder 12"/>
          <p:cNvSpPr>
            <a:spLocks noGrp="1"/>
          </p:cNvSpPr>
          <p:nvPr>
            <p:custDataLst>
              <p:tags r:id="rId195"/>
            </p:custDataLst>
          </p:nvPr>
        </p:nvSpPr>
        <p:spPr bwMode="gray">
          <a:xfrm>
            <a:off x="3065463"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B4F5B0-2430-42A9-AC0E-11A8A9FCAE42}" type="datetime'''''''''2''''''''''''''9''''''.''''''''7'''''">
              <a:rPr lang="ja-JP" altLang="en-US" sz="1000" b="0" smtClean="0">
                <a:solidFill>
                  <a:schemeClr val="bg1"/>
                </a:solidFill>
                <a:effectLst/>
              </a:rPr>
              <a:pPr/>
              <a:t>29.7</a:t>
            </a:fld>
            <a:endParaRPr kumimoji="0" lang="ja-JP" altLang="en-US" sz="1000" b="0" dirty="0">
              <a:solidFill>
                <a:schemeClr val="bg1"/>
              </a:solidFill>
              <a:sym typeface="+mn-lt"/>
            </a:endParaRPr>
          </a:p>
        </p:txBody>
      </p:sp>
      <p:sp>
        <p:nvSpPr>
          <p:cNvPr id="171" name="Text Placeholder 12"/>
          <p:cNvSpPr>
            <a:spLocks noGrp="1"/>
          </p:cNvSpPr>
          <p:nvPr>
            <p:custDataLst>
              <p:tags r:id="rId196"/>
            </p:custDataLst>
          </p:nvPr>
        </p:nvSpPr>
        <p:spPr bwMode="gray">
          <a:xfrm>
            <a:off x="7186613"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CD87F-045C-427D-98A4-2403957904E1}" type="datetime'''2''''''''8''''''''''''.''''''''''''''''''''8'''''''">
              <a:rPr lang="ja-JP" altLang="en-US" sz="1000" b="0" smtClean="0">
                <a:solidFill>
                  <a:schemeClr val="bg1"/>
                </a:solidFill>
                <a:effectLst/>
              </a:rPr>
              <a:pPr/>
              <a:t>28.8</a:t>
            </a:fld>
            <a:endParaRPr kumimoji="0" lang="ja-JP" altLang="en-US" sz="1000" b="0" dirty="0">
              <a:solidFill>
                <a:schemeClr val="bg1"/>
              </a:solidFill>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97"/>
            </p:custDataLst>
          </p:nvPr>
        </p:nvSpPr>
        <p:spPr bwMode="gray">
          <a:xfrm>
            <a:off x="8559800" y="53244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FD1F19-801C-4E47-8C54-FBAF41DD60D4}" type="datetime'''''6''''''8''''''.2'''''''''''''''''">
              <a:rPr lang="ja-JP" altLang="en-US" sz="1000" smtClean="0">
                <a:effectLst/>
              </a:rPr>
              <a:pPr/>
              <a:t>68.2</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98"/>
            </p:custDataLst>
          </p:nvPr>
        </p:nvSpPr>
        <p:spPr bwMode="gray">
          <a:xfrm>
            <a:off x="8559800" y="59642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466335-15D8-4203-A837-0A42600E9ACB}" type="datetime'''''''''''''''''''''''''''''2''''''''2''''''''''''''''''.9'">
              <a:rPr lang="ja-JP" altLang="en-US" sz="1000" smtClean="0">
                <a:solidFill>
                  <a:schemeClr val="bg1"/>
                </a:solidFill>
                <a:effectLst/>
              </a:rPr>
              <a:pPr/>
              <a:t>22.9</a:t>
            </a:fld>
            <a:endParaRPr lang="ja-JP" altLang="en-US" sz="1000" dirty="0">
              <a:solidFill>
                <a:schemeClr val="bg1"/>
              </a:solidFill>
              <a:sym typeface="+mn-lt"/>
            </a:endParaRPr>
          </a:p>
        </p:txBody>
      </p:sp>
      <p:sp>
        <p:nvSpPr>
          <p:cNvPr id="106" name="Text Placeholder 12"/>
          <p:cNvSpPr>
            <a:spLocks noGrp="1"/>
          </p:cNvSpPr>
          <p:nvPr>
            <p:custDataLst>
              <p:tags r:id="rId199"/>
            </p:custDataLst>
          </p:nvPr>
        </p:nvSpPr>
        <p:spPr bwMode="auto">
          <a:xfrm>
            <a:off x="1412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21" name="Text Placeholder 12"/>
          <p:cNvSpPr>
            <a:spLocks noGrp="1"/>
          </p:cNvSpPr>
          <p:nvPr>
            <p:custDataLst>
              <p:tags r:id="rId200"/>
            </p:custDataLst>
          </p:nvPr>
        </p:nvSpPr>
        <p:spPr bwMode="auto">
          <a:xfrm>
            <a:off x="7250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201"/>
            </p:custDataLst>
          </p:nvPr>
        </p:nvSpPr>
        <p:spPr bwMode="auto">
          <a:xfrm>
            <a:off x="8623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51" name="Text Placeholder 12"/>
          <p:cNvSpPr>
            <a:spLocks noGrp="1"/>
          </p:cNvSpPr>
          <p:nvPr>
            <p:custDataLst>
              <p:tags r:id="rId202"/>
            </p:custDataLst>
          </p:nvPr>
        </p:nvSpPr>
        <p:spPr bwMode="gray">
          <a:xfrm>
            <a:off x="7529513"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34A75F-BC23-45D7-B158-3A1699A2E944}" type="datetime'6''''''''5''''''.''''''''''''''''''''''''''''''''3'''">
              <a:rPr lang="ja-JP" altLang="en-US" sz="1000" b="0" smtClean="0">
                <a:effectLst/>
              </a:rPr>
              <a:pPr/>
              <a:t>65.3</a:t>
            </a:fld>
            <a:endParaRPr kumimoji="0" lang="ja-JP" altLang="en-US" sz="1000" b="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203"/>
            </p:custDataLst>
          </p:nvPr>
        </p:nvSpPr>
        <p:spPr bwMode="gray">
          <a:xfrm>
            <a:off x="8902700" y="53482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69B795-0D5A-490B-9700-FC938B588ECE}" type="datetime'''''''''''''6''''''''''''''''''''7''''''''''.''''5'''''''''">
              <a:rPr lang="ja-JP" altLang="en-US" sz="1000" smtClean="0">
                <a:effectLst/>
              </a:rPr>
              <a:pPr/>
              <a:t>67.5</a:t>
            </a:fld>
            <a:endParaRPr lang="ja-JP" altLang="en-US" sz="1000" dirty="0">
              <a:sym typeface="+mn-lt"/>
            </a:endParaRPr>
          </a:p>
        </p:txBody>
      </p:sp>
      <p:sp>
        <p:nvSpPr>
          <p:cNvPr id="172" name="Text Placeholder 12"/>
          <p:cNvSpPr>
            <a:spLocks noGrp="1"/>
          </p:cNvSpPr>
          <p:nvPr>
            <p:custDataLst>
              <p:tags r:id="rId204"/>
            </p:custDataLst>
          </p:nvPr>
        </p:nvSpPr>
        <p:spPr bwMode="gray">
          <a:xfrm>
            <a:off x="7529513"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C8EB49-7F93-4369-BCF2-28FF9CB2B73E}"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205"/>
            </p:custDataLst>
          </p:nvPr>
        </p:nvSpPr>
        <p:spPr bwMode="auto">
          <a:xfrm>
            <a:off x="89662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206"/>
            </p:custDataLst>
          </p:nvPr>
        </p:nvSpPr>
        <p:spPr bwMode="auto">
          <a:xfrm>
            <a:off x="9251950"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207"/>
            </p:custDataLst>
          </p:nvPr>
        </p:nvSpPr>
        <p:spPr bwMode="auto">
          <a:xfrm>
            <a:off x="9251950" y="534828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62" name="Text Placeholder 12"/>
          <p:cNvSpPr>
            <a:spLocks noGrp="1"/>
          </p:cNvSpPr>
          <p:nvPr>
            <p:custDataLst>
              <p:tags r:id="rId208"/>
            </p:custDataLst>
          </p:nvPr>
        </p:nvSpPr>
        <p:spPr bwMode="gray">
          <a:xfrm>
            <a:off x="3409950"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225C1F-FE15-40E5-9328-3A7808E27586}" type="datetime'''''''2''''''9''''''''''''''''''''''''.3'''''''''''">
              <a:rPr lang="ja-JP" altLang="en-US" sz="1000" b="0" smtClean="0">
                <a:solidFill>
                  <a:schemeClr val="bg1"/>
                </a:solidFill>
                <a:effectLst/>
              </a:rPr>
              <a:pPr/>
              <a:t>29.3</a:t>
            </a:fld>
            <a:endParaRPr kumimoji="0" lang="ja-JP" altLang="en-US" sz="1000" b="0" dirty="0">
              <a:solidFill>
                <a:schemeClr val="bg1"/>
              </a:solidFill>
              <a:sym typeface="+mn-lt"/>
            </a:endParaRPr>
          </a:p>
        </p:txBody>
      </p:sp>
      <p:sp>
        <p:nvSpPr>
          <p:cNvPr id="122" name="Text Placeholder 12"/>
          <p:cNvSpPr>
            <a:spLocks noGrp="1"/>
          </p:cNvSpPr>
          <p:nvPr>
            <p:custDataLst>
              <p:tags r:id="rId209"/>
            </p:custDataLst>
          </p:nvPr>
        </p:nvSpPr>
        <p:spPr bwMode="auto">
          <a:xfrm>
            <a:off x="7593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23" name="Text Placeholder 12"/>
          <p:cNvSpPr>
            <a:spLocks noGrp="1"/>
          </p:cNvSpPr>
          <p:nvPr>
            <p:custDataLst>
              <p:tags r:id="rId210"/>
            </p:custDataLst>
          </p:nvPr>
        </p:nvSpPr>
        <p:spPr bwMode="auto">
          <a:xfrm>
            <a:off x="79359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52" name="Text Placeholder 12"/>
          <p:cNvSpPr>
            <a:spLocks noGrp="1"/>
          </p:cNvSpPr>
          <p:nvPr>
            <p:custDataLst>
              <p:tags r:id="rId211"/>
            </p:custDataLst>
          </p:nvPr>
        </p:nvSpPr>
        <p:spPr bwMode="gray">
          <a:xfrm>
            <a:off x="7872413"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AD2C4F-F818-4F4C-A324-819A72D82AAC}" type="datetime'''''''''''''6''''''''''''''''''5.''''''''4'">
              <a:rPr lang="ja-JP" altLang="en-US" sz="1000" b="0" smtClean="0">
                <a:effectLst/>
              </a:rPr>
              <a:pPr/>
              <a:t>65.4</a:t>
            </a:fld>
            <a:endParaRPr kumimoji="0" lang="ja-JP" altLang="en-US" sz="1000" b="0" dirty="0">
              <a:sym typeface="+mn-lt"/>
            </a:endParaRPr>
          </a:p>
        </p:txBody>
      </p:sp>
      <p:sp>
        <p:nvSpPr>
          <p:cNvPr id="173" name="Text Placeholder 12"/>
          <p:cNvSpPr>
            <a:spLocks noGrp="1"/>
          </p:cNvSpPr>
          <p:nvPr>
            <p:custDataLst>
              <p:tags r:id="rId212"/>
            </p:custDataLst>
          </p:nvPr>
        </p:nvSpPr>
        <p:spPr bwMode="gray">
          <a:xfrm>
            <a:off x="7872413" y="59229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FA78EE-B5BF-4EA7-A05D-AD4ACEABF32B}" type="datetime'''''''''2''''''''8''.''''''''''''''''''''''''7'''''''">
              <a:rPr lang="ja-JP" altLang="en-US" sz="1000" b="0" smtClean="0">
                <a:solidFill>
                  <a:schemeClr val="bg1"/>
                </a:solidFill>
                <a:effectLst/>
              </a:rPr>
              <a:pPr/>
              <a:t>28.7</a:t>
            </a:fld>
            <a:endParaRPr kumimoji="0" lang="ja-JP" altLang="en-US" sz="1000" b="0" dirty="0">
              <a:solidFill>
                <a:schemeClr val="bg1"/>
              </a:solidFill>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213"/>
            </p:custDataLst>
          </p:nvPr>
        </p:nvSpPr>
        <p:spPr bwMode="gray">
          <a:xfrm>
            <a:off x="8215313" y="52911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50AC28-DDE6-4FA3-AFE0-A68262CD04CC}" type="datetime'''''''''''''''''''''''6''''''''''''''''7''''.''2'''''''">
              <a:rPr lang="ja-JP" altLang="en-US" sz="1000" smtClean="0">
                <a:effectLst/>
              </a:rPr>
              <a:pPr/>
              <a:t>67.2</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214"/>
            </p:custDataLst>
          </p:nvPr>
        </p:nvSpPr>
        <p:spPr bwMode="gray">
          <a:xfrm>
            <a:off x="8215313" y="59436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CF27B0-8FCF-4815-967F-7A18A23C5BB0}" type="datetime'''''''''''2''''5''.''''''''''''''''''8'''''''''''''''''">
              <a:rPr lang="ja-JP" altLang="en-US" sz="1000" smtClean="0">
                <a:solidFill>
                  <a:schemeClr val="bg1"/>
                </a:solidFill>
                <a:effectLst/>
              </a:rPr>
              <a:pPr/>
              <a:t>25.8</a:t>
            </a:fld>
            <a:endParaRPr lang="ja-JP" altLang="en-US" sz="1000" dirty="0">
              <a:solidFill>
                <a:schemeClr val="bg1"/>
              </a:solidFill>
              <a:sym typeface="+mn-lt"/>
            </a:endParaRPr>
          </a:p>
        </p:txBody>
      </p:sp>
      <p:sp>
        <p:nvSpPr>
          <p:cNvPr id="124" name="Text Placeholder 12"/>
          <p:cNvSpPr>
            <a:spLocks noGrp="1"/>
          </p:cNvSpPr>
          <p:nvPr>
            <p:custDataLst>
              <p:tags r:id="rId215"/>
            </p:custDataLst>
          </p:nvPr>
        </p:nvSpPr>
        <p:spPr bwMode="auto">
          <a:xfrm>
            <a:off x="82788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38" name="テキスト プレースホルダ 9">
            <a:extLst>
              <a:ext uri="{FF2B5EF4-FFF2-40B4-BE49-F238E27FC236}">
                <a16:creationId xmlns:a16="http://schemas.microsoft.com/office/drawing/2014/main" id="{824228B6-9D7D-4720-9C86-B698B3925354}"/>
              </a:ext>
            </a:extLst>
          </p:cNvPr>
          <p:cNvSpPr>
            <a:spLocks noGrp="1"/>
          </p:cNvSpPr>
          <p:nvPr>
            <p:custDataLst>
              <p:tags r:id="rId216"/>
            </p:custDataLst>
          </p:nvPr>
        </p:nvSpPr>
        <p:spPr bwMode="gray">
          <a:xfrm>
            <a:off x="8902700" y="59721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85F50B-09B3-4A76-872B-415366E29DC2}" type="datetime'''''''''''''''2''''''''''''''''''1.''''''''''6'''''''''">
              <a:rPr lang="ja-JP" altLang="en-US" sz="1000" smtClean="0">
                <a:solidFill>
                  <a:schemeClr val="bg1"/>
                </a:solidFill>
                <a:effectLst/>
                <a:sym typeface="+mn-lt"/>
              </a:rPr>
              <a:pPr marL="0" indent="0" algn="ctr">
                <a:spcBef>
                  <a:spcPct val="0"/>
                </a:spcBef>
                <a:buNone/>
              </a:pPr>
              <a:t>21.6</a:t>
            </a:fld>
            <a:endParaRPr lang="ja-JP" altLang="en-US" sz="1000" dirty="0">
              <a:solidFill>
                <a:schemeClr val="bg1"/>
              </a:solidFill>
              <a:sym typeface="+mn-lt"/>
            </a:endParaRPr>
          </a:p>
        </p:txBody>
      </p:sp>
      <p:sp>
        <p:nvSpPr>
          <p:cNvPr id="112" name="Text Placeholder 12"/>
          <p:cNvSpPr>
            <a:spLocks noGrp="1"/>
          </p:cNvSpPr>
          <p:nvPr>
            <p:custDataLst>
              <p:tags r:id="rId217"/>
            </p:custDataLst>
          </p:nvPr>
        </p:nvSpPr>
        <p:spPr bwMode="auto">
          <a:xfrm>
            <a:off x="34734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45" name="Text Placeholder 12"/>
          <p:cNvSpPr>
            <a:spLocks noGrp="1"/>
          </p:cNvSpPr>
          <p:nvPr>
            <p:custDataLst>
              <p:tags r:id="rId218"/>
            </p:custDataLst>
          </p:nvPr>
        </p:nvSpPr>
        <p:spPr bwMode="gray">
          <a:xfrm>
            <a:off x="4783138"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8CB4C19-F8B0-4A6D-A156-914F02F1F221}" type="datetime'''''''''''''''6''''''''''''''''6''.5'''">
              <a:rPr lang="ja-JP" altLang="en-US" sz="1000" b="0" smtClean="0">
                <a:effectLst/>
              </a:rPr>
              <a:pPr/>
              <a:t>66.5</a:t>
            </a:fld>
            <a:endParaRPr kumimoji="0" lang="ja-JP" altLang="en-US" sz="1000" b="0" dirty="0">
              <a:sym typeface="+mn-lt"/>
            </a:endParaRPr>
          </a:p>
        </p:txBody>
      </p:sp>
      <p:sp>
        <p:nvSpPr>
          <p:cNvPr id="146" name="Text Placeholder 12"/>
          <p:cNvSpPr>
            <a:spLocks noGrp="1"/>
          </p:cNvSpPr>
          <p:nvPr>
            <p:custDataLst>
              <p:tags r:id="rId219"/>
            </p:custDataLst>
          </p:nvPr>
        </p:nvSpPr>
        <p:spPr bwMode="gray">
          <a:xfrm>
            <a:off x="5126038" y="5259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9EFEC85-A565-4C4E-A1AB-1510FD7D74BD}" type="datetime'6''''''''''''''''6.''3'''''''">
              <a:rPr lang="ja-JP" altLang="en-US" sz="1000" b="0" smtClean="0">
                <a:effectLst/>
              </a:rPr>
              <a:pPr/>
              <a:t>66.3</a:t>
            </a:fld>
            <a:endParaRPr kumimoji="0" lang="ja-JP" altLang="en-US" sz="1000" b="0" dirty="0">
              <a:sym typeface="+mn-lt"/>
            </a:endParaRPr>
          </a:p>
        </p:txBody>
      </p:sp>
      <p:sp>
        <p:nvSpPr>
          <p:cNvPr id="117" name="Text Placeholder 12"/>
          <p:cNvSpPr>
            <a:spLocks noGrp="1"/>
          </p:cNvSpPr>
          <p:nvPr>
            <p:custDataLst>
              <p:tags r:id="rId220"/>
            </p:custDataLst>
          </p:nvPr>
        </p:nvSpPr>
        <p:spPr bwMode="auto">
          <a:xfrm>
            <a:off x="5189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50" name="Text Placeholder 12"/>
          <p:cNvSpPr>
            <a:spLocks noGrp="1"/>
          </p:cNvSpPr>
          <p:nvPr>
            <p:custDataLst>
              <p:tags r:id="rId221"/>
            </p:custDataLst>
          </p:nvPr>
        </p:nvSpPr>
        <p:spPr bwMode="gray">
          <a:xfrm>
            <a:off x="7186613" y="5262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CF33A8-9379-475D-8A8B-0FF942EC62F1}" type="datetime'''''''''''''''''6''''5''''.''''''''''''''3'''''''''">
              <a:rPr lang="ja-JP" altLang="en-US" sz="1000" b="0" smtClean="0">
                <a:effectLst/>
              </a:rPr>
              <a:pPr/>
              <a:t>65.3</a:t>
            </a:fld>
            <a:endParaRPr kumimoji="0" lang="ja-JP" altLang="en-US" sz="1000" b="0" dirty="0">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extLst>
              <p:ext uri="{D42A27DB-BD31-4B8C-83A1-F6EECF244321}">
                <p14:modId xmlns:p14="http://schemas.microsoft.com/office/powerpoint/2010/main" val="2280709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272480" y="1148002"/>
            <a:ext cx="9361040"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目標に国民皆保険の導入を目指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南アフリカ政府の医療関連の政策と目標について下記に列記する。</a:t>
            </a:r>
          </a:p>
        </p:txBody>
      </p:sp>
      <p:sp>
        <p:nvSpPr>
          <p:cNvPr id="12" name="テキスト ボックス 11"/>
          <p:cNvSpPr txBox="1"/>
          <p:nvPr/>
        </p:nvSpPr>
        <p:spPr>
          <a:xfrm>
            <a:off x="200472" y="6597118"/>
            <a:ext cx="8784976" cy="144016"/>
          </a:xfrm>
          <a:prstGeom prst="rect">
            <a:avLst/>
          </a:prstGeom>
          <a:noFill/>
        </p:spPr>
        <p:txBody>
          <a:bodyPr wrap="square" lIns="0" tIns="0" rIns="0" bIns="0" rtlCol="0">
            <a:noAutofit/>
          </a:bodyPr>
          <a:lstStyle/>
          <a:p>
            <a:pPr marL="355600" indent="-355600"/>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static.pmg.org.za/National_Department_of_Health_APP_2022-23.pdf</a:t>
            </a:r>
            <a:endParaRPr lang="ja-JP" altLang="en-US" sz="800" dirty="0"/>
          </a:p>
        </p:txBody>
      </p:sp>
      <p:sp>
        <p:nvSpPr>
          <p:cNvPr id="9" name="TextBox 8">
            <a:extLst>
              <a:ext uri="{FF2B5EF4-FFF2-40B4-BE49-F238E27FC236}">
                <a16:creationId xmlns:a16="http://schemas.microsoft.com/office/drawing/2014/main" id="{03AED809-247D-4D7A-B2D2-4BD83B8769E9}"/>
              </a:ext>
            </a:extLst>
          </p:cNvPr>
          <p:cNvSpPr txBox="1"/>
          <p:nvPr/>
        </p:nvSpPr>
        <p:spPr>
          <a:xfrm>
            <a:off x="2048756" y="2425507"/>
            <a:ext cx="4896544" cy="219752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健康に影響を与える社会的決定要因に対処するを解決する。</a:t>
            </a:r>
          </a:p>
          <a:p>
            <a:r>
              <a:rPr lang="en-US" altLang="ja-JP" sz="1200" dirty="0"/>
              <a:t> </a:t>
            </a:r>
            <a:r>
              <a:rPr lang="ja-JP" altLang="en-US" sz="1200" dirty="0"/>
              <a:t>保健システムを強化する。</a:t>
            </a:r>
          </a:p>
          <a:p>
            <a:r>
              <a:rPr lang="en-US" altLang="ja-JP" sz="1200" dirty="0"/>
              <a:t> </a:t>
            </a:r>
            <a:r>
              <a:rPr lang="ja-JP" altLang="en-US" sz="1200" dirty="0"/>
              <a:t>健康情報システムを改善する。</a:t>
            </a:r>
          </a:p>
          <a:p>
            <a:r>
              <a:rPr lang="en-US" altLang="ja-JP" sz="1200" dirty="0"/>
              <a:t> </a:t>
            </a:r>
            <a:r>
              <a:rPr lang="ja-JP" altLang="en-US" sz="1200" dirty="0"/>
              <a:t>疾病負担を予防・軽減し健康増進に寄与する。</a:t>
            </a:r>
          </a:p>
          <a:p>
            <a:r>
              <a:rPr lang="ja-JP" altLang="en-US" sz="1200" dirty="0"/>
              <a:t> 国民皆保険の財源を確保する。</a:t>
            </a:r>
          </a:p>
          <a:p>
            <a:r>
              <a:rPr lang="ja-JP" altLang="en-US" sz="1200" dirty="0"/>
              <a:t>保健分野の人的資源を改善する。</a:t>
            </a:r>
          </a:p>
          <a:p>
            <a:r>
              <a:rPr lang="ja-JP" altLang="en-US" sz="1200" dirty="0"/>
              <a:t>管理職の地位と任命を見直し、説明責任メカニズムを強化する</a:t>
            </a:r>
          </a:p>
          <a:p>
            <a:r>
              <a:rPr lang="ja-JP" altLang="en-US" sz="1200" dirty="0"/>
              <a:t>エビデンスを活用し、質を向上させる。</a:t>
            </a:r>
          </a:p>
          <a:p>
            <a:r>
              <a:rPr lang="ja-JP" altLang="en-US" sz="1200" dirty="0"/>
              <a:t>有意義な官民パートナーシップを確立する。</a:t>
            </a:r>
            <a:endParaRPr lang="en-US" sz="1200" dirty="0"/>
          </a:p>
        </p:txBody>
      </p:sp>
      <p:sp>
        <p:nvSpPr>
          <p:cNvPr id="10" name="Rectangle 9">
            <a:extLst>
              <a:ext uri="{FF2B5EF4-FFF2-40B4-BE49-F238E27FC236}">
                <a16:creationId xmlns:a16="http://schemas.microsoft.com/office/drawing/2014/main" id="{418F865A-E45E-44E8-8D2F-3180B45C8A0A}"/>
              </a:ext>
            </a:extLst>
          </p:cNvPr>
          <p:cNvSpPr>
            <a:spLocks noChangeArrowheads="1"/>
          </p:cNvSpPr>
          <p:nvPr/>
        </p:nvSpPr>
        <p:spPr bwMode="auto">
          <a:xfrm>
            <a:off x="2144688" y="2028610"/>
            <a:ext cx="4608512" cy="367841"/>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開発計画</a:t>
            </a:r>
            <a:r>
              <a:rPr lang="en-US" altLang="ja-JP" sz="1400" dirty="0">
                <a:solidFill>
                  <a:srgbClr val="000000"/>
                </a:solidFill>
                <a:latin typeface="Arial Black" pitchFamily="34" charset="0"/>
                <a:ea typeface="HGP創英角ｺﾞｼｯｸUB" pitchFamily="50" charset="-128"/>
              </a:rPr>
              <a:t>2030</a:t>
            </a:r>
            <a:r>
              <a:rPr lang="ja-JP" altLang="en-US" sz="1400" dirty="0">
                <a:solidFill>
                  <a:srgbClr val="000000"/>
                </a:solidFill>
                <a:latin typeface="Arial Black" pitchFamily="34" charset="0"/>
                <a:ea typeface="HGP創英角ｺﾞｼｯｸUB" pitchFamily="50" charset="-128"/>
              </a:rPr>
              <a:t>に含まれる医療・保健関連の政策と目標</a:t>
            </a:r>
            <a:endParaRPr lang="en-US" altLang="ja-JP" sz="1400" dirty="0">
              <a:solidFill>
                <a:srgbClr val="000000"/>
              </a:solidFill>
              <a:latin typeface="Arial Black" pitchFamily="34" charset="0"/>
              <a:ea typeface="HGP創英角ｺﾞｼｯｸUB" pitchFamily="50" charset="-128"/>
            </a:endParaRPr>
          </a:p>
        </p:txBody>
      </p:sp>
      <p:sp>
        <p:nvSpPr>
          <p:cNvPr id="14" name="TextBox 13">
            <a:extLst>
              <a:ext uri="{FF2B5EF4-FFF2-40B4-BE49-F238E27FC236}">
                <a16:creationId xmlns:a16="http://schemas.microsoft.com/office/drawing/2014/main" id="{08322435-1635-4F2B-B4DF-BD68543E43AE}"/>
              </a:ext>
            </a:extLst>
          </p:cNvPr>
          <p:cNvSpPr txBox="1"/>
          <p:nvPr/>
        </p:nvSpPr>
        <p:spPr>
          <a:xfrm>
            <a:off x="2094528" y="5315356"/>
            <a:ext cx="4298632" cy="7017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200" dirty="0"/>
              <a:t>20</a:t>
            </a:r>
            <a:r>
              <a:rPr lang="en-US" altLang="ja-JP" sz="1200" dirty="0"/>
              <a:t>24</a:t>
            </a:r>
            <a:r>
              <a:rPr lang="ja-JP" altLang="en-US" sz="1200" dirty="0"/>
              <a:t>年に平均寿命を</a:t>
            </a:r>
            <a:r>
              <a:rPr lang="en-US" altLang="ja-JP" sz="1200" dirty="0"/>
              <a:t>66.6</a:t>
            </a:r>
            <a:r>
              <a:rPr lang="ja-JP" altLang="en-US" sz="1200" dirty="0"/>
              <a:t>歳、</a:t>
            </a:r>
            <a:r>
              <a:rPr lang="en-US" altLang="ja-JP" sz="1200" dirty="0"/>
              <a:t>2030</a:t>
            </a:r>
            <a:r>
              <a:rPr lang="ja-JP" altLang="en-US" sz="1200" dirty="0"/>
              <a:t>年には</a:t>
            </a:r>
            <a:r>
              <a:rPr lang="en-US" altLang="ja-JP" sz="1200" dirty="0"/>
              <a:t>70</a:t>
            </a:r>
            <a:r>
              <a:rPr lang="ja-JP" altLang="en-US" sz="1200" dirty="0"/>
              <a:t>歳に延ばす。</a:t>
            </a:r>
          </a:p>
          <a:p>
            <a:pPr marL="0" indent="0">
              <a:buNone/>
            </a:pPr>
            <a:r>
              <a:rPr lang="ja-JP" altLang="en-US" sz="1200" dirty="0"/>
              <a:t>国民皆保険制度が段階的な達成され、全ての国民が医療を受けることによる壊滅的な経済的影響を受けないように保護する。</a:t>
            </a:r>
            <a:endParaRPr lang="en-US" sz="1200" dirty="0"/>
          </a:p>
        </p:txBody>
      </p:sp>
      <p:sp>
        <p:nvSpPr>
          <p:cNvPr id="6" name="Isosceles Triangle 5">
            <a:extLst>
              <a:ext uri="{FF2B5EF4-FFF2-40B4-BE49-F238E27FC236}">
                <a16:creationId xmlns:a16="http://schemas.microsoft.com/office/drawing/2014/main" id="{AE0FC31D-97BC-4FE2-AAD0-45FA077E4FA8}"/>
              </a:ext>
            </a:extLst>
          </p:cNvPr>
          <p:cNvSpPr/>
          <p:nvPr/>
        </p:nvSpPr>
        <p:spPr>
          <a:xfrm flipV="1">
            <a:off x="2720752" y="4941168"/>
            <a:ext cx="2952328" cy="2308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spTree>
    <p:extLst>
      <p:ext uri="{BB962C8B-B14F-4D97-AF65-F5344CB8AC3E}">
        <p14:creationId xmlns:p14="http://schemas.microsoft.com/office/powerpoint/2010/main" val="16666456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93633283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36" name="テキスト ボックス 35"/>
          <p:cNvSpPr txBox="1"/>
          <p:nvPr/>
        </p:nvSpPr>
        <p:spPr>
          <a:xfrm>
            <a:off x="226242" y="6584679"/>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data.html#section6</a:t>
            </a:r>
            <a:r>
              <a:rPr lang="ja-JP" altLang="en-US" sz="800" dirty="0"/>
              <a:t>）</a:t>
            </a:r>
          </a:p>
        </p:txBody>
      </p:sp>
      <p:sp>
        <p:nvSpPr>
          <p:cNvPr id="13" name="片側の 2 つの角を丸めた四角形 12"/>
          <p:cNvSpPr/>
          <p:nvPr/>
        </p:nvSpPr>
        <p:spPr>
          <a:xfrm>
            <a:off x="920552" y="1370179"/>
            <a:ext cx="4392488" cy="28803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370179"/>
            <a:ext cx="4392488" cy="28803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062411394"/>
              </p:ext>
            </p:extLst>
          </p:nvPr>
        </p:nvGraphicFramePr>
        <p:xfrm>
          <a:off x="200025" y="1658527"/>
          <a:ext cx="9505054" cy="4451192"/>
        </p:xfrm>
        <a:graphic>
          <a:graphicData uri="http://schemas.openxmlformats.org/drawingml/2006/table">
            <a:tbl>
              <a:tblPr firstRow="1" bandRow="1">
                <a:tableStyleId>{5C22544A-7EE6-4342-B048-85BDC9FD1C3A}</a:tableStyleId>
              </a:tblPr>
              <a:tblGrid>
                <a:gridCol w="720079">
                  <a:extLst>
                    <a:ext uri="{9D8B030D-6E8A-4147-A177-3AD203B41FA5}">
                      <a16:colId xmlns:a16="http://schemas.microsoft.com/office/drawing/2014/main" val="20000"/>
                    </a:ext>
                  </a:extLst>
                </a:gridCol>
                <a:gridCol w="4392488">
                  <a:extLst>
                    <a:ext uri="{9D8B030D-6E8A-4147-A177-3AD203B41FA5}">
                      <a16:colId xmlns:a16="http://schemas.microsoft.com/office/drawing/2014/main" val="20001"/>
                    </a:ext>
                  </a:extLst>
                </a:gridCol>
                <a:gridCol w="4392487">
                  <a:extLst>
                    <a:ext uri="{9D8B030D-6E8A-4147-A177-3AD203B41FA5}">
                      <a16:colId xmlns:a16="http://schemas.microsoft.com/office/drawing/2014/main" val="20002"/>
                    </a:ext>
                  </a:extLst>
                </a:gridCol>
              </a:tblGrid>
              <a:tr h="388431">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キゼ・クワズールー・ナタール州首相，ファン・スカルクヴェイク観光相，デービス貿易産業相，マルレカ国民議会公共企業委員長，ゴーダン財務相，マブダファシ水・環境副大臣</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下忠洋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敏幸外務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路孝弘衆議院議長，</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松宮勲経済産業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61855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ボゴパネ＝ズールー女性・子供・身障者副大臣，シャバング鉱物資源相，ズマ大統領，ヌコアナ＝マシャバネ国際関係・協力相，チャバネ大統領府大臣，デービス貿易産業相，ファン・スカルクヴェイク観光相，ムキゼ経済開発副相，ネネ財務副大臣，チクンガ運輸副大臣，シングワナ女性・子供・障害者相，ハネコム科学・技術相，リチケン公共企業大臣顧問，マーティンズ・エネルギー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菅原一秀経済産業副大臣，松山政司外務副大臣，山田宏衆議院議員，松下新平国土交通大臣政務官，桜田義孝文部科学副大臣，皇太子殿下，福田康夫政府特派大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ディセ北西州首相，スルティ基礎教育副大臣，パンドール科学・技術相，モチェハ基礎教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磯崎仁彦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山信一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ツ矢憲生外務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木原稔防衛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ーダン協調統治・伝統業務相，ラマポーザ副大統領，パンドール科学・技術相，モツォアレディ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際大志郎経済産業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宇都隆史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448">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ズワネ鉱物資源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北村経夫経済産業大臣政務官，経団連訪南部アフリカ経済ミッション，</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克行内閣総理大臣補佐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ブラヒム大統領顧問，ジレ西ケープ州首相，カーサ観光相，パンドール科学技術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参議院</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井原巧経済産業大臣政務官，</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薗浦健太郎外務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5705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民議会科学技術委員会調査団，ムベキ元大統領，ランダース国際関係・協力副相，マグワニシェ貿易産業副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串正樹経済産業大臣政務官，世耕弘成経済産業大臣，岡本三成外務大臣政務官，高橋克法国土交通大臣政務官，逢沢一郎衆議院議員および黄川田仁志衆議院議員，山田賢司外務大臣政務官</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61855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ヌダベニ＝アブラハムス通信相，パテル貿易産業相，ラマポーザ大統領，ムボウェニ財務相，ムキゼ保健相，パンドール国際関係・協力相，パテル貿易産業相，，ヌジマンデ高等教育・科学技術相，ムテトワ・スポーツ・芸術・文化相，マシェホ＝ドラミニ国際関係・協力副大臣，ヌグバネ観光相，モディセ国民議会（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芳弘経済産業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bl>
          </a:graphicData>
        </a:graphic>
      </p:graphicFrame>
      <p:grpSp>
        <p:nvGrpSpPr>
          <p:cNvPr id="18" name="グループ化 17"/>
          <p:cNvGrpSpPr/>
          <p:nvPr/>
        </p:nvGrpSpPr>
        <p:grpSpPr>
          <a:xfrm>
            <a:off x="200472" y="105273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27528002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36" name="テキスト ボックス 35"/>
          <p:cNvSpPr txBox="1"/>
          <p:nvPr/>
        </p:nvSpPr>
        <p:spPr>
          <a:xfrm>
            <a:off x="226242" y="6584679"/>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data.html#section6</a:t>
            </a:r>
            <a:r>
              <a:rPr lang="ja-JP" altLang="en-US" sz="800" dirty="0"/>
              <a:t>）</a:t>
            </a:r>
          </a:p>
        </p:txBody>
      </p:sp>
      <p:sp>
        <p:nvSpPr>
          <p:cNvPr id="13" name="片側の 2 つの角を丸めた四角形 12"/>
          <p:cNvSpPr/>
          <p:nvPr/>
        </p:nvSpPr>
        <p:spPr>
          <a:xfrm>
            <a:off x="920552" y="1370179"/>
            <a:ext cx="4392488" cy="28803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370179"/>
            <a:ext cx="4392488" cy="28803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南アフリカ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240388694"/>
              </p:ext>
            </p:extLst>
          </p:nvPr>
        </p:nvGraphicFramePr>
        <p:xfrm>
          <a:off x="200025" y="1658527"/>
          <a:ext cx="9505054" cy="1132941"/>
        </p:xfrm>
        <a:graphic>
          <a:graphicData uri="http://schemas.openxmlformats.org/drawingml/2006/table">
            <a:tbl>
              <a:tblPr firstRow="1" bandRow="1">
                <a:tableStyleId>{5C22544A-7EE6-4342-B048-85BDC9FD1C3A}</a:tableStyleId>
              </a:tblPr>
              <a:tblGrid>
                <a:gridCol w="720079">
                  <a:extLst>
                    <a:ext uri="{9D8B030D-6E8A-4147-A177-3AD203B41FA5}">
                      <a16:colId xmlns:a16="http://schemas.microsoft.com/office/drawing/2014/main" val="20000"/>
                    </a:ext>
                  </a:extLst>
                </a:gridCol>
                <a:gridCol w="4392488">
                  <a:extLst>
                    <a:ext uri="{9D8B030D-6E8A-4147-A177-3AD203B41FA5}">
                      <a16:colId xmlns:a16="http://schemas.microsoft.com/office/drawing/2014/main" val="20001"/>
                    </a:ext>
                  </a:extLst>
                </a:gridCol>
                <a:gridCol w="4392487">
                  <a:extLst>
                    <a:ext uri="{9D8B030D-6E8A-4147-A177-3AD203B41FA5}">
                      <a16:colId xmlns:a16="http://schemas.microsoft.com/office/drawing/2014/main" val="20002"/>
                    </a:ext>
                  </a:extLst>
                </a:gridCol>
              </a:tblGrid>
              <a:tr h="158306">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敏充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関芳弘経済産業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882590948"/>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ctr" latinLnBrk="0" hangingPunct="1">
                        <a:lnSpc>
                          <a:spcPct val="11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89239020"/>
                  </a:ext>
                </a:extLst>
              </a:tr>
              <a:tr h="273369">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スル観光大臣、ンジマンデ高等教育科学イノベーション相、パンドール国際関係・協力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岩田和親経済産業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221318572"/>
                  </a:ext>
                </a:extLst>
              </a:tr>
              <a:tr h="158306">
                <a:tc>
                  <a:txBody>
                    <a:bodyPr/>
                    <a:lstStyle/>
                    <a:p>
                      <a:pPr marL="0" algn="ctr" defTabSz="914400" rtl="0" eaLnBrk="1" fontAlgn="ctr" latinLnBrk="0" hangingPunct="0"/>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en-US" altLang="ja-JP"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田賢司外務副大臣</a:t>
                      </a: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里見隆治経済産業大臣政務官</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636288612"/>
                  </a:ext>
                </a:extLst>
              </a:tr>
            </a:tbl>
          </a:graphicData>
        </a:graphic>
      </p:graphicFrame>
      <p:grpSp>
        <p:nvGrpSpPr>
          <p:cNvPr id="18" name="グループ化 17"/>
          <p:cNvGrpSpPr/>
          <p:nvPr/>
        </p:nvGrpSpPr>
        <p:grpSpPr>
          <a:xfrm>
            <a:off x="200472" y="1052736"/>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30895952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首脳会合が行われたドイツにおいて岸田内閣総理大臣ラマポーザ大統領の首脳会談が行わ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https://www.mofa.go.jp/mofaj/area/s_africa/visit/index.html</a:t>
            </a:r>
            <a:r>
              <a:rPr lang="ja-JP" altLang="en-US" sz="800" dirty="0"/>
              <a:t>）</a:t>
            </a:r>
          </a:p>
        </p:txBody>
      </p:sp>
      <p:grpSp>
        <p:nvGrpSpPr>
          <p:cNvPr id="12" name="グループ化 11"/>
          <p:cNvGrpSpPr/>
          <p:nvPr/>
        </p:nvGrpSpPr>
        <p:grpSpPr>
          <a:xfrm>
            <a:off x="1640632" y="1920300"/>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nvGraphicFramePr>
        <p:xfrm>
          <a:off x="1640632" y="2293404"/>
          <a:ext cx="6624736" cy="20298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728384">
                  <a:extLst>
                    <a:ext uri="{9D8B030D-6E8A-4147-A177-3AD203B41FA5}">
                      <a16:colId xmlns:a16="http://schemas.microsoft.com/office/drawing/2014/main" val="20002"/>
                    </a:ext>
                  </a:extLst>
                </a:gridCol>
                <a:gridCol w="3168352">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ブリスベン（</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金融世界経済に関する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コブ・ズマ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VI</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8"/>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リル・ラマポーザ大統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首脳会合）</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3439073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アフリカ地域を対象とする初めての官民ミッションが実施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731586"/>
          <a:ext cx="9504000" cy="1538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1010667">
                  <a:extLst>
                    <a:ext uri="{9D8B030D-6E8A-4147-A177-3AD203B41FA5}">
                      <a16:colId xmlns:a16="http://schemas.microsoft.com/office/drawing/2014/main" val="20003"/>
                    </a:ext>
                  </a:extLst>
                </a:gridCol>
                <a:gridCol w="2950131">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1005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solidFill>
                            <a:srgbClr val="000000"/>
                          </a:solidFill>
                        </a:rPr>
                        <a:t>アフリカ官民ミッション</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fr-FR" sz="1000" dirty="0"/>
                        <a:t>一般社団法人</a:t>
                      </a:r>
                      <a:r>
                        <a:rPr lang="fr-FR" altLang="ja-JP" sz="1000" dirty="0" err="1"/>
                        <a:t>Medical</a:t>
                      </a:r>
                      <a:r>
                        <a:rPr lang="fr-FR" altLang="ja-JP" sz="1000" dirty="0"/>
                        <a:t> Excellence JAPAN</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ブサハラ・アフリカ地域に おける日本の医療関連製品・サービスのプレ ゼンスの向上と相互理解の促進を目的に、 南アフリカ共和国、タンザニア連合共和国、 南アフリカ共和国の</a:t>
                      </a:r>
                      <a:r>
                        <a:rPr lang="en-US" altLang="ja-JP" sz="1000" dirty="0"/>
                        <a:t>3</a:t>
                      </a:r>
                      <a:r>
                        <a:rPr lang="ja-JP" altLang="en-US" sz="1000" dirty="0"/>
                        <a:t>カ国より、公的・民間のそれ ぞれの代表者の日本への招へいを実施</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en-US" altLang="ja-JP" sz="1000" dirty="0"/>
                        <a:t>UHC</a:t>
                      </a:r>
                      <a:r>
                        <a:rPr lang="ja-JP" altLang="en-US" sz="1000" dirty="0"/>
                        <a:t>等をテーマにしたシンポジウムでは各国・各セクターの取組と課題が共有され、質疑応答や活発な議論が行われ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医療機器企業</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とのネットワーキングを実施</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の日本の施設見学では早期発見・早期治療の重要性の啓発や医療システムのキャパシティビルディング（能力開発）に関し活発に議論</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B3FE62-1E64-4BA4-8202-1E261BEB9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61B3FE62-1E64-4BA4-8202-1E261BEB9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29100067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875A60-B46E-4013-9F8A-46AD8A7A2C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8D875A60-B46E-4013-9F8A-46AD8A7A2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a:t>
            </a:r>
            <a:r>
              <a:rPr lang="ja-JP" altLang="en-US" sz="2000" dirty="0"/>
              <a:t>南アフリカ保健省</a:t>
            </a:r>
            <a:r>
              <a:rPr lang="ja-JP" altLang="en-US" dirty="0"/>
              <a:t>の協力覚書（</a:t>
            </a:r>
            <a:r>
              <a:rPr lang="en-US" altLang="ja-JP" dirty="0"/>
              <a:t>MOC</a:t>
            </a:r>
            <a:r>
              <a:rPr lang="ja-JP" altLang="en-US" dirty="0"/>
              <a:t>）締結状況</a:t>
            </a:r>
          </a:p>
        </p:txBody>
      </p:sp>
      <p:sp>
        <p:nvSpPr>
          <p:cNvPr id="15" name="テキスト ボックス 1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厚生労働省と南アフリカ保健省は</a:t>
            </a:r>
            <a:r>
              <a:rPr lang="en-US" altLang="ja-JP" sz="1400" dirty="0"/>
              <a:t>MOC</a:t>
            </a:r>
            <a:r>
              <a:rPr lang="ja-JP" altLang="en-US" sz="1400" dirty="0"/>
              <a:t>を締結していない。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 </a:t>
            </a:r>
            <a:r>
              <a:rPr lang="en-US" altLang="ja-JP" sz="1400" dirty="0"/>
              <a:t>2021</a:t>
            </a:r>
            <a:r>
              <a:rPr lang="ja-JP" altLang="en-US" sz="1400" dirty="0"/>
              <a:t>年に内閣官房により行われたアフリカにおける新規 </a:t>
            </a:r>
            <a:r>
              <a:rPr lang="en-US" altLang="ja-JP" sz="1400" dirty="0"/>
              <a:t>MOC </a:t>
            </a:r>
            <a:r>
              <a:rPr lang="ja-JP" altLang="en-US" sz="1400" dirty="0"/>
              <a:t>締結候補国選定に向けた調査では、南アフリカは今後の</a:t>
            </a:r>
            <a:r>
              <a:rPr lang="en-US" altLang="ja-JP" sz="1400" dirty="0"/>
              <a:t>MOC</a:t>
            </a:r>
            <a:r>
              <a:rPr lang="ja-JP" altLang="en-US" sz="1400" dirty="0"/>
              <a:t>締結候補国とな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12616910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C29CDF-644D-41F2-88C6-32B9B204D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C5C29CDF-644D-41F2-88C6-32B9B204D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南アフリカを</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対象とした</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3039" y="2091863"/>
            <a:ext cx="18755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0</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822878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07402E-4262-4442-951E-9EA4E08C85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1307402E-4262-4442-951E-9EA4E08C8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27861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610286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3" imgW="360" imgH="360" progId="TCLayout.ActiveDocument.1">
                  <p:embed/>
                </p:oleObj>
              </mc:Choice>
              <mc:Fallback>
                <p:oleObj name="think-cell Slide" r:id="rId33" imgW="360" imgH="360" progId="TCLayout.ActiveDocument.1">
                  <p:embed/>
                  <p:pic>
                    <p:nvPicPr>
                      <p:cNvPr id="7" name="Object 6"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では既に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都市部に居住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向けてますます都市化が進むとされ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1844824"/>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t> </a:t>
            </a:r>
            <a:r>
              <a:rPr lang="en-US" altLang="ja-JP" sz="800" dirty="0"/>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1844824"/>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圏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66" name="Chart 65">
            <a:extLst>
              <a:ext uri="{FF2B5EF4-FFF2-40B4-BE49-F238E27FC236}">
                <a16:creationId xmlns:a16="http://schemas.microsoft.com/office/drawing/2014/main" id="{4903E6EA-E647-416B-A6E8-36510AAD8240}"/>
              </a:ext>
            </a:extLst>
          </p:cNvPr>
          <p:cNvGraphicFramePr/>
          <p:nvPr>
            <p:custDataLst>
              <p:tags r:id="rId3"/>
            </p:custDataLst>
            <p:extLst>
              <p:ext uri="{D42A27DB-BD31-4B8C-83A1-F6EECF244321}">
                <p14:modId xmlns:p14="http://schemas.microsoft.com/office/powerpoint/2010/main" val="575728262"/>
              </p:ext>
            </p:extLst>
          </p:nvPr>
        </p:nvGraphicFramePr>
        <p:xfrm>
          <a:off x="138113" y="2430463"/>
          <a:ext cx="4551362" cy="3544887"/>
        </p:xfrm>
        <a:graphic>
          <a:graphicData uri="http://schemas.openxmlformats.org/drawingml/2006/chart">
            <c:chart xmlns:c="http://schemas.openxmlformats.org/drawingml/2006/chart" xmlns:r="http://schemas.openxmlformats.org/officeDocument/2006/relationships" r:id="rId35"/>
          </a:graphicData>
        </a:graphic>
      </p:graphicFrame>
      <p:sp>
        <p:nvSpPr>
          <p:cNvPr id="24" name="Text Placeholder 12"/>
          <p:cNvSpPr>
            <a:spLocks noGrp="1"/>
          </p:cNvSpPr>
          <p:nvPr>
            <p:custDataLst>
              <p:tags r:id="rId4"/>
            </p:custDataLst>
          </p:nvPr>
        </p:nvSpPr>
        <p:spPr bwMode="auto">
          <a:xfrm>
            <a:off x="25209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8" name="Text Placeholder 12"/>
          <p:cNvSpPr>
            <a:spLocks noGrp="1"/>
          </p:cNvSpPr>
          <p:nvPr>
            <p:custDataLst>
              <p:tags r:id="rId5"/>
            </p:custDataLst>
          </p:nvPr>
        </p:nvSpPr>
        <p:spPr bwMode="auto">
          <a:xfrm>
            <a:off x="406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p:nvSpPr>
          <p:cNvPr id="21" name="Text Placeholder 12"/>
          <p:cNvSpPr>
            <a:spLocks noGrp="1"/>
          </p:cNvSpPr>
          <p:nvPr>
            <p:custDataLst>
              <p:tags r:id="rId6"/>
            </p:custDataLst>
          </p:nvPr>
        </p:nvSpPr>
        <p:spPr bwMode="auto">
          <a:xfrm>
            <a:off x="1366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18" name="Text Placeholder 12"/>
          <p:cNvSpPr>
            <a:spLocks noGrp="1"/>
          </p:cNvSpPr>
          <p:nvPr>
            <p:custDataLst>
              <p:tags r:id="rId7"/>
            </p:custDataLst>
          </p:nvPr>
        </p:nvSpPr>
        <p:spPr bwMode="auto">
          <a:xfrm>
            <a:off x="230188" y="2198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2" name="Text Placeholder 12"/>
          <p:cNvSpPr>
            <a:spLocks noGrp="1"/>
          </p:cNvSpPr>
          <p:nvPr>
            <p:custDataLst>
              <p:tags r:id="rId8"/>
            </p:custDataLst>
          </p:nvPr>
        </p:nvSpPr>
        <p:spPr bwMode="auto">
          <a:xfrm>
            <a:off x="1751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19" name="Text Placeholder 12"/>
          <p:cNvSpPr>
            <a:spLocks noGrp="1"/>
          </p:cNvSpPr>
          <p:nvPr>
            <p:custDataLst>
              <p:tags r:id="rId9"/>
            </p:custDataLst>
          </p:nvPr>
        </p:nvSpPr>
        <p:spPr bwMode="auto">
          <a:xfrm>
            <a:off x="5270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3" name="Text Placeholder 12"/>
          <p:cNvSpPr>
            <a:spLocks noGrp="1"/>
          </p:cNvSpPr>
          <p:nvPr>
            <p:custDataLst>
              <p:tags r:id="rId10"/>
            </p:custDataLst>
          </p:nvPr>
        </p:nvSpPr>
        <p:spPr bwMode="auto">
          <a:xfrm>
            <a:off x="2136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5" name="Text Placeholder 12"/>
          <p:cNvSpPr>
            <a:spLocks noGrp="1"/>
          </p:cNvSpPr>
          <p:nvPr>
            <p:custDataLst>
              <p:tags r:id="rId11"/>
            </p:custDataLst>
          </p:nvPr>
        </p:nvSpPr>
        <p:spPr bwMode="auto">
          <a:xfrm>
            <a:off x="2905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20" name="Text Placeholder 12"/>
          <p:cNvSpPr>
            <a:spLocks noGrp="1"/>
          </p:cNvSpPr>
          <p:nvPr>
            <p:custDataLst>
              <p:tags r:id="rId12"/>
            </p:custDataLst>
          </p:nvPr>
        </p:nvSpPr>
        <p:spPr bwMode="auto">
          <a:xfrm>
            <a:off x="981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26" name="Text Placeholder 12"/>
          <p:cNvSpPr>
            <a:spLocks noGrp="1"/>
          </p:cNvSpPr>
          <p:nvPr>
            <p:custDataLst>
              <p:tags r:id="rId13"/>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4"/>
            </p:custDataLst>
          </p:nvPr>
        </p:nvSpPr>
        <p:spPr bwMode="auto">
          <a:xfrm>
            <a:off x="36750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9" name="Text Placeholder 12"/>
          <p:cNvSpPr>
            <a:spLocks noGrp="1"/>
          </p:cNvSpPr>
          <p:nvPr>
            <p:custDataLst>
              <p:tags r:id="rId15"/>
            </p:custDataLst>
          </p:nvPr>
        </p:nvSpPr>
        <p:spPr bwMode="auto">
          <a:xfrm>
            <a:off x="44450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cxnSp>
        <p:nvCxnSpPr>
          <p:cNvPr id="33" name="Straight Connector 32"/>
          <p:cNvCxnSpPr/>
          <p:nvPr>
            <p:custDataLst>
              <p:tags r:id="rId16"/>
            </p:custDataLst>
          </p:nvPr>
        </p:nvCxnSpPr>
        <p:spPr bwMode="gray">
          <a:xfrm>
            <a:off x="1355725" y="2854325"/>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7"/>
            </p:custDataLst>
          </p:nvPr>
        </p:nvCxnSpPr>
        <p:spPr bwMode="gray">
          <a:xfrm>
            <a:off x="1355725" y="265112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18"/>
            </p:custDataLst>
          </p:nvPr>
        </p:nvSpPr>
        <p:spPr bwMode="gray">
          <a:xfrm>
            <a:off x="1444624" y="2816224"/>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5" name="Oval 34"/>
          <p:cNvSpPr/>
          <p:nvPr>
            <p:custDataLst>
              <p:tags r:id="rId19"/>
            </p:custDataLst>
          </p:nvPr>
        </p:nvSpPr>
        <p:spPr bwMode="gray">
          <a:xfrm>
            <a:off x="1444624" y="261302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0"/>
            </p:custDataLst>
          </p:nvPr>
        </p:nvSpPr>
        <p:spPr bwMode="auto">
          <a:xfrm>
            <a:off x="1666875" y="2579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noGrp="1"/>
          </p:cNvSpPr>
          <p:nvPr>
            <p:custDataLst>
              <p:tags r:id="rId21"/>
            </p:custDataLst>
          </p:nvPr>
        </p:nvSpPr>
        <p:spPr bwMode="auto">
          <a:xfrm>
            <a:off x="1666875" y="2782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48" name="Chart 47">
            <a:extLst>
              <a:ext uri="{FF2B5EF4-FFF2-40B4-BE49-F238E27FC236}">
                <a16:creationId xmlns:a16="http://schemas.microsoft.com/office/drawing/2014/main" id="{0500CC71-EBE5-4AAB-8FF2-D9528700D9E0}"/>
              </a:ext>
            </a:extLst>
          </p:cNvPr>
          <p:cNvGraphicFramePr/>
          <p:nvPr>
            <p:custDataLst>
              <p:tags r:id="rId22"/>
            </p:custDataLst>
            <p:extLst>
              <p:ext uri="{D42A27DB-BD31-4B8C-83A1-F6EECF244321}">
                <p14:modId xmlns:p14="http://schemas.microsoft.com/office/powerpoint/2010/main" val="1376439708"/>
              </p:ext>
            </p:extLst>
          </p:nvPr>
        </p:nvGraphicFramePr>
        <p:xfrm>
          <a:off x="5180013" y="2903538"/>
          <a:ext cx="2952750" cy="3055937"/>
        </p:xfrm>
        <a:graphic>
          <a:graphicData uri="http://schemas.openxmlformats.org/drawingml/2006/chart">
            <c:chart xmlns:c="http://schemas.openxmlformats.org/drawingml/2006/chart" xmlns:r="http://schemas.openxmlformats.org/officeDocument/2006/relationships" r:id="rId36"/>
          </a:graphicData>
        </a:graphic>
      </p:graphicFrame>
      <p:sp>
        <p:nvSpPr>
          <p:cNvPr id="193" name="テキスト プレースホルダ 9">
            <a:extLst>
              <a:ext uri="{FF2B5EF4-FFF2-40B4-BE49-F238E27FC236}">
                <a16:creationId xmlns:a16="http://schemas.microsoft.com/office/drawing/2014/main" id="{C05DEDFB-B5ED-4D6C-B8EC-01FD6855EF54}"/>
              </a:ext>
            </a:extLst>
          </p:cNvPr>
          <p:cNvSpPr>
            <a:spLocks noGrp="1"/>
          </p:cNvSpPr>
          <p:nvPr>
            <p:custDataLst>
              <p:tags r:id="rId23"/>
            </p:custDataLst>
          </p:nvPr>
        </p:nvSpPr>
        <p:spPr bwMode="auto">
          <a:xfrm>
            <a:off x="7845424" y="3933056"/>
            <a:ext cx="1517650" cy="244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p>
            <a:pPr defTabSz="863600" fontAlgn="base">
              <a:spcBef>
                <a:spcPct val="0"/>
              </a:spcBef>
              <a:spcAft>
                <a:spcPct val="0"/>
              </a:spcAft>
              <a:buClr>
                <a:schemeClr val="bg1">
                  <a:lumMod val="75000"/>
                </a:schemeClr>
              </a:buClr>
              <a:buFont typeface="Wingdings" pitchFamily="2" charset="2"/>
              <a:buNone/>
            </a:pPr>
            <a:r>
              <a:rPr lang="ja-JP" altLang="en-US" sz="1400" dirty="0"/>
              <a:t>エクルレニ都市圏</a:t>
            </a:r>
          </a:p>
        </p:txBody>
      </p:sp>
      <p:sp>
        <p:nvSpPr>
          <p:cNvPr id="195" name="テキスト プレースホルダ 9">
            <a:extLst>
              <a:ext uri="{FF2B5EF4-FFF2-40B4-BE49-F238E27FC236}">
                <a16:creationId xmlns:a16="http://schemas.microsoft.com/office/drawing/2014/main" id="{AC14D55F-49E2-4564-A603-923B387A50B6}"/>
              </a:ext>
            </a:extLst>
          </p:cNvPr>
          <p:cNvSpPr>
            <a:spLocks noGrp="1"/>
          </p:cNvSpPr>
          <p:nvPr>
            <p:custDataLst>
              <p:tags r:id="rId24"/>
            </p:custDataLst>
          </p:nvPr>
        </p:nvSpPr>
        <p:spPr bwMode="auto">
          <a:xfrm>
            <a:off x="7845425" y="5351463"/>
            <a:ext cx="11334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ヨハネスブルグ</a:t>
            </a:r>
            <a:endParaRPr lang="ja-JP" altLang="en-US" sz="1400" dirty="0"/>
          </a:p>
        </p:txBody>
      </p:sp>
      <p:sp>
        <p:nvSpPr>
          <p:cNvPr id="37" name="テキスト プレースホルダ 9">
            <a:extLst>
              <a:ext uri="{FF2B5EF4-FFF2-40B4-BE49-F238E27FC236}">
                <a16:creationId xmlns:a16="http://schemas.microsoft.com/office/drawing/2014/main" id="{4691A023-04D4-44DA-AF1E-FB929A9256BD}"/>
              </a:ext>
            </a:extLst>
          </p:cNvPr>
          <p:cNvSpPr>
            <a:spLocks noGrp="1"/>
          </p:cNvSpPr>
          <p:nvPr>
            <p:custDataLst>
              <p:tags r:id="rId25"/>
            </p:custDataLst>
          </p:nvPr>
        </p:nvSpPr>
        <p:spPr bwMode="auto">
          <a:xfrm>
            <a:off x="5781675" y="59356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2B8AB0-E63F-4674-AB89-52FF944CDD99}" type="datetime'''''2''''''01''''''''''''''''0'''">
              <a:rPr lang="en-US" altLang="en-US" sz="1400" smtClean="0"/>
              <a:pPr/>
              <a:t>2010</a:t>
            </a:fld>
            <a:endParaRPr lang="ja-JP" altLang="en-US" sz="1400" dirty="0"/>
          </a:p>
        </p:txBody>
      </p:sp>
      <p:sp>
        <p:nvSpPr>
          <p:cNvPr id="192" name="テキスト プレースホルダ 9">
            <a:extLst>
              <a:ext uri="{FF2B5EF4-FFF2-40B4-BE49-F238E27FC236}">
                <a16:creationId xmlns:a16="http://schemas.microsoft.com/office/drawing/2014/main" id="{EB1F600C-61FE-4A0D-A8A6-C523FD0BC781}"/>
              </a:ext>
            </a:extLst>
          </p:cNvPr>
          <p:cNvSpPr>
            <a:spLocks noGrp="1"/>
          </p:cNvSpPr>
          <p:nvPr>
            <p:custDataLst>
              <p:tags r:id="rId26"/>
            </p:custDataLst>
          </p:nvPr>
        </p:nvSpPr>
        <p:spPr bwMode="auto">
          <a:xfrm>
            <a:off x="7845424" y="3476848"/>
            <a:ext cx="666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ダーバン</a:t>
            </a:r>
            <a:endParaRPr lang="ja-JP" altLang="en-US" sz="1400" dirty="0"/>
          </a:p>
        </p:txBody>
      </p:sp>
      <p:sp>
        <p:nvSpPr>
          <p:cNvPr id="190" name="テキスト プレースホルダ 9">
            <a:extLst>
              <a:ext uri="{FF2B5EF4-FFF2-40B4-BE49-F238E27FC236}">
                <a16:creationId xmlns:a16="http://schemas.microsoft.com/office/drawing/2014/main" id="{1FAF6DFF-97BD-43F1-908F-4DBAD3A00A79}"/>
              </a:ext>
            </a:extLst>
          </p:cNvPr>
          <p:cNvSpPr>
            <a:spLocks noGrp="1"/>
          </p:cNvSpPr>
          <p:nvPr>
            <p:custDataLst>
              <p:tags r:id="rId27"/>
            </p:custDataLst>
          </p:nvPr>
        </p:nvSpPr>
        <p:spPr bwMode="auto">
          <a:xfrm>
            <a:off x="7845424" y="3067050"/>
            <a:ext cx="717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プレトリア</a:t>
            </a:r>
            <a:endParaRPr lang="ja-JP" altLang="en-US" sz="1400" dirty="0"/>
          </a:p>
        </p:txBody>
      </p:sp>
      <p:sp>
        <p:nvSpPr>
          <p:cNvPr id="42" name="テキスト プレースホルダ 9">
            <a:extLst>
              <a:ext uri="{FF2B5EF4-FFF2-40B4-BE49-F238E27FC236}">
                <a16:creationId xmlns:a16="http://schemas.microsoft.com/office/drawing/2014/main" id="{A3362E93-CE53-448B-B66C-B123BF009DB3}"/>
              </a:ext>
            </a:extLst>
          </p:cNvPr>
          <p:cNvSpPr>
            <a:spLocks noGrp="1"/>
          </p:cNvSpPr>
          <p:nvPr>
            <p:custDataLst>
              <p:tags r:id="rId28"/>
            </p:custDataLst>
          </p:nvPr>
        </p:nvSpPr>
        <p:spPr bwMode="auto">
          <a:xfrm>
            <a:off x="6859588" y="5935663"/>
            <a:ext cx="939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2FE335-D30D-4F51-B124-37B7DB9A8050}" type="datetime'''''''''''2''''''''''''''''''''''''''''''''''''''0''21'''''">
              <a:rPr lang="en-US" altLang="en-US" sz="1400" smtClean="0"/>
              <a:pPr/>
              <a:t>2021</a:t>
            </a:fld>
            <a:r>
              <a:rPr lang="ja-JP" altLang="en-US" sz="1400" dirty="0"/>
              <a:t>（予測）</a:t>
            </a:r>
          </a:p>
        </p:txBody>
      </p:sp>
      <p:sp>
        <p:nvSpPr>
          <p:cNvPr id="194" name="テキスト プレースホルダ 9">
            <a:extLst>
              <a:ext uri="{FF2B5EF4-FFF2-40B4-BE49-F238E27FC236}">
                <a16:creationId xmlns:a16="http://schemas.microsoft.com/office/drawing/2014/main" id="{4397D93A-2628-4827-8DBA-B173BEBE9103}"/>
              </a:ext>
            </a:extLst>
          </p:cNvPr>
          <p:cNvSpPr>
            <a:spLocks noGrp="1"/>
          </p:cNvSpPr>
          <p:nvPr>
            <p:custDataLst>
              <p:tags r:id="rId29"/>
            </p:custDataLst>
          </p:nvPr>
        </p:nvSpPr>
        <p:spPr bwMode="auto">
          <a:xfrm>
            <a:off x="7845425" y="4598988"/>
            <a:ext cx="950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400" dirty="0">
                <a:effectLst/>
              </a:rPr>
              <a:t>ケープタウン</a:t>
            </a:r>
            <a:endParaRPr lang="ja-JP" altLang="en-US" sz="1400" dirty="0"/>
          </a:p>
        </p:txBody>
      </p:sp>
      <p:sp>
        <p:nvSpPr>
          <p:cNvPr id="50" name="テキスト プレースホルダ 9">
            <a:extLst>
              <a:ext uri="{FF2B5EF4-FFF2-40B4-BE49-F238E27FC236}">
                <a16:creationId xmlns:a16="http://schemas.microsoft.com/office/drawing/2014/main" id="{4A72B528-0B90-4C7A-BD4D-8C71FCD2B27A}"/>
              </a:ext>
            </a:extLst>
          </p:cNvPr>
          <p:cNvSpPr>
            <a:spLocks noGrp="1"/>
          </p:cNvSpPr>
          <p:nvPr>
            <p:custDataLst>
              <p:tags r:id="rId30"/>
            </p:custDataLst>
          </p:nvPr>
        </p:nvSpPr>
        <p:spPr bwMode="gray">
          <a:xfrm>
            <a:off x="5689600" y="3541713"/>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CDCA22-45A5-4762-BB74-0B96BAE8D2B1}" type="datetime'''1''''''''4'',8''''''2''''''''''''''''''''2'''''">
              <a:rPr lang="en-US" altLang="en-US" sz="1400" smtClean="0"/>
              <a:pPr/>
              <a:t>14,822</a:t>
            </a:fld>
            <a:endParaRPr lang="ja-JP" altLang="en-US" sz="1400" dirty="0"/>
          </a:p>
        </p:txBody>
      </p:sp>
      <p:sp>
        <p:nvSpPr>
          <p:cNvPr id="51" name="テキスト プレースホルダ 9">
            <a:extLst>
              <a:ext uri="{FF2B5EF4-FFF2-40B4-BE49-F238E27FC236}">
                <a16:creationId xmlns:a16="http://schemas.microsoft.com/office/drawing/2014/main" id="{0BF75486-6446-4158-88C8-F7E842221B39}"/>
              </a:ext>
            </a:extLst>
          </p:cNvPr>
          <p:cNvSpPr>
            <a:spLocks noGrp="1"/>
          </p:cNvSpPr>
          <p:nvPr>
            <p:custDataLst>
              <p:tags r:id="rId31"/>
            </p:custDataLst>
          </p:nvPr>
        </p:nvSpPr>
        <p:spPr bwMode="gray">
          <a:xfrm>
            <a:off x="7034213" y="2747963"/>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68B1A2-2B5D-4110-979D-4E3D5E2D4C69}" type="datetime'''''''''''2''''''''0,''''''''''''''''''''''''''438'''''''''''">
              <a:rPr lang="en-US" altLang="en-US" sz="1400" smtClean="0"/>
              <a:pPr/>
              <a:t>20,438</a:t>
            </a:fld>
            <a:endParaRPr lang="ja-JP" altLang="en-US" sz="1400" dirty="0"/>
          </a:p>
        </p:txBody>
      </p:sp>
      <p:sp>
        <p:nvSpPr>
          <p:cNvPr id="205" name="TextBox 204">
            <a:extLst>
              <a:ext uri="{FF2B5EF4-FFF2-40B4-BE49-F238E27FC236}">
                <a16:creationId xmlns:a16="http://schemas.microsoft.com/office/drawing/2014/main" id="{B95710CD-C034-4F4B-BCEE-B8B16951104D}"/>
              </a:ext>
            </a:extLst>
          </p:cNvPr>
          <p:cNvSpPr txBox="1"/>
          <p:nvPr/>
        </p:nvSpPr>
        <p:spPr>
          <a:xfrm>
            <a:off x="5097016" y="2149303"/>
            <a:ext cx="52799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a:t>
            </a:r>
            <a:r>
              <a:rPr lang="ja-JP" altLang="en-US" sz="1000" dirty="0"/>
              <a:t>千人</a:t>
            </a:r>
            <a:r>
              <a:rPr lang="en-US" altLang="ja-JP" sz="1000" dirty="0"/>
              <a:t>)</a:t>
            </a:r>
            <a:endParaRPr lang="en-CA" sz="1000" dirty="0"/>
          </a:p>
        </p:txBody>
      </p:sp>
    </p:spTree>
    <p:extLst>
      <p:ext uri="{BB962C8B-B14F-4D97-AF65-F5344CB8AC3E}">
        <p14:creationId xmlns:p14="http://schemas.microsoft.com/office/powerpoint/2010/main" val="24895751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sp>
        <p:nvSpPr>
          <p:cNvPr id="2" name="4. Footnote">
            <a:extLst>
              <a:ext uri="{FF2B5EF4-FFF2-40B4-BE49-F238E27FC236}">
                <a16:creationId xmlns:a16="http://schemas.microsoft.com/office/drawing/2014/main" id="{69D83A20-9F10-4011-93EE-AA4857A8DFA8}"/>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extLst>
              <p:ext uri="{D42A27DB-BD31-4B8C-83A1-F6EECF244321}">
                <p14:modId xmlns:p14="http://schemas.microsoft.com/office/powerpoint/2010/main" val="1623907416"/>
              </p:ext>
            </p:extLst>
          </p:nvPr>
        </p:nvGraphicFramePr>
        <p:xfrm>
          <a:off x="231561" y="1099558"/>
          <a:ext cx="9473967" cy="5249831"/>
        </p:xfrm>
        <a:graphic>
          <a:graphicData uri="http://schemas.openxmlformats.org/drawingml/2006/table">
            <a:tbl>
              <a:tblPr firstRow="1" bandRow="1">
                <a:tableStyleId>{5C22544A-7EE6-4342-B048-85BDC9FD1C3A}</a:tableStyleId>
              </a:tblPr>
              <a:tblGrid>
                <a:gridCol w="360834">
                  <a:extLst>
                    <a:ext uri="{9D8B030D-6E8A-4147-A177-3AD203B41FA5}">
                      <a16:colId xmlns:a16="http://schemas.microsoft.com/office/drawing/2014/main" val="20000"/>
                    </a:ext>
                  </a:extLst>
                </a:gridCol>
                <a:gridCol w="850511">
                  <a:extLst>
                    <a:ext uri="{9D8B030D-6E8A-4147-A177-3AD203B41FA5}">
                      <a16:colId xmlns:a16="http://schemas.microsoft.com/office/drawing/2014/main" val="20001"/>
                    </a:ext>
                  </a:extLst>
                </a:gridCol>
                <a:gridCol w="2496903">
                  <a:extLst>
                    <a:ext uri="{9D8B030D-6E8A-4147-A177-3AD203B41FA5}">
                      <a16:colId xmlns:a16="http://schemas.microsoft.com/office/drawing/2014/main" val="20002"/>
                    </a:ext>
                  </a:extLst>
                </a:gridCol>
                <a:gridCol w="637195">
                  <a:extLst>
                    <a:ext uri="{9D8B030D-6E8A-4147-A177-3AD203B41FA5}">
                      <a16:colId xmlns:a16="http://schemas.microsoft.com/office/drawing/2014/main" val="20003"/>
                    </a:ext>
                  </a:extLst>
                </a:gridCol>
                <a:gridCol w="997213">
                  <a:extLst>
                    <a:ext uri="{9D8B030D-6E8A-4147-A177-3AD203B41FA5}">
                      <a16:colId xmlns:a16="http://schemas.microsoft.com/office/drawing/2014/main" val="20004"/>
                    </a:ext>
                  </a:extLst>
                </a:gridCol>
                <a:gridCol w="1709508">
                  <a:extLst>
                    <a:ext uri="{9D8B030D-6E8A-4147-A177-3AD203B41FA5}">
                      <a16:colId xmlns:a16="http://schemas.microsoft.com/office/drawing/2014/main" val="20005"/>
                    </a:ext>
                  </a:extLst>
                </a:gridCol>
                <a:gridCol w="2421803">
                  <a:extLst>
                    <a:ext uri="{9D8B030D-6E8A-4147-A177-3AD203B41FA5}">
                      <a16:colId xmlns:a16="http://schemas.microsoft.com/office/drawing/2014/main" val="20006"/>
                    </a:ext>
                  </a:extLst>
                </a:gridCol>
              </a:tblGrid>
              <a:tr h="274649">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45267" marB="4526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時期</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名</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費</a:t>
                      </a:r>
                      <a:endParaRPr kumimoji="1" lang="en-US" altLang="zh-TW"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億円）</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形態</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関係者</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338185">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南アフリカ側</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25323">
                <a:tc>
                  <a:txBody>
                    <a:bodyPr/>
                    <a:lstStyle/>
                    <a:p>
                      <a:pPr algn="ctr" fontAlgn="ctr"/>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1</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2</a:t>
                      </a:r>
                      <a:endParaRPr kumimoji="1" lang="zh-TW" altLang="en-US" sz="1000" b="0"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ワズール・ナタール州医療施設向上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47</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dirty="0"/>
                        <a:t>株式会社ティーエーネットワーキング 、</a:t>
                      </a:r>
                      <a:r>
                        <a:rPr lang="zh-CN" altLang="en-US" sz="1000" dirty="0"/>
                        <a:t>大分大学医学部</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a:t>
                      </a:r>
                      <a:r>
                        <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ワズール・ナタール州保健省</a:t>
                      </a:r>
                      <a:endPar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093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2</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リンポポ州医療施設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45</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三井住友建設株式会社、株式会社シリウス、共同企業体 アイテック株式会社、 株式会社山下設計</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t>リンポポ州厚生省</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57236890"/>
                  </a:ext>
                </a:extLst>
              </a:tr>
              <a:tr h="77093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3</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東ケープ州基礎医療機材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38</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000" dirty="0"/>
                        <a:t>双実株式会社</a:t>
                      </a:r>
                      <a:r>
                        <a:rPr lang="ja-JP" altLang="en-US" sz="1000" dirty="0"/>
                        <a:t>、オガワ精機株式会社、</a:t>
                      </a:r>
                      <a:r>
                        <a:rPr lang="zh-CN" altLang="en-US" sz="1000" dirty="0"/>
                        <a:t>三菱商事株式会社</a:t>
                      </a:r>
                      <a:r>
                        <a:rPr lang="ja-JP" altLang="en-US" sz="1000" dirty="0"/>
                        <a:t>、ビンコー株式会社</a:t>
                      </a:r>
                      <a:endParaRPr kumimoji="1" lang="en-US" altLang="ja-JP" sz="1000" b="0"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dirty="0"/>
                        <a:t>東ケープ州 保健</a:t>
                      </a:r>
                      <a:endParaRPr kumimoji="1" lang="en-US" altLang="ja-JP" sz="1000" b="0" i="0" u="none" strike="noStrike" kern="1200" noProof="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86283313"/>
                  </a:ext>
                </a:extLst>
              </a:tr>
              <a:tr h="513959">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4</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09~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部アフリカ医療機器保守管理能力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3.47</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中央保健省、中央財務省、東ケープ州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5866325"/>
                  </a:ext>
                </a:extLst>
              </a:tr>
              <a:tr h="77093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5</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3~2015</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生産指導と経営指導研修を通じた小規模野菜農家のインキュベーション事業準備調査</a:t>
                      </a:r>
                      <a:r>
                        <a:rPr lang="en-US" altLang="ja-JP"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BOP</a:t>
                      </a:r>
                      <a:r>
                        <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ビジネス連携促進</a:t>
                      </a:r>
                      <a:r>
                        <a:rPr lang="en-US" altLang="ja-JP"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rPr>
                        <a:t>株式会社サカタのタネ、特定非営利活動法人プラネットファイナンスジャパン 共同企業体</a:t>
                      </a:r>
                      <a:endParaRPr kumimoji="1" lang="en-US" altLang="ja-JP" sz="1000" b="0" i="0" u="none" strike="noStrike" kern="1200" dirty="0">
                        <a:solidFill>
                          <a:srgbClr val="000000"/>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607815764"/>
                  </a:ext>
                </a:extLst>
              </a:tr>
              <a:tr h="77093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6</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持続的廃棄物管理に向けた廃プラスチック燃料化技術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FP</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カネミヤ 共同企業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88755965"/>
                  </a:ext>
                </a:extLst>
              </a:tr>
              <a:tr h="513959">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7</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4~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ダーバン市における省エネ海水淡水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136504524"/>
                  </a:ext>
                </a:extLst>
              </a:tr>
            </a:tbl>
          </a:graphicData>
        </a:graphic>
      </p:graphicFrame>
      <p:sp>
        <p:nvSpPr>
          <p:cNvPr id="7" name="テキスト ボックス 6">
            <a:extLst>
              <a:ext uri="{FF2B5EF4-FFF2-40B4-BE49-F238E27FC236}">
                <a16:creationId xmlns:a16="http://schemas.microsoft.com/office/drawing/2014/main" id="{94A28901-F080-8803-B311-E23DD43A105D}"/>
              </a:ext>
            </a:extLst>
          </p:cNvPr>
          <p:cNvSpPr txBox="1"/>
          <p:nvPr/>
        </p:nvSpPr>
        <p:spPr>
          <a:xfrm>
            <a:off x="200472" y="6381328"/>
            <a:ext cx="8640960" cy="288032"/>
          </a:xfrm>
          <a:prstGeom prst="rect">
            <a:avLst/>
          </a:prstGeom>
          <a:noFill/>
        </p:spPr>
        <p:txBody>
          <a:bodyPr wrap="square" lIns="0" tIns="0" rIns="0" bIns="0" rtlCol="0" anchor="b" anchorCtr="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28051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sp>
        <p:nvSpPr>
          <p:cNvPr id="2" name="4. Footnote">
            <a:extLst>
              <a:ext uri="{FF2B5EF4-FFF2-40B4-BE49-F238E27FC236}">
                <a16:creationId xmlns:a16="http://schemas.microsoft.com/office/drawing/2014/main" id="{69D83A20-9F10-4011-93EE-AA4857A8DFA8}"/>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C9740D18-3219-109C-09C4-A8CC04AB9558}"/>
              </a:ext>
            </a:extLst>
          </p:cNvPr>
          <p:cNvGraphicFramePr>
            <a:graphicFrameLocks noGrp="1"/>
          </p:cNvGraphicFramePr>
          <p:nvPr>
            <p:extLst>
              <p:ext uri="{D42A27DB-BD31-4B8C-83A1-F6EECF244321}">
                <p14:modId xmlns:p14="http://schemas.microsoft.com/office/powerpoint/2010/main" val="2422455888"/>
              </p:ext>
            </p:extLst>
          </p:nvPr>
        </p:nvGraphicFramePr>
        <p:xfrm>
          <a:off x="219937" y="1123989"/>
          <a:ext cx="9485589" cy="5337922"/>
        </p:xfrm>
        <a:graphic>
          <a:graphicData uri="http://schemas.openxmlformats.org/drawingml/2006/table">
            <a:tbl>
              <a:tblPr firstRow="1" bandRow="1">
                <a:tableStyleId>{5C22544A-7EE6-4342-B048-85BDC9FD1C3A}</a:tableStyleId>
              </a:tblPr>
              <a:tblGrid>
                <a:gridCol w="361277">
                  <a:extLst>
                    <a:ext uri="{9D8B030D-6E8A-4147-A177-3AD203B41FA5}">
                      <a16:colId xmlns:a16="http://schemas.microsoft.com/office/drawing/2014/main" val="20000"/>
                    </a:ext>
                  </a:extLst>
                </a:gridCol>
                <a:gridCol w="851555">
                  <a:extLst>
                    <a:ext uri="{9D8B030D-6E8A-4147-A177-3AD203B41FA5}">
                      <a16:colId xmlns:a16="http://schemas.microsoft.com/office/drawing/2014/main" val="20001"/>
                    </a:ext>
                  </a:extLst>
                </a:gridCol>
                <a:gridCol w="2499966">
                  <a:extLst>
                    <a:ext uri="{9D8B030D-6E8A-4147-A177-3AD203B41FA5}">
                      <a16:colId xmlns:a16="http://schemas.microsoft.com/office/drawing/2014/main" val="20002"/>
                    </a:ext>
                  </a:extLst>
                </a:gridCol>
                <a:gridCol w="637976">
                  <a:extLst>
                    <a:ext uri="{9D8B030D-6E8A-4147-A177-3AD203B41FA5}">
                      <a16:colId xmlns:a16="http://schemas.microsoft.com/office/drawing/2014/main" val="20003"/>
                    </a:ext>
                  </a:extLst>
                </a:gridCol>
                <a:gridCol w="998436">
                  <a:extLst>
                    <a:ext uri="{9D8B030D-6E8A-4147-A177-3AD203B41FA5}">
                      <a16:colId xmlns:a16="http://schemas.microsoft.com/office/drawing/2014/main" val="20004"/>
                    </a:ext>
                  </a:extLst>
                </a:gridCol>
                <a:gridCol w="1711605">
                  <a:extLst>
                    <a:ext uri="{9D8B030D-6E8A-4147-A177-3AD203B41FA5}">
                      <a16:colId xmlns:a16="http://schemas.microsoft.com/office/drawing/2014/main" val="20005"/>
                    </a:ext>
                  </a:extLst>
                </a:gridCol>
                <a:gridCol w="2424774">
                  <a:extLst>
                    <a:ext uri="{9D8B030D-6E8A-4147-A177-3AD203B41FA5}">
                      <a16:colId xmlns:a16="http://schemas.microsoft.com/office/drawing/2014/main" val="20006"/>
                    </a:ext>
                  </a:extLst>
                </a:gridCol>
              </a:tblGrid>
              <a:tr h="171172">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45267" marB="45267"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時期</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名</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費</a:t>
                      </a:r>
                      <a:endParaRPr kumimoji="1" lang="en-US" altLang="zh-TW"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億円）</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事業形態</a:t>
                      </a: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関係者</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943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18928">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kumimoji="1" lang="ja-JP"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南アフリカ側</a:t>
                      </a:r>
                      <a:endParaRPr kumimoji="1" lang="zh-TW" altLang="en-US" sz="1100" b="1" i="0" u="none" strike="noStrike" kern="12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21671" marB="21671"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620550">
                <a:tc>
                  <a:txBody>
                    <a:bodyPr/>
                    <a:lstStyle/>
                    <a:p>
                      <a:pPr marL="0" algn="ctr" defTabSz="914400" rtl="0" eaLnBrk="1" fontAlgn="ctr" latinLnBrk="0" hangingPunct="1"/>
                      <a:r>
                        <a:rPr kumimoji="1" lang="en-US" altLang="ja-JP" sz="1000" b="1" i="0" u="none" strike="noStrike" kern="1200" dirty="0">
                          <a:solidFill>
                            <a:schemeClr val="tx1"/>
                          </a:solidFill>
                          <a:effectLst/>
                          <a:latin typeface="+mj-lt"/>
                          <a:ea typeface="ＭＳ Ｐゴシック" panose="020B0600070205080204" pitchFamily="50" charset="-128"/>
                          <a:cs typeface="Arial" panose="020B0604020202020204" pitchFamily="34" charset="0"/>
                        </a:rPr>
                        <a:t>8</a:t>
                      </a:r>
                      <a:endParaRPr kumimoji="1" lang="ja-JP" altLang="en-US" sz="1000" b="1"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1">
                        <a:spcBef>
                          <a:spcPts val="0"/>
                        </a:spcBef>
                        <a:buClr>
                          <a:srgbClr val="83A4D1"/>
                        </a:buClr>
                        <a:buSzPct val="80000"/>
                        <a:buFont typeface="Wingdings" panose="05000000000000000000" pitchFamily="2" charset="2"/>
                        <a:buNone/>
                      </a:pPr>
                      <a:r>
                        <a:rPr kumimoji="1" lang="en-US" altLang="zh-TW" sz="1000" b="0" i="0" u="none" strike="noStrike" kern="1200" dirty="0">
                          <a:solidFill>
                            <a:schemeClr val="tx1"/>
                          </a:solidFill>
                          <a:effectLst/>
                          <a:latin typeface="+mj-lt"/>
                          <a:ea typeface="ＭＳ Ｐゴシック" panose="020B0600070205080204" pitchFamily="50" charset="-128"/>
                          <a:cs typeface="Arial" panose="020B0604020202020204" pitchFamily="34" charset="0"/>
                        </a:rPr>
                        <a:t>2014~2019</a:t>
                      </a:r>
                      <a:endParaRPr kumimoji="1" lang="zh-TW" altLang="en-US" sz="1000" b="0" i="0" u="none" strike="noStrike" kern="1200" dirty="0">
                        <a:solidFill>
                          <a:schemeClr val="tx1"/>
                        </a:solidFill>
                        <a:effectLst/>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1">
                        <a:spcBef>
                          <a:spcPts val="0"/>
                        </a:spcBef>
                        <a:buClr>
                          <a:srgbClr val="83A4D1"/>
                        </a:buClr>
                        <a:buSzPct val="80000"/>
                        <a:buFont typeface="Wingdings" panose="05000000000000000000" pitchFamily="2" charset="2"/>
                        <a:buNone/>
                      </a:pP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部アフリカにおける気候予測モデルをもとにした感染症流行の早期警戒システムの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2.5</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9525" marR="9525" marT="7167"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長崎大学熱帯医学研究所（熱研）、国立研究開発法人 海洋研究開発機構（</a:t>
                      </a:r>
                      <a:r>
                        <a:rPr kumimoji="1" lang="en-US" altLang="zh-TW"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JAMSTEC</a:t>
                      </a:r>
                      <a:r>
                        <a:rPr kumimoji="1" lang="zh-TW"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endPar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科学技術省（</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DST</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国家保健省（</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NDOH</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気候地球システム科学応用センター（</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CCESS</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a:t>
                      </a:r>
                    </a:p>
                    <a:p>
                      <a:pPr marL="0" algn="l" defTabSz="914400" rtl="0" eaLnBrk="1" fontAlgn="ctr" latinLnBrk="0" hangingPunct="1"/>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カ医学研究評議会（</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SAMRC</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カ科学・工学研究評議会（</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CSIR</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国立伝染病研究所（</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NICD</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南アフリカ気象サービス（</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SAWS</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州保健局（</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LDOH</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州保健局・マラリア予防対策センター（</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LDOH-Malaria</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ケープタウン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CT</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リンポポ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L</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プレトリア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P</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ヴェンダ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V</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西ケープ大学（</a:t>
                      </a:r>
                      <a:r>
                        <a:rPr kumimoji="1" lang="en-US" altLang="ja-JP"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UWC</a:t>
                      </a:r>
                      <a:r>
                        <a:rPr kumimoji="1" lang="ja-JP" altLang="en-US" sz="1000" b="0" i="0" u="none" strike="noStrike" kern="1200" dirty="0">
                          <a:solidFill>
                            <a:schemeClr val="tx1"/>
                          </a:solidFill>
                          <a:effectLst/>
                          <a:latin typeface="ＭＳ Ｐゴシック 本文"/>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80533210"/>
                  </a:ext>
                </a:extLst>
              </a:tr>
              <a:tr h="294645">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9</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5~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高圧直流送電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日立製作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008643886"/>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0</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5~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妊産婦ケアにおける遠隔医療システム導入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ミトラ</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99443414"/>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1</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5124" marB="25124"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6~2018</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座屈防止板導入による鉄道施設</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軌道</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効率的な維持管理の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188787893"/>
                  </a:ext>
                </a:extLst>
              </a:tr>
              <a:tr h="51384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2</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8~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海洋監視システム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普及促進事業</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ジェットサービス、株式会社</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HI </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共同企業体</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2778270"/>
                  </a:ext>
                </a:extLst>
              </a:tr>
              <a:tr h="589291">
                <a:tc>
                  <a:txBody>
                    <a:bodyPr/>
                    <a:lstStyle/>
                    <a:p>
                      <a:pPr marL="0" algn="ctr" defTabSz="914400" rtl="0" eaLnBrk="1" fontAlgn="ctr" latinLnBrk="0" hangingPunct="1"/>
                      <a:r>
                        <a:rPr kumimoji="1" lang="en-US" altLang="ja-JP" sz="1000" b="1" kern="1200" dirty="0">
                          <a:solidFill>
                            <a:schemeClr val="dk1"/>
                          </a:solidFill>
                          <a:latin typeface="+mj-lt"/>
                          <a:ea typeface="ＭＳ Ｐゴシック" panose="020B0600070205080204" pitchFamily="50" charset="-128"/>
                          <a:cs typeface="Arial" panose="020B0604020202020204" pitchFamily="34" charset="0"/>
                        </a:rPr>
                        <a:t>13</a:t>
                      </a:r>
                      <a:endParaRPr kumimoji="1" lang="ja-JP" altLang="en-US" sz="1000" b="1" kern="1200" dirty="0">
                        <a:solidFill>
                          <a:schemeClr val="dk1"/>
                        </a:solidFill>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mj-lt"/>
                          <a:ea typeface="ＭＳ Ｐゴシック" panose="020B0600070205080204" pitchFamily="50" charset="-128"/>
                          <a:cs typeface="Arial" panose="020B0604020202020204" pitchFamily="34" charset="0"/>
                        </a:rPr>
                        <a:t>2019~202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衛星データを活用した農作物生産性向上のための農業情報サービスビジネス</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途上国の課題解決型ビジネス（</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ジネス）調査</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一般財団法人リモート・センシング技術センター</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60860420"/>
                  </a:ext>
                </a:extLst>
              </a:tr>
              <a:tr h="589291">
                <a:tc>
                  <a:txBody>
                    <a:bodyPr/>
                    <a:lstStyle/>
                    <a:p>
                      <a:pPr algn="ctr" fontAlgn="ctr"/>
                      <a:r>
                        <a:rPr lang="en-US" altLang="ja-JP" sz="1000" b="1" dirty="0">
                          <a:latin typeface="+mj-lt"/>
                          <a:ea typeface="ＭＳ Ｐゴシック" panose="020B0600070205080204" pitchFamily="50" charset="-128"/>
                          <a:cs typeface="Arial" panose="020B0604020202020204" pitchFamily="34" charset="0"/>
                        </a:rPr>
                        <a:t>14</a:t>
                      </a:r>
                      <a:endParaRPr lang="ja-JP" altLang="en-US" sz="1000" b="1" dirty="0">
                        <a:latin typeface="+mj-lt"/>
                        <a:ea typeface="ＭＳ Ｐゴシック" panose="020B0600070205080204" pitchFamily="50" charset="-128"/>
                        <a:cs typeface="Arial" panose="020B0604020202020204" pitchFamily="34" charset="0"/>
                      </a:endParaRPr>
                    </a:p>
                  </a:txBody>
                  <a:tcPr marL="63004" marR="63004" marT="23705" marB="23705"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mj-lt"/>
                          <a:ea typeface="ＭＳ Ｐゴシック" panose="020B0600070205080204" pitchFamily="50" charset="-128"/>
                          <a:cs typeface="Arial" panose="020B0604020202020204" pitchFamily="34" charset="0"/>
                        </a:rPr>
                        <a:t>2022~2024</a:t>
                      </a:r>
                      <a:endParaRPr kumimoji="1" lang="zh-TW" altLang="en-US" sz="1000" b="0" i="0" u="none" strike="noStrike" kern="1200" baseline="0" dirty="0">
                        <a:solidFill>
                          <a:schemeClr val="dk1"/>
                        </a:solidFill>
                        <a:latin typeface="+mj-lt"/>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先進的軌道保全技術</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座屈防止板</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導入による脱線等の軌道事故を防止するための普及・実証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実証・ビジネス化事業（中小企業支援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林総事株式会社</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792445188"/>
                  </a:ext>
                </a:extLst>
              </a:tr>
            </a:tbl>
          </a:graphicData>
        </a:graphic>
      </p:graphicFrame>
      <p:sp>
        <p:nvSpPr>
          <p:cNvPr id="8" name="テキスト ボックス 7">
            <a:extLst>
              <a:ext uri="{FF2B5EF4-FFF2-40B4-BE49-F238E27FC236}">
                <a16:creationId xmlns:a16="http://schemas.microsoft.com/office/drawing/2014/main" id="{19D55A2D-42D2-8567-781D-812A33CC843E}"/>
              </a:ext>
            </a:extLst>
          </p:cNvPr>
          <p:cNvSpPr txBox="1"/>
          <p:nvPr/>
        </p:nvSpPr>
        <p:spPr>
          <a:xfrm>
            <a:off x="200472" y="6381328"/>
            <a:ext cx="8640960" cy="288032"/>
          </a:xfrm>
          <a:prstGeom prst="rect">
            <a:avLst/>
          </a:prstGeom>
          <a:noFill/>
        </p:spPr>
        <p:txBody>
          <a:bodyPr wrap="square" lIns="0" tIns="0" rIns="0" bIns="0" rtlCol="0" anchor="b" anchorCtr="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 O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見える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8936663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nvGraphicFramePr>
        <p:xfrm>
          <a:off x="200025" y="1412776"/>
          <a:ext cx="9504000" cy="15003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567">
                  <a:extLst>
                    <a:ext uri="{9D8B030D-6E8A-4147-A177-3AD203B41FA5}">
                      <a16:colId xmlns:a16="http://schemas.microsoft.com/office/drawing/2014/main" val="20001"/>
                    </a:ext>
                  </a:extLst>
                </a:gridCol>
                <a:gridCol w="1007433">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南アフリカのマラリア発生率に及ぼす気候変動の影響</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ルニーニョ／ラニーニャ現象・インド洋亜熱帯ダイポール現象とマラリア発生率との関係性</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1000" dirty="0"/>
                        <a:t>国立研究開発法人海洋研究開発機構</a:t>
                      </a:r>
                      <a:r>
                        <a:rPr lang="ja-JP" altLang="en-US" sz="1000" dirty="0"/>
                        <a:t>、</a:t>
                      </a:r>
                      <a:r>
                        <a:rPr lang="zh-CN" altLang="en-US" sz="1000" dirty="0"/>
                        <a:t>国立大学法人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本プロジェクトは、</a:t>
                      </a:r>
                      <a:r>
                        <a:rPr lang="en-US" altLang="ja-JP" sz="1000" dirty="0"/>
                        <a:t>JICA</a:t>
                      </a:r>
                      <a:r>
                        <a:rPr lang="ja-JP" altLang="en-US" sz="1000" dirty="0"/>
                        <a:t>の技術協力として実施され、</a:t>
                      </a:r>
                      <a:r>
                        <a:rPr lang="en-US" altLang="ja-JP" sz="1000" dirty="0"/>
                        <a:t>AMED</a:t>
                      </a:r>
                      <a:r>
                        <a:rPr lang="ja-JP" altLang="en-US" sz="1000" dirty="0"/>
                        <a:t>が共同研究全体の評価を行った</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南アフリカ北東部に位置するリンポポ州におけるマラリアの発生変動と南アフリカの気候変動および世界の海域でみられる気候変動現象の関係を調べ、熱帯太平洋や南インド洋の気候変動によりもたらされる南アフリカの降水量や気温の変動が、その数ヶ月後に生じるマラリアの発生率に影響を及ぼす可能性があることを示した</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3576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2856639963"/>
              </p:ext>
            </p:extLst>
          </p:nvPr>
        </p:nvGraphicFramePr>
        <p:xfrm>
          <a:off x="200025" y="1124744"/>
          <a:ext cx="9504000" cy="5192171"/>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20567">
                  <a:extLst>
                    <a:ext uri="{9D8B030D-6E8A-4147-A177-3AD203B41FA5}">
                      <a16:colId xmlns:a16="http://schemas.microsoft.com/office/drawing/2014/main" val="20001"/>
                    </a:ext>
                  </a:extLst>
                </a:gridCol>
                <a:gridCol w="1007433">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ＮＯ</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実施年</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ロジェクト</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研究開発課題</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代表研究機関</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hangingPunct="0"/>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概要</a:t>
                      </a:r>
                    </a:p>
                  </a:txBody>
                  <a:tcPr marL="36000" marR="36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のマラリア発生率に及ぼす気候変動の影響</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ルニーニョ／ラニーニャ現象・インド洋亜熱帯ダイポール現象とマラリア発生率との関係性</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海洋研究開発機構</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プロジェクトは、</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技術協力として実施さ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MED</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共同研究全体の評価を行った</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北東部に位置するリンポポ州におけるマラリアの発生変動と南アフリカの気候変動および世界の海域で見られる気候変動現象の関係を調べ、熱帯太平洋や南インド洋の気候変動によりもたらされる南アフリカの降水量や気温の変動が、その数カ月後に生じるマラリアの発生率に影響を及ぼす可能性があることを示した</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菌感染における宿主マクロファージ遺伝子の保護的・破壊的作用の解明</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理化学研究所</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菌感染における宿主であるマクロファージ細胞の遺伝子発現変動を捕らえ、サイトカイン刺激によるマクロファージ活性化等との比較解析により、感染に対して保護的・破壊的作用を持 つ宿主遺伝子を同定して解析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02647509"/>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endParaRPr kumimoji="1" lang="en-US" altLang="ja-JP"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0">
                        <a:lnSpc>
                          <a:spcPct val="100000"/>
                        </a:lnSpc>
                        <a:spcBef>
                          <a:spcPts val="0"/>
                        </a:spcBef>
                        <a:spcAft>
                          <a:spcPts val="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癇前症（妊娠高血圧腎症）におけ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の影響</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福井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南アフリカ共和国で高頻度に起こる特徴的な高血圧症の一種である子癇前症で、ＨＩ Ｖ感染とレニン－アンジオテンシン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遺伝子多型の及ぼす影響を明らかに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607076008"/>
                  </a:ext>
                </a:extLst>
              </a:tr>
              <a:tr h="972000">
                <a:tc>
                  <a:txBody>
                    <a:bodyPr/>
                    <a:lstStyle/>
                    <a:p>
                      <a:pPr algn="ctr" fontAlgn="ctr" hangingPunct="0"/>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2015</a:t>
                      </a:r>
                    </a:p>
                  </a:txBody>
                  <a:tcPr marL="36000" marR="36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分野国際科学技術共同研究開発推進事業（戦略的国際科学技術協力プログラム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C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p>
                      <a:pPr marL="0" marR="0" indent="0" algn="ctr" defTabSz="914400" rtl="0" eaLnBrk="1" fontAlgn="ctr" latinLnBrk="0" hangingPunct="0">
                        <a:lnSpc>
                          <a:spcPct val="100000"/>
                        </a:lnSpc>
                        <a:spcBef>
                          <a:spcPts val="0"/>
                        </a:spcBef>
                        <a:spcAft>
                          <a:spcPts val="0"/>
                        </a:spcAft>
                        <a:buClrTx/>
                        <a:buSzTx/>
                        <a:buFontTx/>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植物病原細菌</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antoe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anat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遺伝子型と病原性の多様性に関する研究</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静岡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および南アフリカの研究者が協力してイネ、トウモロコシ、ネギなど重要作物を侵す新興感染症病原の</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antoea</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nanati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ついて、その多様性を遺伝子レベルで解析し病原性の違いを遺伝子判別する手法を開発する</a:t>
                      </a:r>
                    </a:p>
                  </a:txBody>
                  <a:tcPr marL="108000" marR="108000" marT="72000" marB="720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38954111"/>
                  </a:ext>
                </a:extLst>
              </a:tr>
            </a:tbl>
          </a:graphicData>
        </a:graphic>
      </p:graphicFrame>
    </p:spTree>
    <p:extLst>
      <p:ext uri="{BB962C8B-B14F-4D97-AF65-F5344CB8AC3E}">
        <p14:creationId xmlns:p14="http://schemas.microsoft.com/office/powerpoint/2010/main" val="39121407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他</a:t>
            </a:r>
            <a:r>
              <a:rPr lang="ja-JP" altLang="en-US" sz="1400" b="0" i="0" dirty="0">
                <a:solidFill>
                  <a:srgbClr val="000000"/>
                </a:solidFill>
                <a:effectLst/>
                <a:latin typeface="ヒラギノ角ゴ Pro W3"/>
              </a:rPr>
              <a:t>輸出入や海外進出の実務の相談を無料で行うことが可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248786" y="2348880"/>
            <a:ext cx="4168709" cy="3900427"/>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アフリカの</a:t>
            </a:r>
            <a:r>
              <a:rPr lang="en-US" altLang="ja-JP" sz="1400" dirty="0"/>
              <a:t>E</a:t>
            </a:r>
            <a:r>
              <a:rPr lang="ja-JP" altLang="en-US" sz="1400" dirty="0"/>
              <a:t>コマース市場（</a:t>
            </a:r>
            <a:r>
              <a:rPr lang="en-US" altLang="ja-JP" sz="1400" dirty="0"/>
              <a:t>202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南アフリカ共和国の水素市場（</a:t>
            </a:r>
            <a:r>
              <a:rPr lang="en-US" altLang="ja-JP" sz="1400" dirty="0"/>
              <a:t>202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アフリカ主要国の医療機器登録制度情報（</a:t>
            </a:r>
            <a:r>
              <a:rPr lang="en-US" altLang="ja-JP" sz="1400" dirty="0"/>
              <a:t>202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南アフリカの医療機器市場調査報告書（</a:t>
            </a:r>
            <a:r>
              <a:rPr lang="en-US" altLang="ja-JP" sz="1400" dirty="0"/>
              <a:t>202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アフリカにおけるインドの</a:t>
            </a:r>
            <a:r>
              <a:rPr lang="en-US" altLang="ja-JP" sz="1400" dirty="0"/>
              <a:t>IT</a:t>
            </a:r>
            <a:r>
              <a:rPr lang="ja-JP" altLang="en-US" sz="1400" dirty="0"/>
              <a:t>サービス調査（</a:t>
            </a:r>
            <a:r>
              <a:rPr lang="en-US" altLang="ja-JP" sz="1400" dirty="0"/>
              <a:t>202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高度外国人材海外基礎情報（南アフリカ共和国）（</a:t>
            </a:r>
            <a:r>
              <a:rPr lang="en-US" altLang="ja-JP" sz="1400" dirty="0"/>
              <a:t>202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共和国における新型コロナウイルス関連の税務・労務に関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ebina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共和国のスタートアップ事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国におけるイノベーションの実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の医療機器産業の展望（</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1" name="グループ化 7"/>
          <p:cNvGrpSpPr/>
          <p:nvPr/>
        </p:nvGrpSpPr>
        <p:grpSpPr>
          <a:xfrm>
            <a:off x="524103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768783" y="2379259"/>
            <a:ext cx="3888432" cy="82907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4767" y="1947211"/>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4236277"/>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7</a:t>
            </a:r>
            <a:r>
              <a:rPr lang="ja-JP" altLang="en-US" sz="1400" dirty="0"/>
              <a:t>の併催イベントとして「日本・アフリカビジネスフォーラム</a:t>
            </a:r>
            <a:r>
              <a:rPr lang="en-US" altLang="ja-JP" sz="1400" dirty="0"/>
              <a:t>&amp;EXPO</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3804229"/>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130057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2">
            <a:extLst>
              <a:ext uri="{FF2B5EF4-FFF2-40B4-BE49-F238E27FC236}">
                <a16:creationId xmlns:a16="http://schemas.microsoft.com/office/drawing/2014/main" id="{ABB1F57A-2436-09A0-E0A8-DA0D148A2C53}"/>
              </a:ext>
            </a:extLst>
          </p:cNvPr>
          <p:cNvGraphicFramePr/>
          <p:nvPr>
            <p:custDataLst>
              <p:tags r:id="rId1"/>
            </p:custDataLst>
            <p:extLst>
              <p:ext uri="{D42A27DB-BD31-4B8C-83A1-F6EECF244321}">
                <p14:modId xmlns:p14="http://schemas.microsoft.com/office/powerpoint/2010/main" val="3087222169"/>
              </p:ext>
            </p:extLst>
          </p:nvPr>
        </p:nvGraphicFramePr>
        <p:xfrm>
          <a:off x="188614" y="2181675"/>
          <a:ext cx="7932738" cy="1862137"/>
        </p:xfrm>
        <a:graphic>
          <a:graphicData uri="http://schemas.openxmlformats.org/drawingml/2006/chart">
            <c:chart xmlns:c="http://schemas.openxmlformats.org/drawingml/2006/chart" xmlns:r="http://schemas.openxmlformats.org/officeDocument/2006/relationships" r:id="rId62"/>
          </a:graphicData>
        </a:graphic>
      </p:graphicFrame>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548824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3" imgW="360" imgH="360" progId="TCLayout.ActiveDocument.1">
                  <p:embed/>
                </p:oleObj>
              </mc:Choice>
              <mc:Fallback>
                <p:oleObj name="think-cell Slide" r:id="rId63" imgW="360" imgH="360" progId="TCLayout.ActiveDocument.1">
                  <p:embed/>
                  <p:pic>
                    <p:nvPicPr>
                      <p:cNvPr id="8" name="Object 7" hidden="1"/>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8006286"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8024189"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400999"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400999"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01.5</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409528"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409528"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427</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新型コロナからの回復を見せたが、慢性的な電力不足などを背景に、高い成長率は続かないと見込ま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名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ピーク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程度にとどま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29" name="Text Placeholder 12"/>
          <p:cNvSpPr>
            <a:spLocks noGrp="1"/>
          </p:cNvSpPr>
          <p:nvPr>
            <p:custDataLst>
              <p:tags r:id="rId4"/>
            </p:custDataLst>
          </p:nvPr>
        </p:nvSpPr>
        <p:spPr bwMode="auto">
          <a:xfrm>
            <a:off x="166337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26" name="Text Placeholder 12"/>
          <p:cNvSpPr>
            <a:spLocks noGrp="1"/>
          </p:cNvSpPr>
          <p:nvPr>
            <p:custDataLst>
              <p:tags r:id="rId5"/>
            </p:custDataLst>
          </p:nvPr>
        </p:nvSpPr>
        <p:spPr bwMode="auto">
          <a:xfrm>
            <a:off x="629915"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27" name="Text Placeholder 12"/>
          <p:cNvSpPr>
            <a:spLocks noGrp="1"/>
          </p:cNvSpPr>
          <p:nvPr>
            <p:custDataLst>
              <p:tags r:id="rId6"/>
            </p:custDataLst>
          </p:nvPr>
        </p:nvSpPr>
        <p:spPr bwMode="auto">
          <a:xfrm>
            <a:off x="102202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40" name="Text Placeholder 12"/>
          <p:cNvSpPr>
            <a:spLocks noGrp="1"/>
          </p:cNvSpPr>
          <p:nvPr>
            <p:custDataLst>
              <p:tags r:id="rId7"/>
            </p:custDataLst>
          </p:nvPr>
        </p:nvSpPr>
        <p:spPr bwMode="auto">
          <a:xfrm>
            <a:off x="519556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32" name="Text Placeholder 12"/>
          <p:cNvSpPr>
            <a:spLocks noGrp="1"/>
          </p:cNvSpPr>
          <p:nvPr>
            <p:custDataLst>
              <p:tags r:id="rId8"/>
            </p:custDataLst>
          </p:nvPr>
        </p:nvSpPr>
        <p:spPr bwMode="auto">
          <a:xfrm>
            <a:off x="262699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noGrp="1"/>
          </p:cNvSpPr>
          <p:nvPr>
            <p:custDataLst>
              <p:tags r:id="rId9"/>
            </p:custDataLst>
          </p:nvPr>
        </p:nvSpPr>
        <p:spPr bwMode="auto">
          <a:xfrm>
            <a:off x="294766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4" name="Text Placeholder 12"/>
          <p:cNvSpPr>
            <a:spLocks noGrp="1"/>
          </p:cNvSpPr>
          <p:nvPr>
            <p:custDataLst>
              <p:tags r:id="rId10"/>
            </p:custDataLst>
          </p:nvPr>
        </p:nvSpPr>
        <p:spPr bwMode="auto">
          <a:xfrm>
            <a:off x="326834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11"/>
            </p:custDataLst>
          </p:nvPr>
        </p:nvSpPr>
        <p:spPr bwMode="gray">
          <a:xfrm>
            <a:off x="3522339" y="3057553"/>
            <a:ext cx="252413" cy="126752"/>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17D026-3A7A-4DF5-A832-F3873B1B0978}" type="datetime'''''''''''''''''''-''1.5'''''''''''''''''''''''''''''''''">
              <a:rPr lang="en-US" altLang="en-US" sz="1000" smtClean="0">
                <a:effectLst/>
                <a:sym typeface="+mn-lt"/>
              </a:rPr>
              <a:pPr marL="0" indent="0" algn="ctr">
                <a:spcBef>
                  <a:spcPct val="0"/>
                </a:spcBef>
                <a:buNone/>
              </a:pPr>
              <a:t>-1.5</a:t>
            </a:fld>
            <a:endParaRPr lang="ja-JP" altLang="en-US" sz="1000" dirty="0">
              <a:sym typeface="+mn-lt"/>
            </a:endParaRPr>
          </a:p>
        </p:txBody>
      </p:sp>
      <p:sp>
        <p:nvSpPr>
          <p:cNvPr id="37" name="Text Placeholder 12"/>
          <p:cNvSpPr>
            <a:spLocks noGrp="1"/>
          </p:cNvSpPr>
          <p:nvPr>
            <p:custDataLst>
              <p:tags r:id="rId12"/>
            </p:custDataLst>
          </p:nvPr>
        </p:nvSpPr>
        <p:spPr bwMode="auto">
          <a:xfrm>
            <a:off x="423195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39" name="Text Placeholder 12"/>
          <p:cNvSpPr>
            <a:spLocks noGrp="1"/>
          </p:cNvSpPr>
          <p:nvPr>
            <p:custDataLst>
              <p:tags r:id="rId13"/>
            </p:custDataLst>
          </p:nvPr>
        </p:nvSpPr>
        <p:spPr bwMode="auto">
          <a:xfrm>
            <a:off x="487489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36" name="Text Placeholder 12"/>
          <p:cNvSpPr>
            <a:spLocks noGrp="1"/>
          </p:cNvSpPr>
          <p:nvPr>
            <p:custDataLst>
              <p:tags r:id="rId14"/>
            </p:custDataLst>
          </p:nvPr>
        </p:nvSpPr>
        <p:spPr bwMode="auto">
          <a:xfrm>
            <a:off x="391127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8" name="Text Placeholder 12"/>
          <p:cNvSpPr>
            <a:spLocks noGrp="1"/>
          </p:cNvSpPr>
          <p:nvPr>
            <p:custDataLst>
              <p:tags r:id="rId15"/>
            </p:custDataLst>
          </p:nvPr>
        </p:nvSpPr>
        <p:spPr bwMode="auto">
          <a:xfrm>
            <a:off x="455421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83" name="Text Placeholder 12"/>
          <p:cNvSpPr>
            <a:spLocks noGrp="1"/>
          </p:cNvSpPr>
          <p:nvPr>
            <p:custDataLst>
              <p:tags r:id="rId16"/>
            </p:custDataLst>
          </p:nvPr>
        </p:nvSpPr>
        <p:spPr bwMode="auto">
          <a:xfrm>
            <a:off x="615917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41" name="Text Placeholder 12"/>
          <p:cNvSpPr>
            <a:spLocks noGrp="1"/>
          </p:cNvSpPr>
          <p:nvPr>
            <p:custDataLst>
              <p:tags r:id="rId17"/>
            </p:custDataLst>
          </p:nvPr>
        </p:nvSpPr>
        <p:spPr bwMode="auto">
          <a:xfrm>
            <a:off x="551624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18"/>
            </p:custDataLst>
          </p:nvPr>
        </p:nvSpPr>
        <p:spPr bwMode="auto">
          <a:xfrm>
            <a:off x="583850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19"/>
            </p:custDataLst>
          </p:nvPr>
        </p:nvSpPr>
        <p:spPr bwMode="auto">
          <a:xfrm>
            <a:off x="647985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31" name="Text Placeholder 12"/>
          <p:cNvSpPr>
            <a:spLocks noGrp="1"/>
          </p:cNvSpPr>
          <p:nvPr>
            <p:custDataLst>
              <p:tags r:id="rId20"/>
            </p:custDataLst>
          </p:nvPr>
        </p:nvSpPr>
        <p:spPr bwMode="auto">
          <a:xfrm>
            <a:off x="230631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1"/>
            </p:custDataLst>
          </p:nvPr>
        </p:nvSpPr>
        <p:spPr bwMode="auto">
          <a:xfrm>
            <a:off x="680052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22"/>
            </p:custDataLst>
          </p:nvPr>
        </p:nvSpPr>
        <p:spPr bwMode="auto">
          <a:xfrm>
            <a:off x="712279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23"/>
            </p:custDataLst>
          </p:nvPr>
        </p:nvSpPr>
        <p:spPr bwMode="auto">
          <a:xfrm>
            <a:off x="7373615"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p:nvSpPr>
          <p:cNvPr id="30" name="Text Placeholder 12"/>
          <p:cNvSpPr>
            <a:spLocks noGrp="1"/>
          </p:cNvSpPr>
          <p:nvPr>
            <p:custDataLst>
              <p:tags r:id="rId24"/>
            </p:custDataLst>
          </p:nvPr>
        </p:nvSpPr>
        <p:spPr bwMode="auto">
          <a:xfrm>
            <a:off x="198405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42" name="Text Placeholder 12"/>
          <p:cNvSpPr>
            <a:spLocks noGrp="1"/>
          </p:cNvSpPr>
          <p:nvPr>
            <p:custDataLst>
              <p:tags r:id="rId25"/>
            </p:custDataLst>
          </p:nvPr>
        </p:nvSpPr>
        <p:spPr bwMode="auto">
          <a:xfrm>
            <a:off x="7866433"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26"/>
            </p:custDataLst>
          </p:nvPr>
        </p:nvSpPr>
        <p:spPr bwMode="auto">
          <a:xfrm>
            <a:off x="134270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27"/>
            </p:custDataLst>
          </p:nvPr>
        </p:nvSpPr>
        <p:spPr bwMode="gray">
          <a:xfrm>
            <a:off x="7073577" y="3455988"/>
            <a:ext cx="252413"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EDB637-BF31-4BF1-BFDE-E57A4B02BC3A}" type="datetime'''''''''''-6''''''''''''''''''.''''''''''''''3'''''''''''">
              <a:rPr lang="en-US" altLang="en-US" sz="1000" smtClean="0">
                <a:effectLst/>
                <a:sym typeface="+mn-lt"/>
              </a:rPr>
              <a:pPr marL="0" indent="0" algn="ctr">
                <a:spcBef>
                  <a:spcPct val="0"/>
                </a:spcBef>
                <a:buNone/>
              </a:pPr>
              <a:t>-6.3</a:t>
            </a:fld>
            <a:endParaRPr lang="ja-JP" altLang="en-US" sz="1000" dirty="0">
              <a:sym typeface="+mn-lt"/>
            </a:endParaRPr>
          </a:p>
        </p:txBody>
      </p:sp>
      <p:sp>
        <p:nvSpPr>
          <p:cNvPr id="24" name="Text Placeholder 12"/>
          <p:cNvSpPr>
            <a:spLocks noGrp="1"/>
          </p:cNvSpPr>
          <p:nvPr>
            <p:custDataLst>
              <p:tags r:id="rId28"/>
            </p:custDataLst>
          </p:nvPr>
        </p:nvSpPr>
        <p:spPr bwMode="auto">
          <a:xfrm>
            <a:off x="279077"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5" name="Text Placeholder 12"/>
          <p:cNvSpPr>
            <a:spLocks noGrp="1"/>
          </p:cNvSpPr>
          <p:nvPr>
            <p:custDataLst>
              <p:tags r:id="rId29"/>
            </p:custDataLst>
          </p:nvPr>
        </p:nvSpPr>
        <p:spPr bwMode="auto">
          <a:xfrm>
            <a:off x="359060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3" name="Rectangle 2"/>
          <p:cNvSpPr/>
          <p:nvPr>
            <p:custDataLst>
              <p:tags r:id="rId30"/>
            </p:custDataLst>
          </p:nvPr>
        </p:nvSpPr>
        <p:spPr bwMode="gray">
          <a:xfrm>
            <a:off x="8450956"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31"/>
            </p:custDataLst>
          </p:nvPr>
        </p:nvCxnSpPr>
        <p:spPr bwMode="gray">
          <a:xfrm>
            <a:off x="8369993"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32"/>
            </p:custDataLst>
          </p:nvPr>
        </p:nvSpPr>
        <p:spPr bwMode="gray">
          <a:xfrm>
            <a:off x="8458894"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1" name="テキスト プレースホルダ 9"/>
          <p:cNvSpPr>
            <a:spLocks noGrp="1"/>
          </p:cNvSpPr>
          <p:nvPr>
            <p:custDataLst>
              <p:tags r:id="rId33"/>
            </p:custDataLst>
          </p:nvPr>
        </p:nvSpPr>
        <p:spPr bwMode="auto">
          <a:xfrm>
            <a:off x="8681144"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
        <p:nvSpPr>
          <p:cNvPr id="82" name="テキスト プレースホルダ 9"/>
          <p:cNvSpPr>
            <a:spLocks noGrp="1"/>
          </p:cNvSpPr>
          <p:nvPr>
            <p:custDataLst>
              <p:tags r:id="rId34"/>
            </p:custDataLst>
          </p:nvPr>
        </p:nvSpPr>
        <p:spPr bwMode="auto">
          <a:xfrm>
            <a:off x="8681144"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graphicFrame>
        <p:nvGraphicFramePr>
          <p:cNvPr id="13" name="Chart 116">
            <a:extLst>
              <a:ext uri="{FF2B5EF4-FFF2-40B4-BE49-F238E27FC236}">
                <a16:creationId xmlns:a16="http://schemas.microsoft.com/office/drawing/2014/main" id="{6948F10C-597C-5A57-3CB8-C547F20F3AB3}"/>
              </a:ext>
            </a:extLst>
          </p:cNvPr>
          <p:cNvGraphicFramePr/>
          <p:nvPr>
            <p:custDataLst>
              <p:tags r:id="rId35"/>
            </p:custDataLst>
            <p:extLst>
              <p:ext uri="{D42A27DB-BD31-4B8C-83A1-F6EECF244321}">
                <p14:modId xmlns:p14="http://schemas.microsoft.com/office/powerpoint/2010/main" val="3159999351"/>
              </p:ext>
            </p:extLst>
          </p:nvPr>
        </p:nvGraphicFramePr>
        <p:xfrm>
          <a:off x="130175" y="4695825"/>
          <a:ext cx="7823200" cy="1784350"/>
        </p:xfrm>
        <a:graphic>
          <a:graphicData uri="http://schemas.openxmlformats.org/drawingml/2006/chart">
            <c:chart xmlns:c="http://schemas.openxmlformats.org/drawingml/2006/chart" xmlns:r="http://schemas.openxmlformats.org/officeDocument/2006/relationships" r:id="rId65"/>
          </a:graphicData>
        </a:graphic>
      </p:graphicFrame>
      <p:sp>
        <p:nvSpPr>
          <p:cNvPr id="14" name="Text Placeholder 12">
            <a:extLst>
              <a:ext uri="{FF2B5EF4-FFF2-40B4-BE49-F238E27FC236}">
                <a16:creationId xmlns:a16="http://schemas.microsoft.com/office/drawing/2014/main" id="{C81E0177-173A-5B2B-830D-1243B25B1484}"/>
              </a:ext>
            </a:extLst>
          </p:cNvPr>
          <p:cNvSpPr>
            <a:spLocks noGrp="1"/>
          </p:cNvSpPr>
          <p:nvPr>
            <p:custDataLst>
              <p:tags r:id="rId36"/>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800" b="0" dirty="0">
              <a:sym typeface="+mn-lt"/>
            </a:endParaRPr>
          </a:p>
        </p:txBody>
      </p:sp>
      <p:sp>
        <p:nvSpPr>
          <p:cNvPr id="15" name="Text Placeholder 12">
            <a:extLst>
              <a:ext uri="{FF2B5EF4-FFF2-40B4-BE49-F238E27FC236}">
                <a16:creationId xmlns:a16="http://schemas.microsoft.com/office/drawing/2014/main" id="{3CAD1F55-F859-FC1F-37CA-5FE2CF7DCB50}"/>
              </a:ext>
            </a:extLst>
          </p:cNvPr>
          <p:cNvSpPr>
            <a:spLocks noGrp="1"/>
          </p:cNvSpPr>
          <p:nvPr>
            <p:custDataLst>
              <p:tags r:id="rId37"/>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800" b="0" dirty="0">
              <a:sym typeface="+mn-lt"/>
            </a:endParaRPr>
          </a:p>
        </p:txBody>
      </p:sp>
      <p:sp>
        <p:nvSpPr>
          <p:cNvPr id="16" name="Text Placeholder 12">
            <a:extLst>
              <a:ext uri="{FF2B5EF4-FFF2-40B4-BE49-F238E27FC236}">
                <a16:creationId xmlns:a16="http://schemas.microsoft.com/office/drawing/2014/main" id="{5B7BD6A7-53BF-0D0D-60FD-4E30D72E0BE9}"/>
              </a:ext>
            </a:extLst>
          </p:cNvPr>
          <p:cNvSpPr>
            <a:spLocks noGrp="1"/>
          </p:cNvSpPr>
          <p:nvPr>
            <p:custDataLst>
              <p:tags r:id="rId38"/>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800" b="0" dirty="0">
              <a:sym typeface="+mn-lt"/>
            </a:endParaRPr>
          </a:p>
        </p:txBody>
      </p:sp>
      <p:sp>
        <p:nvSpPr>
          <p:cNvPr id="21" name="Text Placeholder 12">
            <a:extLst>
              <a:ext uri="{FF2B5EF4-FFF2-40B4-BE49-F238E27FC236}">
                <a16:creationId xmlns:a16="http://schemas.microsoft.com/office/drawing/2014/main" id="{852EF4A0-53F4-ECBF-6BCC-3242E76E2865}"/>
              </a:ext>
            </a:extLst>
          </p:cNvPr>
          <p:cNvSpPr>
            <a:spLocks noGrp="1"/>
          </p:cNvSpPr>
          <p:nvPr>
            <p:custDataLst>
              <p:tags r:id="rId39"/>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800" b="0" dirty="0">
              <a:sym typeface="+mn-lt"/>
            </a:endParaRPr>
          </a:p>
        </p:txBody>
      </p:sp>
      <p:sp>
        <p:nvSpPr>
          <p:cNvPr id="43" name="Text Placeholder 12">
            <a:extLst>
              <a:ext uri="{FF2B5EF4-FFF2-40B4-BE49-F238E27FC236}">
                <a16:creationId xmlns:a16="http://schemas.microsoft.com/office/drawing/2014/main" id="{FB36FA4A-72FF-DBBF-B047-1557BD8DF639}"/>
              </a:ext>
            </a:extLst>
          </p:cNvPr>
          <p:cNvSpPr>
            <a:spLocks noGrp="1"/>
          </p:cNvSpPr>
          <p:nvPr>
            <p:custDataLst>
              <p:tags r:id="rId40"/>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spcBef>
                <a:spcPct val="0"/>
              </a:spcBef>
              <a:spcAft>
                <a:spcPct val="0"/>
              </a:spcAft>
            </a:pPr>
            <a:r>
              <a:rPr kumimoji="0" lang="ja-JP" altLang="en-US" sz="800" b="0" noProof="1">
                <a:sym typeface="+mn-lt"/>
              </a:rPr>
              <a:t>(US$)</a:t>
            </a:r>
          </a:p>
        </p:txBody>
      </p:sp>
      <p:sp>
        <p:nvSpPr>
          <p:cNvPr id="45" name="Text Placeholder 12">
            <a:extLst>
              <a:ext uri="{FF2B5EF4-FFF2-40B4-BE49-F238E27FC236}">
                <a16:creationId xmlns:a16="http://schemas.microsoft.com/office/drawing/2014/main" id="{F6A5C28E-4C7F-6A35-ABB6-18FC1D841D09}"/>
              </a:ext>
            </a:extLst>
          </p:cNvPr>
          <p:cNvSpPr>
            <a:spLocks noGrp="1"/>
          </p:cNvSpPr>
          <p:nvPr>
            <p:custDataLst>
              <p:tags r:id="rId41"/>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800" b="0" dirty="0">
              <a:sym typeface="+mn-lt"/>
            </a:endParaRPr>
          </a:p>
        </p:txBody>
      </p:sp>
      <p:sp>
        <p:nvSpPr>
          <p:cNvPr id="46" name="Text Placeholder 12">
            <a:extLst>
              <a:ext uri="{FF2B5EF4-FFF2-40B4-BE49-F238E27FC236}">
                <a16:creationId xmlns:a16="http://schemas.microsoft.com/office/drawing/2014/main" id="{8B82588B-33B4-2FBA-3D54-B5695006D892}"/>
              </a:ext>
            </a:extLst>
          </p:cNvPr>
          <p:cNvSpPr>
            <a:spLocks noGrp="1"/>
          </p:cNvSpPr>
          <p:nvPr>
            <p:custDataLst>
              <p:tags r:id="rId42"/>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800" b="0" dirty="0">
              <a:sym typeface="+mn-lt"/>
            </a:endParaRPr>
          </a:p>
        </p:txBody>
      </p:sp>
      <p:sp>
        <p:nvSpPr>
          <p:cNvPr id="47" name="Text Placeholder 12">
            <a:extLst>
              <a:ext uri="{FF2B5EF4-FFF2-40B4-BE49-F238E27FC236}">
                <a16:creationId xmlns:a16="http://schemas.microsoft.com/office/drawing/2014/main" id="{D8AFD40C-4264-C2EC-4876-73815158F7C1}"/>
              </a:ext>
            </a:extLst>
          </p:cNvPr>
          <p:cNvSpPr>
            <a:spLocks noGrp="1"/>
          </p:cNvSpPr>
          <p:nvPr>
            <p:custDataLst>
              <p:tags r:id="rId43"/>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800" b="0" dirty="0">
              <a:sym typeface="+mn-lt"/>
            </a:endParaRPr>
          </a:p>
        </p:txBody>
      </p:sp>
      <p:sp>
        <p:nvSpPr>
          <p:cNvPr id="48" name="Text Placeholder 12">
            <a:extLst>
              <a:ext uri="{FF2B5EF4-FFF2-40B4-BE49-F238E27FC236}">
                <a16:creationId xmlns:a16="http://schemas.microsoft.com/office/drawing/2014/main" id="{7ECE8943-9D58-26E7-2D8A-C8DD3428AE03}"/>
              </a:ext>
            </a:extLst>
          </p:cNvPr>
          <p:cNvSpPr>
            <a:spLocks noGrp="1"/>
          </p:cNvSpPr>
          <p:nvPr>
            <p:custDataLst>
              <p:tags r:id="rId44"/>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800" b="0" dirty="0">
              <a:sym typeface="+mn-lt"/>
            </a:endParaRPr>
          </a:p>
        </p:txBody>
      </p:sp>
      <p:sp>
        <p:nvSpPr>
          <p:cNvPr id="61" name="Text Placeholder 12">
            <a:extLst>
              <a:ext uri="{FF2B5EF4-FFF2-40B4-BE49-F238E27FC236}">
                <a16:creationId xmlns:a16="http://schemas.microsoft.com/office/drawing/2014/main" id="{7F4E811B-063C-A859-073E-619998205128}"/>
              </a:ext>
            </a:extLst>
          </p:cNvPr>
          <p:cNvSpPr>
            <a:spLocks noGrp="1"/>
          </p:cNvSpPr>
          <p:nvPr>
            <p:custDataLst>
              <p:tags r:id="rId45"/>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800" b="0" dirty="0">
              <a:sym typeface="+mn-lt"/>
            </a:endParaRPr>
          </a:p>
        </p:txBody>
      </p:sp>
      <p:sp>
        <p:nvSpPr>
          <p:cNvPr id="62" name="Text Placeholder 12">
            <a:extLst>
              <a:ext uri="{FF2B5EF4-FFF2-40B4-BE49-F238E27FC236}">
                <a16:creationId xmlns:a16="http://schemas.microsoft.com/office/drawing/2014/main" id="{6DDDB6D0-4D3F-65AA-F7E0-3659F41324F6}"/>
              </a:ext>
            </a:extLst>
          </p:cNvPr>
          <p:cNvSpPr>
            <a:spLocks noGrp="1"/>
          </p:cNvSpPr>
          <p:nvPr>
            <p:custDataLst>
              <p:tags r:id="rId46"/>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800" b="0" dirty="0">
              <a:sym typeface="+mn-lt"/>
            </a:endParaRPr>
          </a:p>
        </p:txBody>
      </p:sp>
      <p:sp>
        <p:nvSpPr>
          <p:cNvPr id="85" name="Text Placeholder 12">
            <a:extLst>
              <a:ext uri="{FF2B5EF4-FFF2-40B4-BE49-F238E27FC236}">
                <a16:creationId xmlns:a16="http://schemas.microsoft.com/office/drawing/2014/main" id="{37EB325C-30BD-B790-9CDD-E5CD7535F567}"/>
              </a:ext>
            </a:extLst>
          </p:cNvPr>
          <p:cNvSpPr>
            <a:spLocks noGrp="1"/>
          </p:cNvSpPr>
          <p:nvPr>
            <p:custDataLst>
              <p:tags r:id="rId47"/>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800" b="0" dirty="0">
              <a:sym typeface="+mn-lt"/>
            </a:endParaRPr>
          </a:p>
        </p:txBody>
      </p:sp>
      <p:sp>
        <p:nvSpPr>
          <p:cNvPr id="89" name="Text Placeholder 12">
            <a:extLst>
              <a:ext uri="{FF2B5EF4-FFF2-40B4-BE49-F238E27FC236}">
                <a16:creationId xmlns:a16="http://schemas.microsoft.com/office/drawing/2014/main" id="{88ECDA6E-2B76-B6A6-1CAF-4DAA97614671}"/>
              </a:ext>
            </a:extLst>
          </p:cNvPr>
          <p:cNvSpPr>
            <a:spLocks noGrp="1"/>
          </p:cNvSpPr>
          <p:nvPr>
            <p:custDataLst>
              <p:tags r:id="rId48"/>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800" b="0" dirty="0">
              <a:sym typeface="+mn-lt"/>
            </a:endParaRPr>
          </a:p>
        </p:txBody>
      </p:sp>
      <p:sp>
        <p:nvSpPr>
          <p:cNvPr id="90" name="Text Placeholder 12">
            <a:extLst>
              <a:ext uri="{FF2B5EF4-FFF2-40B4-BE49-F238E27FC236}">
                <a16:creationId xmlns:a16="http://schemas.microsoft.com/office/drawing/2014/main" id="{BFC75D27-D8C2-68AA-9FEE-8119DC4324D4}"/>
              </a:ext>
            </a:extLst>
          </p:cNvPr>
          <p:cNvSpPr>
            <a:spLocks noGrp="1"/>
          </p:cNvSpPr>
          <p:nvPr>
            <p:custDataLst>
              <p:tags r:id="rId49"/>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800" b="0" dirty="0">
              <a:sym typeface="+mn-lt"/>
            </a:endParaRPr>
          </a:p>
        </p:txBody>
      </p:sp>
      <p:sp>
        <p:nvSpPr>
          <p:cNvPr id="91" name="Text Placeholder 12">
            <a:extLst>
              <a:ext uri="{FF2B5EF4-FFF2-40B4-BE49-F238E27FC236}">
                <a16:creationId xmlns:a16="http://schemas.microsoft.com/office/drawing/2014/main" id="{CE1E5134-4727-2E0F-241A-E1B6099F7D1A}"/>
              </a:ext>
            </a:extLst>
          </p:cNvPr>
          <p:cNvSpPr>
            <a:spLocks noGrp="1"/>
          </p:cNvSpPr>
          <p:nvPr>
            <p:custDataLst>
              <p:tags r:id="rId50"/>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800" b="0" dirty="0">
              <a:sym typeface="+mn-lt"/>
            </a:endParaRPr>
          </a:p>
        </p:txBody>
      </p:sp>
      <p:sp>
        <p:nvSpPr>
          <p:cNvPr id="92" name="Text Placeholder 12">
            <a:extLst>
              <a:ext uri="{FF2B5EF4-FFF2-40B4-BE49-F238E27FC236}">
                <a16:creationId xmlns:a16="http://schemas.microsoft.com/office/drawing/2014/main" id="{E0CC084C-B542-43E1-8132-F24FEAC1E567}"/>
              </a:ext>
            </a:extLst>
          </p:cNvPr>
          <p:cNvSpPr>
            <a:spLocks noGrp="1"/>
          </p:cNvSpPr>
          <p:nvPr>
            <p:custDataLst>
              <p:tags r:id="rId51"/>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800" b="0" dirty="0">
              <a:sym typeface="+mn-lt"/>
            </a:endParaRPr>
          </a:p>
        </p:txBody>
      </p:sp>
      <p:sp>
        <p:nvSpPr>
          <p:cNvPr id="93" name="Text Placeholder 12">
            <a:extLst>
              <a:ext uri="{FF2B5EF4-FFF2-40B4-BE49-F238E27FC236}">
                <a16:creationId xmlns:a16="http://schemas.microsoft.com/office/drawing/2014/main" id="{7E09881E-B001-C2F9-3FE0-16CA6E4AD5DC}"/>
              </a:ext>
            </a:extLst>
          </p:cNvPr>
          <p:cNvSpPr>
            <a:spLocks noGrp="1"/>
          </p:cNvSpPr>
          <p:nvPr>
            <p:custDataLst>
              <p:tags r:id="rId52"/>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800" b="0" dirty="0">
              <a:sym typeface="+mn-lt"/>
            </a:endParaRPr>
          </a:p>
        </p:txBody>
      </p:sp>
      <p:sp>
        <p:nvSpPr>
          <p:cNvPr id="97" name="Text Placeholder 12">
            <a:extLst>
              <a:ext uri="{FF2B5EF4-FFF2-40B4-BE49-F238E27FC236}">
                <a16:creationId xmlns:a16="http://schemas.microsoft.com/office/drawing/2014/main" id="{0ABE24F0-861E-243E-8EC5-2FF85F81E85C}"/>
              </a:ext>
            </a:extLst>
          </p:cNvPr>
          <p:cNvSpPr>
            <a:spLocks noGrp="1"/>
          </p:cNvSpPr>
          <p:nvPr>
            <p:custDataLst>
              <p:tags r:id="rId53"/>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800" b="0" dirty="0">
              <a:sym typeface="+mn-lt"/>
            </a:endParaRPr>
          </a:p>
        </p:txBody>
      </p:sp>
      <p:sp>
        <p:nvSpPr>
          <p:cNvPr id="98" name="Text Placeholder 12">
            <a:extLst>
              <a:ext uri="{FF2B5EF4-FFF2-40B4-BE49-F238E27FC236}">
                <a16:creationId xmlns:a16="http://schemas.microsoft.com/office/drawing/2014/main" id="{07AE7500-8C86-BCDA-A7AD-A387CCC9EB47}"/>
              </a:ext>
            </a:extLst>
          </p:cNvPr>
          <p:cNvSpPr>
            <a:spLocks noGrp="1"/>
          </p:cNvSpPr>
          <p:nvPr>
            <p:custDataLst>
              <p:tags r:id="rId54"/>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800" b="0" dirty="0">
              <a:sym typeface="+mn-lt"/>
            </a:endParaRPr>
          </a:p>
        </p:txBody>
      </p:sp>
      <p:sp>
        <p:nvSpPr>
          <p:cNvPr id="99" name="Text Placeholder 12">
            <a:extLst>
              <a:ext uri="{FF2B5EF4-FFF2-40B4-BE49-F238E27FC236}">
                <a16:creationId xmlns:a16="http://schemas.microsoft.com/office/drawing/2014/main" id="{B4F9A8F1-6967-D65D-31A3-CDFBF9BE4D71}"/>
              </a:ext>
            </a:extLst>
          </p:cNvPr>
          <p:cNvSpPr>
            <a:spLocks noGrp="1"/>
          </p:cNvSpPr>
          <p:nvPr>
            <p:custDataLst>
              <p:tags r:id="rId55"/>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800" b="0" dirty="0">
              <a:sym typeface="+mn-lt"/>
            </a:endParaRPr>
          </a:p>
        </p:txBody>
      </p:sp>
      <p:sp>
        <p:nvSpPr>
          <p:cNvPr id="100" name="Text Placeholder 12">
            <a:extLst>
              <a:ext uri="{FF2B5EF4-FFF2-40B4-BE49-F238E27FC236}">
                <a16:creationId xmlns:a16="http://schemas.microsoft.com/office/drawing/2014/main" id="{6EFDCC97-C3FF-1C42-D730-8CD6744D46BC}"/>
              </a:ext>
            </a:extLst>
          </p:cNvPr>
          <p:cNvSpPr>
            <a:spLocks noGrp="1"/>
          </p:cNvSpPr>
          <p:nvPr>
            <p:custDataLst>
              <p:tags r:id="rId56"/>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800" b="0" dirty="0">
              <a:sym typeface="+mn-lt"/>
            </a:endParaRPr>
          </a:p>
        </p:txBody>
      </p:sp>
      <p:sp>
        <p:nvSpPr>
          <p:cNvPr id="101" name="Text Placeholder 12">
            <a:extLst>
              <a:ext uri="{FF2B5EF4-FFF2-40B4-BE49-F238E27FC236}">
                <a16:creationId xmlns:a16="http://schemas.microsoft.com/office/drawing/2014/main" id="{44F04E25-DC9E-8A91-0CAC-57EC3B197034}"/>
              </a:ext>
            </a:extLst>
          </p:cNvPr>
          <p:cNvSpPr>
            <a:spLocks noGrp="1"/>
          </p:cNvSpPr>
          <p:nvPr>
            <p:custDataLst>
              <p:tags r:id="rId57"/>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800" b="0" dirty="0">
              <a:sym typeface="+mn-lt"/>
            </a:endParaRPr>
          </a:p>
        </p:txBody>
      </p:sp>
      <p:sp>
        <p:nvSpPr>
          <p:cNvPr id="103" name="Text Placeholder 12">
            <a:extLst>
              <a:ext uri="{FF2B5EF4-FFF2-40B4-BE49-F238E27FC236}">
                <a16:creationId xmlns:a16="http://schemas.microsoft.com/office/drawing/2014/main" id="{F80EF80E-D123-4BA2-29DD-E42ACA4CDF3C}"/>
              </a:ext>
            </a:extLst>
          </p:cNvPr>
          <p:cNvSpPr>
            <a:spLocks noGrp="1"/>
          </p:cNvSpPr>
          <p:nvPr>
            <p:custDataLst>
              <p:tags r:id="rId58"/>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800" b="0" dirty="0">
              <a:sym typeface="+mn-lt"/>
            </a:endParaRPr>
          </a:p>
        </p:txBody>
      </p:sp>
      <p:sp useBgFill="1">
        <p:nvSpPr>
          <p:cNvPr id="10" name="テキスト プレースホルダ 9">
            <a:extLst>
              <a:ext uri="{FF2B5EF4-FFF2-40B4-BE49-F238E27FC236}">
                <a16:creationId xmlns:a16="http://schemas.microsoft.com/office/drawing/2014/main" id="{380C2A20-B3F0-51DF-C2AE-429BF1269714}"/>
              </a:ext>
            </a:extLst>
          </p:cNvPr>
          <p:cNvSpPr>
            <a:spLocks noGrp="1"/>
          </p:cNvSpPr>
          <p:nvPr>
            <p:custDataLst>
              <p:tags r:id="rId59"/>
            </p:custDataLst>
          </p:nvPr>
        </p:nvSpPr>
        <p:spPr bwMode="gray">
          <a:xfrm>
            <a:off x="4512940" y="2925763"/>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379849-28B6-445C-A2E5-19B0EA825E2C}" type="datetime'''''4''''34'''''''''''''''''''''''''''''''''''''">
              <a:rPr lang="en-US" altLang="en-US" sz="1000" smtClean="0">
                <a:effectLst/>
                <a:sym typeface="+mn-lt"/>
              </a:rPr>
              <a:pPr marL="0" indent="0" algn="ctr">
                <a:spcBef>
                  <a:spcPct val="0"/>
                </a:spcBef>
                <a:buNone/>
              </a:pPr>
              <a:t>434</a:t>
            </a:fld>
            <a:endParaRPr lang="ja-JP" altLang="en-US" sz="1000" dirty="0">
              <a:sym typeface="+mn-lt"/>
            </a:endParaRPr>
          </a:p>
        </p:txBody>
      </p:sp>
      <p:sp useBgFill="1">
        <p:nvSpPr>
          <p:cNvPr id="11" name="テキスト プレースホルダ 9">
            <a:extLst>
              <a:ext uri="{FF2B5EF4-FFF2-40B4-BE49-F238E27FC236}">
                <a16:creationId xmlns:a16="http://schemas.microsoft.com/office/drawing/2014/main" id="{C17EBC5D-4A15-3E1E-0ADD-F0B1F04D9F48}"/>
              </a:ext>
            </a:extLst>
          </p:cNvPr>
          <p:cNvSpPr>
            <a:spLocks noGrp="1"/>
          </p:cNvSpPr>
          <p:nvPr>
            <p:custDataLst>
              <p:tags r:id="rId60"/>
            </p:custDataLst>
          </p:nvPr>
        </p:nvSpPr>
        <p:spPr bwMode="gray">
          <a:xfrm>
            <a:off x="4835202" y="2981353"/>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B2917F-01F8-4F3A-8324-CAC13A8EA8E4}" type="datetime'4''''''''''''''''''''''0''1'''''''''''">
              <a:rPr lang="en-US" altLang="en-US" sz="1000" smtClean="0">
                <a:effectLst/>
                <a:sym typeface="+mn-lt"/>
              </a:rPr>
              <a:pPr marL="0" indent="0" algn="ctr">
                <a:spcBef>
                  <a:spcPct val="0"/>
                </a:spcBef>
                <a:buNone/>
              </a:pPr>
              <a:t>401</a:t>
            </a:fld>
            <a:endParaRPr lang="ja-JP" altLang="en-US" sz="1000" dirty="0">
              <a:sym typeface="+mn-lt"/>
            </a:endParaRPr>
          </a:p>
        </p:txBody>
      </p:sp>
    </p:spTree>
    <p:extLst>
      <p:ext uri="{BB962C8B-B14F-4D97-AF65-F5344CB8AC3E}">
        <p14:creationId xmlns:p14="http://schemas.microsoft.com/office/powerpoint/2010/main" val="190859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90565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5" name="Object 4"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南アフリ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所得格差</a:t>
            </a:r>
          </a:p>
        </p:txBody>
      </p:sp>
      <p:grpSp>
        <p:nvGrpSpPr>
          <p:cNvPr id="21" name="グループ化 7"/>
          <p:cNvGrpSpPr/>
          <p:nvPr/>
        </p:nvGrpSpPr>
        <p:grpSpPr>
          <a:xfrm>
            <a:off x="200469" y="2093131"/>
            <a:ext cx="9505058" cy="288032"/>
            <a:chOff x="4803500" y="2113806"/>
            <a:chExt cx="6189609" cy="288032"/>
          </a:xfrm>
        </p:grpSpPr>
        <p:cxnSp>
          <p:nvCxnSpPr>
            <p:cNvPr id="22" name="直線コネクタ 21"/>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所得階級別の人口構成（</a:t>
              </a:r>
              <a:r>
                <a:rPr lang="en-US" altLang="ja-JP" sz="1400" dirty="0">
                  <a:solidFill>
                    <a:srgbClr val="000000"/>
                  </a:solidFill>
                  <a:latin typeface="Arial Black" pitchFamily="34" charset="0"/>
                  <a:ea typeface="HGP創英角ｺﾞｼｯｸUB" pitchFamily="50" charset="-128"/>
                </a:rPr>
                <a:t>2008-2015</a:t>
              </a:r>
              <a:r>
                <a:rPr lang="ja-JP" altLang="en-US" sz="1400" dirty="0">
                  <a:solidFill>
                    <a:srgbClr val="000000"/>
                  </a:solidFill>
                  <a:latin typeface="Arial Black" pitchFamily="34" charset="0"/>
                  <a:ea typeface="HGP創英角ｺﾞｼｯｸUB" pitchFamily="50" charset="-128"/>
                </a:rPr>
                <a:t>平均）</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vercoming Poverty and Inequality in South Africa” (March 2018)</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南アフリカは世界でも所得格差の大きい国で、世帯の約半数が慢性的な貧困にある一方、ごく一部の富裕層と、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比較的小さな中流層が存在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種的に白人が富を独占してきたが、富裕層における黒人の比率は上昇してきている。</a:t>
            </a:r>
          </a:p>
        </p:txBody>
      </p:sp>
      <p:graphicFrame>
        <p:nvGraphicFramePr>
          <p:cNvPr id="53" name="Chart 52">
            <a:extLst>
              <a:ext uri="{FF2B5EF4-FFF2-40B4-BE49-F238E27FC236}">
                <a16:creationId xmlns:a16="http://schemas.microsoft.com/office/drawing/2014/main" id="{32AB10BE-6105-4D87-8329-3A25C88E63EC}"/>
              </a:ext>
            </a:extLst>
          </p:cNvPr>
          <p:cNvGraphicFramePr/>
          <p:nvPr>
            <p:custDataLst>
              <p:tags r:id="rId3"/>
            </p:custDataLst>
            <p:extLst>
              <p:ext uri="{D42A27DB-BD31-4B8C-83A1-F6EECF244321}">
                <p14:modId xmlns:p14="http://schemas.microsoft.com/office/powerpoint/2010/main" val="2673034639"/>
              </p:ext>
            </p:extLst>
          </p:nvPr>
        </p:nvGraphicFramePr>
        <p:xfrm>
          <a:off x="404813" y="2765425"/>
          <a:ext cx="3335337" cy="3200400"/>
        </p:xfrm>
        <a:graphic>
          <a:graphicData uri="http://schemas.openxmlformats.org/drawingml/2006/chart">
            <c:chart xmlns:c="http://schemas.openxmlformats.org/drawingml/2006/chart" xmlns:r="http://schemas.openxmlformats.org/officeDocument/2006/relationships" r:id="rId41"/>
          </a:graphicData>
        </a:graphic>
      </p:graphicFrame>
      <p:sp>
        <p:nvSpPr>
          <p:cNvPr id="34" name="テキスト プレースホルダ 9">
            <a:extLst>
              <a:ext uri="{FF2B5EF4-FFF2-40B4-BE49-F238E27FC236}">
                <a16:creationId xmlns:a16="http://schemas.microsoft.com/office/drawing/2014/main" id="{21A4337D-06B9-411B-AD7E-AF5306613FCA}"/>
              </a:ext>
            </a:extLst>
          </p:cNvPr>
          <p:cNvSpPr>
            <a:spLocks noGrp="1"/>
          </p:cNvSpPr>
          <p:nvPr>
            <p:custDataLst>
              <p:tags r:id="rId4"/>
            </p:custDataLst>
          </p:nvPr>
        </p:nvSpPr>
        <p:spPr bwMode="auto">
          <a:xfrm>
            <a:off x="2520950" y="5942013"/>
            <a:ext cx="3683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A69FC-FA77-4F67-BC43-99CDC5F8EA28}" type="datetime'''''''''''''''中''''産''''''階''''''''''''''級'''''">
              <a:rPr lang="ja-JP" altLang="en-US" sz="1400" smtClean="0"/>
              <a:pPr/>
              <a:t>中産階級</a:t>
            </a:fld>
            <a:endParaRPr lang="en-IN" altLang="ja-JP" sz="1400" dirty="0"/>
          </a:p>
        </p:txBody>
      </p:sp>
      <p:sp>
        <p:nvSpPr>
          <p:cNvPr id="14" name="テキスト プレースホルダ 9">
            <a:extLst>
              <a:ext uri="{FF2B5EF4-FFF2-40B4-BE49-F238E27FC236}">
                <a16:creationId xmlns:a16="http://schemas.microsoft.com/office/drawing/2014/main" id="{DE46681E-4513-4A8C-94DD-DAD1C1827987}"/>
              </a:ext>
            </a:extLst>
          </p:cNvPr>
          <p:cNvSpPr>
            <a:spLocks noGrp="1"/>
          </p:cNvSpPr>
          <p:nvPr>
            <p:custDataLst>
              <p:tags r:id="rId5"/>
            </p:custDataLst>
          </p:nvPr>
        </p:nvSpPr>
        <p:spPr bwMode="auto">
          <a:xfrm>
            <a:off x="530225" y="5942013"/>
            <a:ext cx="54610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0C0E4E-711E-476C-BACA-C7557FA62EC0}" type="datetime'''''慢性''''''''的貧''''''''''''''困''''''''''''''''''層'''''''''">
              <a:rPr lang="zh-TW" altLang="en-US" sz="1400" smtClean="0"/>
              <a:pPr/>
              <a:t>慢性的貧困層</a:t>
            </a:fld>
            <a:endParaRPr lang="en-IN" altLang="ja-JP" sz="1400" dirty="0"/>
          </a:p>
        </p:txBody>
      </p:sp>
      <p:sp>
        <p:nvSpPr>
          <p:cNvPr id="51" name="テキスト プレースホルダ 9">
            <a:extLst>
              <a:ext uri="{FF2B5EF4-FFF2-40B4-BE49-F238E27FC236}">
                <a16:creationId xmlns:a16="http://schemas.microsoft.com/office/drawing/2014/main" id="{728CC5C6-BDEF-47E9-B930-F44FAFA8550C}"/>
              </a:ext>
            </a:extLst>
          </p:cNvPr>
          <p:cNvSpPr>
            <a:spLocks noGrp="1"/>
          </p:cNvSpPr>
          <p:nvPr>
            <p:custDataLst>
              <p:tags r:id="rId6"/>
            </p:custDataLst>
          </p:nvPr>
        </p:nvSpPr>
        <p:spPr bwMode="auto">
          <a:xfrm>
            <a:off x="1169988" y="5942013"/>
            <a:ext cx="5334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57030-2C05-48CA-945C-A42624755FFB}" type="datetime'T''a''''''''''''''n''''''''''''s''''''''''ien''t p''''''oor '">
              <a:rPr lang="en-US" altLang="en-US" sz="1000" b="1" smtClean="0"/>
              <a:pPr/>
              <a:t>Tansient poor </a:t>
            </a:fld>
            <a:endParaRPr lang="en-IN" altLang="ja-JP" sz="1000" b="1" dirty="0"/>
          </a:p>
        </p:txBody>
      </p:sp>
      <p:sp>
        <p:nvSpPr>
          <p:cNvPr id="58" name="テキスト プレースホルダ 9">
            <a:extLst>
              <a:ext uri="{FF2B5EF4-FFF2-40B4-BE49-F238E27FC236}">
                <a16:creationId xmlns:a16="http://schemas.microsoft.com/office/drawing/2014/main" id="{5FCD78D2-2B4C-4691-BC5A-39C5FE18238B}"/>
              </a:ext>
            </a:extLst>
          </p:cNvPr>
          <p:cNvSpPr>
            <a:spLocks noGrp="1"/>
          </p:cNvSpPr>
          <p:nvPr>
            <p:custDataLst>
              <p:tags r:id="rId7"/>
            </p:custDataLst>
          </p:nvPr>
        </p:nvSpPr>
        <p:spPr bwMode="auto">
          <a:xfrm>
            <a:off x="1743075" y="5942013"/>
            <a:ext cx="6588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12E111-DAC7-4906-BF6A-334120EF5C54}" type="datetime'V''u''''''''''''''ln''''e''''''''''''''''r''a''''''bl''''e'''">
              <a:rPr lang="en-IN" altLang="en-US" sz="1000" b="1" smtClean="0"/>
              <a:pPr/>
              <a:t>Vulnerable</a:t>
            </a:fld>
            <a:endParaRPr lang="en-IN" altLang="ja-JP" sz="1000" b="1" dirty="0"/>
          </a:p>
        </p:txBody>
      </p:sp>
      <p:sp>
        <p:nvSpPr>
          <p:cNvPr id="36" name="テキスト プレースホルダ 9">
            <a:extLst>
              <a:ext uri="{FF2B5EF4-FFF2-40B4-BE49-F238E27FC236}">
                <a16:creationId xmlns:a16="http://schemas.microsoft.com/office/drawing/2014/main" id="{0D67C50E-241F-45C8-967D-5153B53E125C}"/>
              </a:ext>
            </a:extLst>
          </p:cNvPr>
          <p:cNvSpPr>
            <a:spLocks noGrp="1"/>
          </p:cNvSpPr>
          <p:nvPr>
            <p:custDataLst>
              <p:tags r:id="rId8"/>
            </p:custDataLst>
          </p:nvPr>
        </p:nvSpPr>
        <p:spPr bwMode="auto">
          <a:xfrm>
            <a:off x="3067050" y="5942013"/>
            <a:ext cx="5461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418DD-5EA0-4487-AFFD-043DFE63A1A8}" type="datetime'''''''''''''''''''''''''''''''''''''富''''''裕''層'''''''''''">
              <a:rPr lang="ja-JP" altLang="en-US" sz="1400" smtClean="0"/>
              <a:pPr/>
              <a:t>富裕層</a:t>
            </a:fld>
            <a:endParaRPr lang="en-IN" altLang="ja-JP" sz="1400" dirty="0"/>
          </a:p>
        </p:txBody>
      </p:sp>
      <p:graphicFrame>
        <p:nvGraphicFramePr>
          <p:cNvPr id="417" name="Chart 416">
            <a:extLst>
              <a:ext uri="{FF2B5EF4-FFF2-40B4-BE49-F238E27FC236}">
                <a16:creationId xmlns:a16="http://schemas.microsoft.com/office/drawing/2014/main" id="{CE9895F6-ED2D-4FB9-9910-FF7A74B384D4}"/>
              </a:ext>
            </a:extLst>
          </p:cNvPr>
          <p:cNvGraphicFramePr/>
          <p:nvPr>
            <p:custDataLst>
              <p:tags r:id="rId9"/>
            </p:custDataLst>
            <p:extLst>
              <p:ext uri="{D42A27DB-BD31-4B8C-83A1-F6EECF244321}">
                <p14:modId xmlns:p14="http://schemas.microsoft.com/office/powerpoint/2010/main" val="1551045185"/>
              </p:ext>
            </p:extLst>
          </p:nvPr>
        </p:nvGraphicFramePr>
        <p:xfrm>
          <a:off x="7461250" y="2909888"/>
          <a:ext cx="1722438" cy="3055937"/>
        </p:xfrm>
        <a:graphic>
          <a:graphicData uri="http://schemas.openxmlformats.org/drawingml/2006/chart">
            <c:chart xmlns:c="http://schemas.openxmlformats.org/drawingml/2006/chart" xmlns:r="http://schemas.openxmlformats.org/officeDocument/2006/relationships" r:id="rId42"/>
          </a:graphicData>
        </a:graphic>
      </p:graphicFrame>
      <p:sp>
        <p:nvSpPr>
          <p:cNvPr id="197" name="テキスト プレースホルダ 9">
            <a:extLst>
              <a:ext uri="{FF2B5EF4-FFF2-40B4-BE49-F238E27FC236}">
                <a16:creationId xmlns:a16="http://schemas.microsoft.com/office/drawing/2014/main" id="{00074F37-7B9E-42EA-AD82-2A3CDB0E2A12}"/>
              </a:ext>
            </a:extLst>
          </p:cNvPr>
          <p:cNvSpPr>
            <a:spLocks noGrp="1"/>
          </p:cNvSpPr>
          <p:nvPr>
            <p:custDataLst>
              <p:tags r:id="rId10"/>
            </p:custDataLst>
          </p:nvPr>
        </p:nvSpPr>
        <p:spPr bwMode="auto">
          <a:xfrm>
            <a:off x="8758238" y="4997450"/>
            <a:ext cx="6143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D91EF8-BD39-4AF9-B777-8228D30D4039}" type="datetime'''''C''''''''o''''''''''lou''''r''e''d'">
              <a:rPr lang="en-US" altLang="en-US" sz="1200" smtClean="0">
                <a:solidFill>
                  <a:srgbClr val="202124"/>
                </a:solidFill>
              </a:rPr>
              <a:pPr/>
              <a:t>Coloured</a:t>
            </a:fld>
            <a:endParaRPr lang="ja-JP" altLang="en-US" sz="1200" dirty="0"/>
          </a:p>
        </p:txBody>
      </p:sp>
      <p:sp>
        <p:nvSpPr>
          <p:cNvPr id="195" name="テキスト プレースホルダ 9">
            <a:extLst>
              <a:ext uri="{FF2B5EF4-FFF2-40B4-BE49-F238E27FC236}">
                <a16:creationId xmlns:a16="http://schemas.microsoft.com/office/drawing/2014/main" id="{310886F8-C693-4A42-B082-1B76725C4022}"/>
              </a:ext>
            </a:extLst>
          </p:cNvPr>
          <p:cNvSpPr>
            <a:spLocks noGrp="1"/>
          </p:cNvSpPr>
          <p:nvPr>
            <p:custDataLst>
              <p:tags r:id="rId11"/>
            </p:custDataLst>
          </p:nvPr>
        </p:nvSpPr>
        <p:spPr bwMode="auto">
          <a:xfrm>
            <a:off x="8758238" y="3740150"/>
            <a:ext cx="388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0BD9DC-D720-43B8-B615-748159135933}" type="datetime'''''''''W''''''''''h''''''''''i''t''''''''''e'''''''''''''">
              <a:rPr lang="en-US" altLang="en-US" sz="1200" smtClean="0"/>
              <a:pPr/>
              <a:t>White</a:t>
            </a:fld>
            <a:endParaRPr lang="ja-JP" altLang="en-US" sz="1200" dirty="0"/>
          </a:p>
        </p:txBody>
      </p:sp>
      <p:sp>
        <p:nvSpPr>
          <p:cNvPr id="196" name="テキスト プレースホルダ 9">
            <a:extLst>
              <a:ext uri="{FF2B5EF4-FFF2-40B4-BE49-F238E27FC236}">
                <a16:creationId xmlns:a16="http://schemas.microsoft.com/office/drawing/2014/main" id="{063B5B7F-2A36-4822-9DB0-833EA6681170}"/>
              </a:ext>
            </a:extLst>
          </p:cNvPr>
          <p:cNvSpPr>
            <a:spLocks noGrp="1"/>
          </p:cNvSpPr>
          <p:nvPr>
            <p:custDataLst>
              <p:tags r:id="rId12"/>
            </p:custDataLst>
          </p:nvPr>
        </p:nvSpPr>
        <p:spPr bwMode="auto">
          <a:xfrm>
            <a:off x="798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FB47A8-771B-48D1-B959-3CD1C905E5E3}" type="datetime'''2''''''''''''''00''''''8'''''''''''''">
              <a:rPr lang="en-IN" altLang="en-US" sz="1000" smtClean="0"/>
              <a:pPr/>
              <a:t>2008</a:t>
            </a:fld>
            <a:endParaRPr lang="ja-JP" altLang="en-US" sz="1000" dirty="0"/>
          </a:p>
        </p:txBody>
      </p:sp>
      <p:sp>
        <p:nvSpPr>
          <p:cNvPr id="198" name="テキスト プレースホルダ 9">
            <a:extLst>
              <a:ext uri="{FF2B5EF4-FFF2-40B4-BE49-F238E27FC236}">
                <a16:creationId xmlns:a16="http://schemas.microsoft.com/office/drawing/2014/main" id="{E1E71D34-4B28-4760-B621-16103B10EA32}"/>
              </a:ext>
            </a:extLst>
          </p:cNvPr>
          <p:cNvSpPr>
            <a:spLocks noGrp="1"/>
          </p:cNvSpPr>
          <p:nvPr>
            <p:custDataLst>
              <p:tags r:id="rId13"/>
            </p:custDataLst>
          </p:nvPr>
        </p:nvSpPr>
        <p:spPr bwMode="auto">
          <a:xfrm>
            <a:off x="83645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3DA95A-0321-4F90-901F-2788A2FED676}" type="datetime'''''''''''''''''''''''''''''''''''''''''''2''''''''''0''1''4'">
              <a:rPr lang="en-IN" altLang="en-US" sz="1000" smtClean="0"/>
              <a:pPr/>
              <a:t>2014</a:t>
            </a:fld>
            <a:endParaRPr lang="ja-JP" altLang="en-US" sz="1000" dirty="0"/>
          </a:p>
        </p:txBody>
      </p:sp>
      <p:sp>
        <p:nvSpPr>
          <p:cNvPr id="199" name="テキスト プレースホルダ 9">
            <a:extLst>
              <a:ext uri="{FF2B5EF4-FFF2-40B4-BE49-F238E27FC236}">
                <a16:creationId xmlns:a16="http://schemas.microsoft.com/office/drawing/2014/main" id="{F8C9872A-E7BB-4A4C-9A07-B8E9DBCA1BEE}"/>
              </a:ext>
            </a:extLst>
          </p:cNvPr>
          <p:cNvSpPr>
            <a:spLocks noGrp="1"/>
          </p:cNvSpPr>
          <p:nvPr>
            <p:custDataLst>
              <p:tags r:id="rId14"/>
            </p:custDataLst>
          </p:nvPr>
        </p:nvSpPr>
        <p:spPr bwMode="auto">
          <a:xfrm>
            <a:off x="8758238" y="4737100"/>
            <a:ext cx="8350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D259E0E-EDDF-400B-B128-9AB50BD828CE}" type="datetime'''As''i''''an''''/I''''''''n''''''''d''''i''''a''n'''''''">
              <a:rPr lang="en-US" altLang="en-US" sz="1200" smtClean="0"/>
              <a:pPr/>
              <a:t>Asian/Indian</a:t>
            </a:fld>
            <a:endParaRPr lang="ja-JP" altLang="en-US" sz="1200" dirty="0"/>
          </a:p>
        </p:txBody>
      </p:sp>
      <p:sp>
        <p:nvSpPr>
          <p:cNvPr id="201" name="テキスト プレースホルダ 9">
            <a:extLst>
              <a:ext uri="{FF2B5EF4-FFF2-40B4-BE49-F238E27FC236}">
                <a16:creationId xmlns:a16="http://schemas.microsoft.com/office/drawing/2014/main" id="{A5A9383C-7066-4082-ABF0-1297AD730FF9}"/>
              </a:ext>
            </a:extLst>
          </p:cNvPr>
          <p:cNvSpPr>
            <a:spLocks noGrp="1"/>
          </p:cNvSpPr>
          <p:nvPr>
            <p:custDataLst>
              <p:tags r:id="rId15"/>
            </p:custDataLst>
          </p:nvPr>
        </p:nvSpPr>
        <p:spPr bwMode="auto">
          <a:xfrm>
            <a:off x="8758238" y="5445125"/>
            <a:ext cx="3714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12E9B1-2784-4C62-82FF-CCAE92B83A34}" type="datetime'''''''B''''''''la''''''''''''''''''''''''''''c''''k'''''''''''">
              <a:rPr lang="en-US" altLang="en-US" sz="1200" smtClean="0"/>
              <a:pPr/>
              <a:t>Black</a:t>
            </a:fld>
            <a:endParaRPr lang="ja-JP" altLang="en-US" sz="1200" dirty="0"/>
          </a:p>
        </p:txBody>
      </p:sp>
      <p:graphicFrame>
        <p:nvGraphicFramePr>
          <p:cNvPr id="410" name="Chart 409">
            <a:extLst>
              <a:ext uri="{FF2B5EF4-FFF2-40B4-BE49-F238E27FC236}">
                <a16:creationId xmlns:a16="http://schemas.microsoft.com/office/drawing/2014/main" id="{873EC2D5-3B28-44C1-B6D3-9C8A3E21118A}"/>
              </a:ext>
            </a:extLst>
          </p:cNvPr>
          <p:cNvGraphicFramePr/>
          <p:nvPr>
            <p:custDataLst>
              <p:tags r:id="rId16"/>
            </p:custDataLst>
            <p:extLst>
              <p:ext uri="{D42A27DB-BD31-4B8C-83A1-F6EECF244321}">
                <p14:modId xmlns:p14="http://schemas.microsoft.com/office/powerpoint/2010/main" val="4010688674"/>
              </p:ext>
            </p:extLst>
          </p:nvPr>
        </p:nvGraphicFramePr>
        <p:xfrm>
          <a:off x="3592513" y="2909888"/>
          <a:ext cx="1722437" cy="3055937"/>
        </p:xfrm>
        <a:graphic>
          <a:graphicData uri="http://schemas.openxmlformats.org/drawingml/2006/chart">
            <c:chart xmlns:c="http://schemas.openxmlformats.org/drawingml/2006/chart" xmlns:r="http://schemas.openxmlformats.org/officeDocument/2006/relationships" r:id="rId43"/>
          </a:graphicData>
        </a:graphic>
      </p:graphicFrame>
      <p:sp>
        <p:nvSpPr>
          <p:cNvPr id="303" name="テキスト プレースホルダ 9">
            <a:extLst>
              <a:ext uri="{FF2B5EF4-FFF2-40B4-BE49-F238E27FC236}">
                <a16:creationId xmlns:a16="http://schemas.microsoft.com/office/drawing/2014/main" id="{0BA368F0-191E-4A4E-9077-E29B89DCAB10}"/>
              </a:ext>
            </a:extLst>
          </p:cNvPr>
          <p:cNvSpPr>
            <a:spLocks noGrp="1"/>
          </p:cNvSpPr>
          <p:nvPr>
            <p:custDataLst>
              <p:tags r:id="rId17"/>
            </p:custDataLst>
          </p:nvPr>
        </p:nvSpPr>
        <p:spPr bwMode="gray">
          <a:xfrm>
            <a:off x="4187825"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097074-6120-4FD7-B151-C7212A3B54DB}" type="datetime'''''''''''''''''''''''''''''5'''''''''''''''''''''''''''''''''">
              <a:rPr lang="en-IN" altLang="en-US" sz="1400" smtClean="0">
                <a:effectLst/>
              </a:rPr>
              <a:pPr marL="0" indent="0" algn="ctr">
                <a:spcBef>
                  <a:spcPct val="0"/>
                </a:spcBef>
                <a:buNone/>
              </a:pPr>
              <a:t>5</a:t>
            </a:fld>
            <a:endParaRPr lang="en-IN" altLang="ja-JP" sz="1400" dirty="0"/>
          </a:p>
        </p:txBody>
      </p:sp>
      <p:sp>
        <p:nvSpPr>
          <p:cNvPr id="298" name="テキスト プレースホルダ 9">
            <a:extLst>
              <a:ext uri="{FF2B5EF4-FFF2-40B4-BE49-F238E27FC236}">
                <a16:creationId xmlns:a16="http://schemas.microsoft.com/office/drawing/2014/main" id="{C3AA3ED9-1F1D-4759-BBA4-0883AA94196B}"/>
              </a:ext>
            </a:extLst>
          </p:cNvPr>
          <p:cNvSpPr>
            <a:spLocks noGrp="1"/>
          </p:cNvSpPr>
          <p:nvPr>
            <p:custDataLst>
              <p:tags r:id="rId18"/>
            </p:custDataLst>
          </p:nvPr>
        </p:nvSpPr>
        <p:spPr bwMode="auto">
          <a:xfrm>
            <a:off x="44989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AC6D3C-0743-4563-8499-75223D5816F0}" type="datetime'''''''2''''''01''''4'''''''''''''''''''''''''''''''''''''''''">
              <a:rPr lang="en-IN" altLang="en-US" sz="1000" smtClean="0"/>
              <a:pPr/>
              <a:t>2014</a:t>
            </a:fld>
            <a:endParaRPr lang="ja-JP" altLang="en-US" sz="1000" dirty="0"/>
          </a:p>
        </p:txBody>
      </p:sp>
      <p:sp>
        <p:nvSpPr>
          <p:cNvPr id="312" name="テキスト プレースホルダ 9">
            <a:extLst>
              <a:ext uri="{FF2B5EF4-FFF2-40B4-BE49-F238E27FC236}">
                <a16:creationId xmlns:a16="http://schemas.microsoft.com/office/drawing/2014/main" id="{D10F8248-4171-485B-BC9A-889981C3236D}"/>
              </a:ext>
            </a:extLst>
          </p:cNvPr>
          <p:cNvSpPr>
            <a:spLocks noGrp="1"/>
          </p:cNvSpPr>
          <p:nvPr>
            <p:custDataLst>
              <p:tags r:id="rId19"/>
            </p:custDataLst>
          </p:nvPr>
        </p:nvSpPr>
        <p:spPr bwMode="gray">
          <a:xfrm>
            <a:off x="4570413" y="2957513"/>
            <a:ext cx="149225"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788D9B-044C-4C87-A724-96B018946587}" type="datetime'''''''''''''''''''''''''''''''''''''''''''''''''''''''5'''">
              <a:rPr lang="en-IN" altLang="en-US" sz="1400" smtClean="0">
                <a:effectLst/>
              </a:rPr>
              <a:pPr marL="0" indent="0" algn="ctr">
                <a:spcBef>
                  <a:spcPct val="0"/>
                </a:spcBef>
                <a:buNone/>
              </a:pPr>
              <a:t>5</a:t>
            </a:fld>
            <a:endParaRPr lang="en-IN" altLang="ja-JP" sz="1400" dirty="0"/>
          </a:p>
        </p:txBody>
      </p:sp>
      <p:sp>
        <p:nvSpPr>
          <p:cNvPr id="296" name="テキスト プレースホルダ 9">
            <a:extLst>
              <a:ext uri="{FF2B5EF4-FFF2-40B4-BE49-F238E27FC236}">
                <a16:creationId xmlns:a16="http://schemas.microsoft.com/office/drawing/2014/main" id="{A4709FF6-CDD1-4E3C-8212-EB9B24207D01}"/>
              </a:ext>
            </a:extLst>
          </p:cNvPr>
          <p:cNvSpPr>
            <a:spLocks noGrp="1"/>
          </p:cNvSpPr>
          <p:nvPr>
            <p:custDataLst>
              <p:tags r:id="rId20"/>
            </p:custDataLst>
          </p:nvPr>
        </p:nvSpPr>
        <p:spPr bwMode="auto">
          <a:xfrm>
            <a:off x="411638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83400C-D048-4D5F-A85E-C7DA3899F7F7}" type="datetime'''2''''0''0''''''''''''8'''''''''''''''''''''''''''''">
              <a:rPr lang="en-IN" altLang="en-US" sz="1000" smtClean="0"/>
              <a:pPr/>
              <a:t>2008</a:t>
            </a:fld>
            <a:endParaRPr lang="ja-JP" altLang="en-US" sz="1000" dirty="0"/>
          </a:p>
        </p:txBody>
      </p:sp>
      <p:graphicFrame>
        <p:nvGraphicFramePr>
          <p:cNvPr id="418" name="Chart 417">
            <a:extLst>
              <a:ext uri="{FF2B5EF4-FFF2-40B4-BE49-F238E27FC236}">
                <a16:creationId xmlns:a16="http://schemas.microsoft.com/office/drawing/2014/main" id="{3E2BAADD-4F58-4264-8CAB-0BB345EFF499}"/>
              </a:ext>
            </a:extLst>
          </p:cNvPr>
          <p:cNvGraphicFramePr/>
          <p:nvPr>
            <p:custDataLst>
              <p:tags r:id="rId21"/>
            </p:custDataLst>
            <p:extLst>
              <p:ext uri="{D42A27DB-BD31-4B8C-83A1-F6EECF244321}">
                <p14:modId xmlns:p14="http://schemas.microsoft.com/office/powerpoint/2010/main" val="299798684"/>
              </p:ext>
            </p:extLst>
          </p:nvPr>
        </p:nvGraphicFramePr>
        <p:xfrm>
          <a:off x="4806950" y="2732088"/>
          <a:ext cx="1230313" cy="3233737"/>
        </p:xfrm>
        <a:graphic>
          <a:graphicData uri="http://schemas.openxmlformats.org/drawingml/2006/chart">
            <c:chart xmlns:c="http://schemas.openxmlformats.org/drawingml/2006/chart" xmlns:r="http://schemas.openxmlformats.org/officeDocument/2006/relationships" r:id="rId44"/>
          </a:graphicData>
        </a:graphic>
      </p:graphicFrame>
      <p:cxnSp>
        <p:nvCxnSpPr>
          <p:cNvPr id="355" name="Straight Connector 354">
            <a:extLst>
              <a:ext uri="{FF2B5EF4-FFF2-40B4-BE49-F238E27FC236}">
                <a16:creationId xmlns:a16="http://schemas.microsoft.com/office/drawing/2014/main" id="{1E405BFB-77F4-41F6-9DE3-35B639165351}"/>
              </a:ext>
            </a:extLst>
          </p:cNvPr>
          <p:cNvCxnSpPr/>
          <p:nvPr>
            <p:custDataLst>
              <p:tags r:id="rId22"/>
            </p:custDataLst>
          </p:nvPr>
        </p:nvCxnSpPr>
        <p:spPr bwMode="auto">
          <a:xfrm>
            <a:off x="5345113" y="2967038"/>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2" name="テキスト プレースホルダ 9">
            <a:extLst>
              <a:ext uri="{FF2B5EF4-FFF2-40B4-BE49-F238E27FC236}">
                <a16:creationId xmlns:a16="http://schemas.microsoft.com/office/drawing/2014/main" id="{379FBC0C-65D0-4762-A69B-94BDC4D150FF}"/>
              </a:ext>
            </a:extLst>
          </p:cNvPr>
          <p:cNvSpPr>
            <a:spLocks noGrp="1"/>
          </p:cNvSpPr>
          <p:nvPr>
            <p:custDataLst>
              <p:tags r:id="rId23"/>
            </p:custDataLst>
          </p:nvPr>
        </p:nvSpPr>
        <p:spPr bwMode="gray">
          <a:xfrm>
            <a:off x="5126038" y="4605338"/>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473F1-FD50-4F27-987E-29E260EBE930}" type="datetime'''''''''''''''''''''''''''''''''''''8''1'''">
              <a:rPr lang="en-IN" altLang="en-US" sz="1400" smtClean="0">
                <a:solidFill>
                  <a:schemeClr val="bg1"/>
                </a:solidFill>
                <a:effectLst/>
              </a:rPr>
              <a:pPr/>
              <a:t>81</a:t>
            </a:fld>
            <a:endParaRPr lang="en-IN" altLang="ja-JP" sz="1400" dirty="0">
              <a:solidFill>
                <a:schemeClr val="bg1"/>
              </a:solidFill>
            </a:endParaRPr>
          </a:p>
        </p:txBody>
      </p:sp>
      <p:sp>
        <p:nvSpPr>
          <p:cNvPr id="372" name="テキスト プレースホルダ 9">
            <a:extLst>
              <a:ext uri="{FF2B5EF4-FFF2-40B4-BE49-F238E27FC236}">
                <a16:creationId xmlns:a16="http://schemas.microsoft.com/office/drawing/2014/main" id="{A5910DB2-6BC0-41C3-B51D-1309B134940B}"/>
              </a:ext>
            </a:extLst>
          </p:cNvPr>
          <p:cNvSpPr>
            <a:spLocks noGrp="1"/>
          </p:cNvSpPr>
          <p:nvPr>
            <p:custDataLst>
              <p:tags r:id="rId24"/>
            </p:custDataLst>
          </p:nvPr>
        </p:nvSpPr>
        <p:spPr bwMode="gray">
          <a:xfrm>
            <a:off x="5519738" y="2914651"/>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89F5BD-7DFC-4E39-B512-C17610F4613E}" type="datetime'''''''''''''''''''2'''''''''''''''''''''''''''''''''''''''''">
              <a:rPr lang="en-IN" altLang="en-US" sz="1400" smtClean="0">
                <a:effectLst/>
              </a:rPr>
              <a:pPr marL="0" indent="0" algn="ctr">
                <a:spcBef>
                  <a:spcPct val="0"/>
                </a:spcBef>
                <a:buNone/>
              </a:pPr>
              <a:t>2</a:t>
            </a:fld>
            <a:endParaRPr lang="en-IN" altLang="ja-JP" sz="1400" dirty="0"/>
          </a:p>
        </p:txBody>
      </p:sp>
      <p:sp>
        <p:nvSpPr>
          <p:cNvPr id="318" name="テキスト プレースホルダ 9">
            <a:extLst>
              <a:ext uri="{FF2B5EF4-FFF2-40B4-BE49-F238E27FC236}">
                <a16:creationId xmlns:a16="http://schemas.microsoft.com/office/drawing/2014/main" id="{87922276-9AC9-4EC5-A366-89C996664BD8}"/>
              </a:ext>
            </a:extLst>
          </p:cNvPr>
          <p:cNvSpPr>
            <a:spLocks noGrp="1"/>
          </p:cNvSpPr>
          <p:nvPr>
            <p:custDataLst>
              <p:tags r:id="rId25"/>
            </p:custDataLst>
          </p:nvPr>
        </p:nvSpPr>
        <p:spPr bwMode="auto">
          <a:xfrm>
            <a:off x="5103813"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23DA42-C02A-44FD-BD1A-D46FF79CD8D3}" type="datetime'''''''2''''''''''''''''008'''''''''''">
              <a:rPr lang="en-IN" altLang="en-US" sz="1000" smtClean="0"/>
              <a:pPr/>
              <a:t>2008</a:t>
            </a:fld>
            <a:endParaRPr lang="ja-JP" altLang="en-US" sz="1000" dirty="0"/>
          </a:p>
        </p:txBody>
      </p:sp>
      <p:sp>
        <p:nvSpPr>
          <p:cNvPr id="407" name="テキスト プレースホルダ 9">
            <a:extLst>
              <a:ext uri="{FF2B5EF4-FFF2-40B4-BE49-F238E27FC236}">
                <a16:creationId xmlns:a16="http://schemas.microsoft.com/office/drawing/2014/main" id="{C5C729C2-41C1-4CC6-AB1C-FF52961FEB1A}"/>
              </a:ext>
            </a:extLst>
          </p:cNvPr>
          <p:cNvSpPr>
            <a:spLocks noGrp="1"/>
          </p:cNvSpPr>
          <p:nvPr>
            <p:custDataLst>
              <p:tags r:id="rId26"/>
            </p:custDataLst>
          </p:nvPr>
        </p:nvSpPr>
        <p:spPr bwMode="gray">
          <a:xfrm>
            <a:off x="5175250" y="3000376"/>
            <a:ext cx="149225" cy="212725"/>
          </a:xfrm>
          <a:prstGeom prst="rect">
            <a:avLst/>
          </a:prstGeom>
          <a:solidFill>
            <a:srgbClr val="F3F3F3"/>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F747E2-04E2-4F86-BB0D-E61AF5B4098E}" type="datetime'''''''''''''''''''''''4'''''''''''''''''''''''''''''''">
              <a:rPr lang="en-IN" altLang="en-US" sz="1400" smtClean="0">
                <a:effectLst/>
              </a:rPr>
              <a:pPr marL="0" indent="0" algn="ctr">
                <a:spcBef>
                  <a:spcPct val="0"/>
                </a:spcBef>
                <a:buNone/>
              </a:pPr>
              <a:t>4</a:t>
            </a:fld>
            <a:endParaRPr lang="en-IN" altLang="ja-JP" sz="1400" dirty="0"/>
          </a:p>
        </p:txBody>
      </p:sp>
      <p:sp>
        <p:nvSpPr>
          <p:cNvPr id="334" name="テキスト プレースホルダ 9">
            <a:extLst>
              <a:ext uri="{FF2B5EF4-FFF2-40B4-BE49-F238E27FC236}">
                <a16:creationId xmlns:a16="http://schemas.microsoft.com/office/drawing/2014/main" id="{097755A1-DBD2-430D-8F4F-59EBDCFF7FC7}"/>
              </a:ext>
            </a:extLst>
          </p:cNvPr>
          <p:cNvSpPr>
            <a:spLocks noGrp="1"/>
          </p:cNvSpPr>
          <p:nvPr>
            <p:custDataLst>
              <p:tags r:id="rId27"/>
            </p:custDataLst>
          </p:nvPr>
        </p:nvSpPr>
        <p:spPr bwMode="gray">
          <a:xfrm>
            <a:off x="5470525" y="4562475"/>
            <a:ext cx="247650" cy="212725"/>
          </a:xfrm>
          <a:prstGeom prst="rect">
            <a:avLst/>
          </a:prstGeom>
          <a:solidFill>
            <a:srgbClr val="3399CC"/>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6A143E-5828-4E7B-9DC0-E354FC900ABA}" type="datetime'''''''''''8''''''''''''''''''''4'''''''''''''''">
              <a:rPr lang="en-IN" altLang="en-US" sz="1400" smtClean="0">
                <a:solidFill>
                  <a:schemeClr val="bg1"/>
                </a:solidFill>
                <a:effectLst/>
              </a:rPr>
              <a:pPr/>
              <a:t>84</a:t>
            </a:fld>
            <a:endParaRPr lang="en-IN" altLang="ja-JP" sz="1400" dirty="0">
              <a:solidFill>
                <a:schemeClr val="bg1"/>
              </a:solidFill>
            </a:endParaRPr>
          </a:p>
        </p:txBody>
      </p:sp>
      <p:sp>
        <p:nvSpPr>
          <p:cNvPr id="358" name="テキスト プレースホルダ 9">
            <a:extLst>
              <a:ext uri="{FF2B5EF4-FFF2-40B4-BE49-F238E27FC236}">
                <a16:creationId xmlns:a16="http://schemas.microsoft.com/office/drawing/2014/main" id="{385C2702-CE86-4678-8AD8-D4F8D9FC8789}"/>
              </a:ext>
            </a:extLst>
          </p:cNvPr>
          <p:cNvSpPr>
            <a:spLocks noGrp="1"/>
          </p:cNvSpPr>
          <p:nvPr>
            <p:custDataLst>
              <p:tags r:id="rId28"/>
            </p:custDataLst>
          </p:nvPr>
        </p:nvSpPr>
        <p:spPr bwMode="gray">
          <a:xfrm>
            <a:off x="5126038" y="32464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0D6832-6AC2-4078-99CA-DC936EAED2D6}" type="datetime'1''''''3'''''''">
              <a:rPr lang="en-IN" altLang="en-US" sz="1400" smtClean="0">
                <a:effectLst/>
              </a:rPr>
              <a:pPr/>
              <a:t>13</a:t>
            </a:fld>
            <a:endParaRPr lang="en-IN" altLang="ja-JP" sz="1400" dirty="0"/>
          </a:p>
        </p:txBody>
      </p:sp>
      <p:sp>
        <p:nvSpPr>
          <p:cNvPr id="321" name="テキスト プレースホルダ 9">
            <a:extLst>
              <a:ext uri="{FF2B5EF4-FFF2-40B4-BE49-F238E27FC236}">
                <a16:creationId xmlns:a16="http://schemas.microsoft.com/office/drawing/2014/main" id="{251B4892-EB7D-47FB-9F21-0FE36B7BB345}"/>
              </a:ext>
            </a:extLst>
          </p:cNvPr>
          <p:cNvSpPr>
            <a:spLocks noGrp="1"/>
          </p:cNvSpPr>
          <p:nvPr>
            <p:custDataLst>
              <p:tags r:id="rId29"/>
            </p:custDataLst>
          </p:nvPr>
        </p:nvSpPr>
        <p:spPr bwMode="gray">
          <a:xfrm>
            <a:off x="5470525" y="3144838"/>
            <a:ext cx="247650" cy="212725"/>
          </a:xfrm>
          <a:prstGeom prst="rect">
            <a:avLst/>
          </a:prstGeom>
          <a:solidFill>
            <a:srgbClr val="C0E6F4"/>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C582D-2745-4F44-9161-1E8690044151}" type="datetime'''''''''''''1''''''''''''''4'''''''''''">
              <a:rPr lang="en-IN" altLang="en-US" sz="1400" smtClean="0">
                <a:effectLst/>
              </a:rPr>
              <a:pPr/>
              <a:t>14</a:t>
            </a:fld>
            <a:endParaRPr lang="en-IN" altLang="ja-JP" sz="1400" dirty="0"/>
          </a:p>
        </p:txBody>
      </p:sp>
      <p:sp>
        <p:nvSpPr>
          <p:cNvPr id="319" name="テキスト プレースホルダ 9">
            <a:extLst>
              <a:ext uri="{FF2B5EF4-FFF2-40B4-BE49-F238E27FC236}">
                <a16:creationId xmlns:a16="http://schemas.microsoft.com/office/drawing/2014/main" id="{1778F9BA-345E-479B-B804-40B11784E310}"/>
              </a:ext>
            </a:extLst>
          </p:cNvPr>
          <p:cNvSpPr>
            <a:spLocks noGrp="1"/>
          </p:cNvSpPr>
          <p:nvPr>
            <p:custDataLst>
              <p:tags r:id="rId30"/>
            </p:custDataLst>
          </p:nvPr>
        </p:nvSpPr>
        <p:spPr bwMode="auto">
          <a:xfrm>
            <a:off x="54483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CF42A7-680E-408A-A44D-06B072F2079D}" type="datetime'''''''''''''''''20''''''''''1''''''''''''4'''''''''''''''''">
              <a:rPr lang="en-IN" altLang="en-US" sz="1000" smtClean="0"/>
              <a:pPr/>
              <a:t>2014</a:t>
            </a:fld>
            <a:endParaRPr lang="ja-JP" altLang="en-US" sz="1000" dirty="0"/>
          </a:p>
        </p:txBody>
      </p:sp>
      <p:graphicFrame>
        <p:nvGraphicFramePr>
          <p:cNvPr id="438" name="Chart 437">
            <a:extLst>
              <a:ext uri="{FF2B5EF4-FFF2-40B4-BE49-F238E27FC236}">
                <a16:creationId xmlns:a16="http://schemas.microsoft.com/office/drawing/2014/main" id="{464E4F7C-B3FD-4F77-849B-34AB259DD43E}"/>
              </a:ext>
            </a:extLst>
          </p:cNvPr>
          <p:cNvGraphicFramePr/>
          <p:nvPr>
            <p:custDataLst>
              <p:tags r:id="rId31"/>
            </p:custDataLst>
            <p:extLst>
              <p:ext uri="{D42A27DB-BD31-4B8C-83A1-F6EECF244321}">
                <p14:modId xmlns:p14="http://schemas.microsoft.com/office/powerpoint/2010/main" val="2180651391"/>
              </p:ext>
            </p:extLst>
          </p:nvPr>
        </p:nvGraphicFramePr>
        <p:xfrm>
          <a:off x="6481763" y="2909888"/>
          <a:ext cx="1722437" cy="3055937"/>
        </p:xfrm>
        <a:graphic>
          <a:graphicData uri="http://schemas.openxmlformats.org/drawingml/2006/chart">
            <c:chart xmlns:c="http://schemas.openxmlformats.org/drawingml/2006/chart" xmlns:r="http://schemas.openxmlformats.org/officeDocument/2006/relationships" r:id="rId45"/>
          </a:graphicData>
        </a:graphic>
      </p:graphicFrame>
      <p:sp>
        <p:nvSpPr>
          <p:cNvPr id="326" name="テキスト プレースホルダ 9">
            <a:extLst>
              <a:ext uri="{FF2B5EF4-FFF2-40B4-BE49-F238E27FC236}">
                <a16:creationId xmlns:a16="http://schemas.microsoft.com/office/drawing/2014/main" id="{EAB358CC-A184-4773-B7FA-3A4192AF110F}"/>
              </a:ext>
            </a:extLst>
          </p:cNvPr>
          <p:cNvSpPr>
            <a:spLocks noGrp="1"/>
          </p:cNvSpPr>
          <p:nvPr>
            <p:custDataLst>
              <p:tags r:id="rId32"/>
            </p:custDataLst>
          </p:nvPr>
        </p:nvSpPr>
        <p:spPr bwMode="auto">
          <a:xfrm>
            <a:off x="7013575"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66FABF-1E6F-417C-9B3B-27C7E3FB489C}" type="datetime'''''''''''''''''''''''''''2''''''''''''''0''0''''''''8'">
              <a:rPr lang="en-IN" altLang="en-US" sz="1000" smtClean="0"/>
              <a:pPr/>
              <a:t>2008</a:t>
            </a:fld>
            <a:endParaRPr lang="ja-JP" altLang="en-US" sz="1000" dirty="0"/>
          </a:p>
        </p:txBody>
      </p:sp>
      <p:sp>
        <p:nvSpPr>
          <p:cNvPr id="328" name="テキスト プレースホルダ 9">
            <a:extLst>
              <a:ext uri="{FF2B5EF4-FFF2-40B4-BE49-F238E27FC236}">
                <a16:creationId xmlns:a16="http://schemas.microsoft.com/office/drawing/2014/main" id="{382E2609-4A17-437E-824C-D912CE49C5D3}"/>
              </a:ext>
            </a:extLst>
          </p:cNvPr>
          <p:cNvSpPr>
            <a:spLocks noGrp="1"/>
          </p:cNvSpPr>
          <p:nvPr>
            <p:custDataLst>
              <p:tags r:id="rId33"/>
            </p:custDataLst>
          </p:nvPr>
        </p:nvSpPr>
        <p:spPr bwMode="auto">
          <a:xfrm>
            <a:off x="73787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F08DB0-0B48-49C5-864F-EC5251A97F69}" type="datetime'''2''0''''''''''''''''''''''''''''''''''''''''1''''4'''''''''">
              <a:rPr lang="en-IN" altLang="en-US" sz="1000" smtClean="0"/>
              <a:pPr/>
              <a:t>2014</a:t>
            </a:fld>
            <a:endParaRPr lang="ja-JP" altLang="en-US" sz="1000" dirty="0"/>
          </a:p>
        </p:txBody>
      </p:sp>
      <p:graphicFrame>
        <p:nvGraphicFramePr>
          <p:cNvPr id="420" name="Chart 419">
            <a:extLst>
              <a:ext uri="{FF2B5EF4-FFF2-40B4-BE49-F238E27FC236}">
                <a16:creationId xmlns:a16="http://schemas.microsoft.com/office/drawing/2014/main" id="{15E2F324-CF3F-4BD9-AAF8-86ED83C6E96B}"/>
              </a:ext>
            </a:extLst>
          </p:cNvPr>
          <p:cNvGraphicFramePr/>
          <p:nvPr>
            <p:custDataLst>
              <p:tags r:id="rId34"/>
            </p:custDataLst>
            <p:extLst>
              <p:ext uri="{D42A27DB-BD31-4B8C-83A1-F6EECF244321}">
                <p14:modId xmlns:p14="http://schemas.microsoft.com/office/powerpoint/2010/main" val="2039918862"/>
              </p:ext>
            </p:extLst>
          </p:nvPr>
        </p:nvGraphicFramePr>
        <p:xfrm>
          <a:off x="5511800" y="2909888"/>
          <a:ext cx="1722438" cy="3055937"/>
        </p:xfrm>
        <a:graphic>
          <a:graphicData uri="http://schemas.openxmlformats.org/drawingml/2006/chart">
            <c:chart xmlns:c="http://schemas.openxmlformats.org/drawingml/2006/chart" xmlns:r="http://schemas.openxmlformats.org/officeDocument/2006/relationships" r:id="rId46"/>
          </a:graphicData>
        </a:graphic>
      </p:graphicFrame>
      <p:sp>
        <p:nvSpPr>
          <p:cNvPr id="414" name="テキスト プレースホルダ 9">
            <a:extLst>
              <a:ext uri="{FF2B5EF4-FFF2-40B4-BE49-F238E27FC236}">
                <a16:creationId xmlns:a16="http://schemas.microsoft.com/office/drawing/2014/main" id="{F2909AEA-6AD1-4306-9E82-4E8AD01A5BCE}"/>
              </a:ext>
            </a:extLst>
          </p:cNvPr>
          <p:cNvSpPr>
            <a:spLocks noGrp="1"/>
          </p:cNvSpPr>
          <p:nvPr>
            <p:custDataLst>
              <p:tags r:id="rId35"/>
            </p:custDataLst>
          </p:nvPr>
        </p:nvSpPr>
        <p:spPr bwMode="auto">
          <a:xfrm>
            <a:off x="6045200"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3998DC-6FC5-46A2-BE29-45CB0702CEF2}" type="datetime'2''''''''''''''''''''''''0''''''''''08'''''''''''''''">
              <a:rPr lang="en-IN" altLang="en-US" sz="1000" smtClean="0"/>
              <a:pPr/>
              <a:t>2008</a:t>
            </a:fld>
            <a:endParaRPr lang="ja-JP" altLang="en-US" sz="1000" dirty="0"/>
          </a:p>
        </p:txBody>
      </p:sp>
      <p:sp>
        <p:nvSpPr>
          <p:cNvPr id="413" name="テキスト プレースホルダ 9">
            <a:extLst>
              <a:ext uri="{FF2B5EF4-FFF2-40B4-BE49-F238E27FC236}">
                <a16:creationId xmlns:a16="http://schemas.microsoft.com/office/drawing/2014/main" id="{D910239F-9792-478F-B59D-459B8E7CA038}"/>
              </a:ext>
            </a:extLst>
          </p:cNvPr>
          <p:cNvSpPr>
            <a:spLocks noGrp="1"/>
          </p:cNvSpPr>
          <p:nvPr>
            <p:custDataLst>
              <p:tags r:id="rId36"/>
            </p:custDataLst>
          </p:nvPr>
        </p:nvSpPr>
        <p:spPr bwMode="auto">
          <a:xfrm>
            <a:off x="6408738" y="59261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1FE999-BBDA-4032-9EBA-BECD832830D0}" type="datetime'''2''''''''''''''''''0''''''1''''''4'''''''''">
              <a:rPr lang="en-IN" altLang="en-US" sz="1000" smtClean="0"/>
              <a:pPr/>
              <a:t>2014</a:t>
            </a:fld>
            <a:endParaRPr lang="ja-JP" altLang="en-US" sz="1000" dirty="0"/>
          </a:p>
        </p:txBody>
      </p:sp>
      <p:sp>
        <p:nvSpPr>
          <p:cNvPr id="421" name="TextBox 420">
            <a:extLst>
              <a:ext uri="{FF2B5EF4-FFF2-40B4-BE49-F238E27FC236}">
                <a16:creationId xmlns:a16="http://schemas.microsoft.com/office/drawing/2014/main" id="{885A2792-59B0-4694-AFFB-2F566E26769B}"/>
              </a:ext>
            </a:extLst>
          </p:cNvPr>
          <p:cNvSpPr txBox="1"/>
          <p:nvPr/>
        </p:nvSpPr>
        <p:spPr>
          <a:xfrm>
            <a:off x="3962400"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慢性的貧困層</a:t>
            </a:r>
            <a:endParaRPr lang="en-IN" sz="1000" dirty="0"/>
          </a:p>
        </p:txBody>
      </p:sp>
      <p:sp>
        <p:nvSpPr>
          <p:cNvPr id="422" name="TextBox 421">
            <a:extLst>
              <a:ext uri="{FF2B5EF4-FFF2-40B4-BE49-F238E27FC236}">
                <a16:creationId xmlns:a16="http://schemas.microsoft.com/office/drawing/2014/main" id="{293BDC73-B288-4F16-8DDA-9F37E67905A6}"/>
              </a:ext>
            </a:extLst>
          </p:cNvPr>
          <p:cNvSpPr txBox="1"/>
          <p:nvPr/>
        </p:nvSpPr>
        <p:spPr>
          <a:xfrm>
            <a:off x="4952997" y="6077664"/>
            <a:ext cx="104775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000" dirty="0"/>
              <a:t>Transient</a:t>
            </a:r>
            <a:r>
              <a:rPr lang="ja-JP" altLang="en-US" sz="1000" dirty="0"/>
              <a:t> </a:t>
            </a:r>
            <a:r>
              <a:rPr lang="en-US" altLang="ja-JP" sz="1000" dirty="0"/>
              <a:t>poor</a:t>
            </a:r>
            <a:endParaRPr lang="en-IN" sz="1000" dirty="0"/>
          </a:p>
        </p:txBody>
      </p:sp>
      <p:sp>
        <p:nvSpPr>
          <p:cNvPr id="423" name="TextBox 422">
            <a:extLst>
              <a:ext uri="{FF2B5EF4-FFF2-40B4-BE49-F238E27FC236}">
                <a16:creationId xmlns:a16="http://schemas.microsoft.com/office/drawing/2014/main" id="{A1CFAFB1-1B7B-4E82-9561-F5C5BFD79D3D}"/>
              </a:ext>
            </a:extLst>
          </p:cNvPr>
          <p:cNvSpPr txBox="1"/>
          <p:nvPr/>
        </p:nvSpPr>
        <p:spPr>
          <a:xfrm>
            <a:off x="5943594" y="6081223"/>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Vulnerable</a:t>
            </a:r>
            <a:endParaRPr lang="en-IN" sz="1000" dirty="0"/>
          </a:p>
        </p:txBody>
      </p:sp>
      <p:sp>
        <p:nvSpPr>
          <p:cNvPr id="424" name="TextBox 423">
            <a:extLst>
              <a:ext uri="{FF2B5EF4-FFF2-40B4-BE49-F238E27FC236}">
                <a16:creationId xmlns:a16="http://schemas.microsoft.com/office/drawing/2014/main" id="{C6B1FB45-34B9-4120-A29E-6690BC8F7C5A}"/>
              </a:ext>
            </a:extLst>
          </p:cNvPr>
          <p:cNvSpPr txBox="1"/>
          <p:nvPr/>
        </p:nvSpPr>
        <p:spPr>
          <a:xfrm>
            <a:off x="6997703" y="6074105"/>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中産階級</a:t>
            </a:r>
            <a:endParaRPr lang="en-IN" sz="1000" dirty="0"/>
          </a:p>
        </p:txBody>
      </p:sp>
      <p:sp>
        <p:nvSpPr>
          <p:cNvPr id="425" name="TextBox 424">
            <a:extLst>
              <a:ext uri="{FF2B5EF4-FFF2-40B4-BE49-F238E27FC236}">
                <a16:creationId xmlns:a16="http://schemas.microsoft.com/office/drawing/2014/main" id="{8B597C4E-3473-4048-8D17-F8BFF2DB258C}"/>
              </a:ext>
            </a:extLst>
          </p:cNvPr>
          <p:cNvSpPr txBox="1"/>
          <p:nvPr/>
        </p:nvSpPr>
        <p:spPr>
          <a:xfrm>
            <a:off x="7924788" y="6088341"/>
            <a:ext cx="958849"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富裕層</a:t>
            </a:r>
            <a:endParaRPr lang="en-IN" sz="1000" dirty="0"/>
          </a:p>
        </p:txBody>
      </p:sp>
      <p:sp>
        <p:nvSpPr>
          <p:cNvPr id="52" name="テキスト プレースホルダー 1">
            <a:extLst>
              <a:ext uri="{FF2B5EF4-FFF2-40B4-BE49-F238E27FC236}">
                <a16:creationId xmlns:a16="http://schemas.microsoft.com/office/drawing/2014/main" id="{8791B138-02F8-4DE1-8C2C-3AB322E37DE4}"/>
              </a:ext>
            </a:extLst>
          </p:cNvPr>
          <p:cNvSpPr txBox="1">
            <a:spLocks/>
          </p:cNvSpPr>
          <p:nvPr/>
        </p:nvSpPr>
        <p:spPr>
          <a:xfrm>
            <a:off x="4095130" y="2450632"/>
            <a:ext cx="2160240" cy="18575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marL="0" indent="0">
              <a:buNone/>
            </a:pPr>
            <a:r>
              <a:rPr lang="ja-JP" altLang="en-US" sz="1200" u="sng" dirty="0"/>
              <a:t>各層における人種構成比の推移</a:t>
            </a:r>
            <a:endParaRPr lang="en-US" altLang="ja-JP" sz="1200" u="sng" dirty="0"/>
          </a:p>
        </p:txBody>
      </p:sp>
    </p:spTree>
    <p:extLst>
      <p:ext uri="{BB962C8B-B14F-4D97-AF65-F5344CB8AC3E}">
        <p14:creationId xmlns:p14="http://schemas.microsoft.com/office/powerpoint/2010/main" val="30220269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3.33437231803409428466E+00&quot;&gt;&lt;m_msothmcolidx val=&quot;0&quot;/&gt;&lt;m_rgb r=&quot;C0&quot; g=&quot;E6&quot; b=&quot;F4&quot;/&gt;&lt;/elem&gt;&lt;elem m_fUsage=&quot;2.78061579321276219900E+00&quot;&gt;&lt;m_msothmcolidx val=&quot;0&quot;/&gt;&lt;m_rgb r=&quot;80&quot; g=&quot;CC&quot; b=&quot;E8&quot;/&gt;&lt;/elem&gt;&lt;elem m_fUsage=&quot;2.61158911929379167205E+00&quot;&gt;&lt;m_msothmcolidx val=&quot;0&quot;/&gt;&lt;m_rgb r=&quot;1F&quot; g=&quot;49&quot; b=&quot;7D&quot;/&gt;&lt;/elem&gt;&lt;elem m_fUsage=&quot;5.28503380574264602920E-01&quot;&gt;&lt;m_msothmcolidx val=&quot;0&quot;/&gt;&lt;m_rgb r=&quot;33&quot; g=&quot;99&quot; b=&quot;CC&quot;/&gt;&lt;/elem&gt;&lt;elem m_fUsage=&quot;3.91597165626241749958E-01&quot;&gt;&lt;m_msothmcolidx val=&quot;0&quot;/&gt;&lt;m_rgb r=&quot;EC&quot; g=&quot;E5&quot; b=&quot;F4&quot;/&gt;&lt;/elem&gt;&lt;elem m_fUsage=&quot;3.53316837786588178183E-01&quot;&gt;&lt;m_msothmcolidx val=&quot;0&quot;/&gt;&lt;m_rgb r=&quot;F3&quot; g=&quot;F3&quot; b=&quot;F3&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5.xml><?xml version="1.0" encoding="utf-8"?>
<p:tagLst xmlns:a="http://schemas.openxmlformats.org/drawingml/2006/main" xmlns:r="http://schemas.openxmlformats.org/officeDocument/2006/relationships" xmlns:p="http://schemas.openxmlformats.org/presentationml/2006/main">
  <p:tag name="NAME" val="4. Footno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NAME" val="4. Footnote"/>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3.xml><?xml version="1.0" encoding="utf-8"?>
<p:tagLst xmlns:a="http://schemas.openxmlformats.org/drawingml/2006/main" xmlns:r="http://schemas.openxmlformats.org/officeDocument/2006/relationships" xmlns:p="http://schemas.openxmlformats.org/presentationml/2006/main">
  <p:tag name="NAME" val="4. Footnote"/>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5.xml><?xml version="1.0" encoding="utf-8"?>
<p:tagLst xmlns:a="http://schemas.openxmlformats.org/drawingml/2006/main" xmlns:r="http://schemas.openxmlformats.org/officeDocument/2006/relationships" xmlns:p="http://schemas.openxmlformats.org/presentationml/2006/main">
  <p:tag name="NAME" val="4. Footno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iWTpGFEiaz937088boKB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eDjDMg4Th_K9ltvwLT7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BTwE96AelLHAUnY4z5_l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Pggc6xQ2bJwcbSmSCM12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mLwOteyVyIROpa3mRp2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NC7PwPwSEVt5LEHtQ.tM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Ju.Uxe4gRskZ3MUL80D4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TPEChs5ewUwyn1oRTue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Ar0OXXEqjR4WGKcaZAV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UFmCtAUsoM.8ZaCcDcc9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4nNn0glm58cD.vITTFN6Y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qOYnzoZQPz3MIkT4Mimh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pkGNr0M0DHzzPp0E.0Le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gxfTHiyMehVGcBAeju9w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cees3Ca.Qlj4ljOjiu2O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txb.nNGmTYKhr9BTRO8e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85uaHJFMAs2P8ubNfPwXt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S0UlF6s7dIqr1oAHTP.L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3j8ecGmedIsCG3MAOEaE9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sjLUSNBhjBGdgazU.ZEkz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7YQ5YhqddQzyYFqpi_x1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i04afbIZQuG_AJwpTfouM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7uNtP6IZvD9fv1YFOYOYH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PYGJjzCNuprDZSW9bvWR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JHCqThcbWh_JOZiuG.Xd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H8qcrSsSocVgiJgUKAwf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7DciReLLDGghjyHn9t47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zUQ8b.WfsccBhp.Dtpft5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ZjRaG4lEtJxRwvbPS92w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eRjQ42e.N1P2UC2KuKJf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Q6fe_4HSIY_ZCg_DALU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5hkUy_rqWjVxKOqWFHxER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u.IdpmLgm6lJOjZ41938K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QxuvCjW0amfYE_Ili16sv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4bdX40b4.aT0vzpbSBtFQ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t5jYdv2IlqDWhToC6_jZz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DDrbU5hxYfhWuW1W5Jj9V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qpHuku083ss.ogcpiTjk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eiUwRxClseP6oVCLTHnrJ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We0KG2AmErwMarQP19E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3VPTE7mamRqSz4UZlamvQ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5cLbZ_qAb4R2hyjIA2Da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1q5oMArxlkX1vxAuo0Vo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70W6jTvKCR0m6BndwZ5um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wE5gKTMeFMoHcitUM1.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6bYOEv24SsJP4_Ob4Uu7W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2MBLdgO3N_tbuiNpiDdXn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8WMvUIPAF19bImc.rqlgN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9.Ig.2aIFint8gusc4jkw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0K9oe9d0we3Nsn25r0xJ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LB2JnGfSwod_tyLGIC377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QnYMDCofT3rSzF10eEGL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nX5843uw8VOh9OXN8.MM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Rg7a424vwqD1zZ0Tv8qw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ZRKcRKGtNSRlevJBqpAOV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hlxMNFKyMbacwW21qtkY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k27M.41KajF281aFjDjP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cfs0MN68pKFrl_Rhsntg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k.y8o2r7Cy0C_iJWvoCcf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32ruRuVVPdybO6G9M3zR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7JIzELyAfgECHsn1oFOz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G5bPha8pMsVRVP2IiK7y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uDFR2ymbM9yqkvzHHBYOu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cucgrifgKlIDNlYeNJUiM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697tF3sG9C4eOrKZi8jI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X8E070_b1Rrh0ktLXF2gF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VG9R7RkGmzv49u7hrAeN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MvXpf4pft2W0ZloZuEEp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viwmphepwloSBWt78Klux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ete2QOVbgyvJfglAuofd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U_MPuub_txToa9w2GqpG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QiudoHVKApFhU0lxq3Rs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NO4Fawu96wFitcGLRPpz9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5N3lhZ1vRtvTvoijvmrs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ocseGFRrnSMzMTW0F_RSF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Ixtbp5abP2QFNOjalE1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lTNqdM3XLgsdpCY1rNVT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kpruhCRCbxGGN70p4YrzU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virQ8jOK3s9fbDCLq6cwj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odAA8tSSIqQJrEeUIdmq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TPJT13ZHH3I1adsW1oJu4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JN56qVhaVaIbSn8zNwVUL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UqgoVzWxdC.5R8luBzDn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7Kab0XKFQd2ifpHDro4cD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L5UXm5csQyS_uHUlgPVfp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tcHiR7GTS2TVzjWXm_0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KHw_f17Vl0DOUl7IHzgp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P5LwVwhNQwqYyloOdPn2S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ikX6yfBOSH2B0mYUnhg4o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C3L6RWLs_a4rdbGlru79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DwYNmq6v718Urz9tqZreV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UQMH.t55VZCo8A5IPK5wR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kroMe6t1MoYIbEjkzsanz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qEUM.YVtG37bmL4dlzYea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kJ_xXZs2c7YIqoHuWvSpV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7nG5zlWZw.0fKXgPC1rb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waNpbR2EzGpwOGCmQEkW9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aAEgVCfq34hiuJrgNwim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GIXloU3z42EbZvSUqaTGO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ZGUfU_NzykosdAhD2lOdj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4hb60QxIQtiaSI4N8QAM7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qKlh2vEvQ.gUEDvJvhk0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KuDEDD8HTByfDPPTGqFNy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2ZSQ1cvm8J1DuQ2MC2o2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eas.JkgPKHH.uBYFNjmt1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8DCE2oe3SWPfpdStMUvQE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gqBjB81gcgS6lFkj47adw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oaiLn9sgjW86O6QCgRCx7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QxODdI5Vycu9.xdHkFsYw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dFay4JyTdjOSGyTJtaXnJ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atPYvjp0dlq0CdIZhzWN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rJI97r.2RVVM6VGfaVve2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mODN1eoHG.UlORX5ZpH3J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napX8FFeQutMNDJic_1Yj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Zl3Q2fxHQ1EgydJXgnr7g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YL7hT7ctpjsLxJyvgKSFS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UW0jsFIru.jfq4dh8vxYa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70XvC0WvObW2erhDSCl9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RlAJ3rMpZbDUdvHjbpPqD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wCWJcSX8NqkPhoiJtHSNC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_ThjoJZHOwDl3Pblzfg6P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TlZ2wbnArEO0f3gStsMw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PBeTdIuYsmKg3Q_gDFcmD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G2a9aDBhsXPP3Vt2YRs3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wVNfQ2wEGLj8vXX6LSnNQ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NH6DvMiAfzp4aSdr5VWZI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SqZNKLCR6mMGsrEnBn0Yo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n2c.gKF0tZTHdFAItFCXz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DL3Rhe02_N9nijyFQIprW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kGLWNJe4ARFjYt8LORUSl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5CLTpINDl8xDg7sY3jdcW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DQf.RDRIjwzdcTYKL.vZA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tyB89PShQYJadK7v0oIHt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rCpXdm9NlzJ_OoryFGzv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nZ.642CMrquKpy4nVhx42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iS3f80CoQ1oGBvfPM3nlx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JOSzyg3QG1OqT7nsTry.G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mdRL.2cu2RLJlMjY4GNNC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bQPO.1G8EFSx1ASTgOwVf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UIHQoupV4KRQEOTmw63I5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iyCJ24aZxqafKAM20dOhb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kqXzU6KSuTLxJcPZV01v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Bt2m_VMu3Du26J4KFuBBb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h6IXJ8P7JPuryW7ylH3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mLfHy6SH3iCCqruTlPBsC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Rbq_yo8dhD9LQs.68qgHB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X9k_EA7DlOjcxG0ULXJNR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QuulZPh1u7dJ3U5QlQ7eR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SnUvPWXRuI3manKpDSXyY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E_hIQSLdVzjpGV_dtoUxe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vrDAyqAMpt_1zzAVj7Uck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1PcSquIltQSakyxIIUYNE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_8.DDqw5x.564M1him3vM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Kw2QMpoHsPgG8b4siBpA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JB_Jke2wEvvlvpxwX6zFz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_0AvdDlLsnh_bUwcQM7EO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kFgjWk5ROgVjbgeCn00EZ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GlC8CEE9.nFXlm42cYyoh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iRGk8CcVI22t2KlaXdQZJ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iDKXbUcrwCyIOtAA0YlL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8kIdT1YXkWPn.9aXtaMTV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VsKoDvB8OxYrv6ARCUI.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0ocYitlyrtchAYBXrj8Re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5BvKCnpAK7QEW5Jt8L29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DJn9aGIlVsBywygcCRPiY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EEA4gOnBYgDNiSrtXaT_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tzd34BiSNzqUUxgStHGFk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WzMDK0IdZuK1RK9lwkISW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8L9ey4eSkg3l5h41_T4a0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9AxPLirmUsNkwt91xuTyg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pmu1_lA6dGXRGTJ2ha7C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Yaxjhhf_G.EpbJaQR5V1o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QeY_0mWN1fMu0HHvaJop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6cml46U8U28od92XwUao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G1WNzModYBQg2QLFpSzC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WNuv.ZN8XJGjdh6o_T2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YoqPum2OpAEZGNdMq.G5J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Q4FptgNnlcn.xIHrMebv0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Kpe01Dj095NHqspmKSHW5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L1YATNjZpPVRED6_LAwhn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wKeYC.TxftmWX_0MRfvl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wTa5Ze4o8bX7JrAR.7JK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CDevBNwiC4d1y_W_JTvS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lTBfdHGj5T2G9rdm12_T2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_2rXNItqLZ4HBetPRvpnx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ZvtzYA0JS4VU7P3xSG2eg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_TC45DLj4i8Cj4tYxQh97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PlDsFJMpLtJJJh4BhlhlZ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2WUULK5RH77DJwK0R6C6T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amhdvMmmDW0yERUX9u.1L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RS08qYEM9XTqUiuh1yNKC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VA.LaklQ.t5vnepQ2.TT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75RcAFr307tl4a2MvB7Md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1Tmg4EnQOX8nCYjTsJjA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YXIrLzUrqDqP048zKQnxL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_S6LrfTrCyFJhy8rIl4oy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aLP0Nu2AmsxlUmD1cP.Pd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nP1QiuBLQXxHtsIDWRhJa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OWxjiqhnN0MS8lpgzo_X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2Q5vlidIo5fw7.F7_.MsC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1Ql.8nLb5jF8un8SZQTI4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QPm2H9N9QWwb936g2YFwO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fLakWgqziA5Xd_e3AXnJ0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zBfb8omPSOohmDKgbVfs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iVb6AXarbdbe4DwNgjRwW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ww7h39BAIvX4b53VnVv._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nxv8CqRlknwK05xXD6wUh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9yCYZPk_UkqNxOO0g3b1U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0iR8iakTCtTQoji_rCV0P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Rr9OEEyM1EFWsJB9MxALE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x4f9kiIfE2sCyRp8VHUZv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a053lPjR4EIUBA0laACN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cvvEi1W.fdNx3M9mdzSv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OiplVG.AW3_iqEkVRo0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MM1725HVqI4qnrfSs2Slg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UbOuiDGgW5m5d551nkPfz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EEA4gOnBYgDNiSrtXaT_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wTa5Ze4o8bX7JrAR.7JK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2WUULK5RH77DJwK0R6C6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nP1QiuBLQXxHtsIDWRhJa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7nG5zlWZw.0fKXgPC1rb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7nG5zlWZw.0fKXgPC1rb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jTlZ2wbnArEO0f3gStsMw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TlZ2wbnArEO0f3gStsM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IXloU3z42EbZvSUqaTGO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IXloU3z42EbZvSUqaTGO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ZGUfU_NzykosdAhD2lOdj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ZGUfU_NzykosdAhD2lOdj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NMMrrKYmX6ibmHJYVXgo_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dPFqJOcF2bAAG2rNRPrI.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dLBNCCeWOZBchXaGrdyeF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Sim28A3HLnRX3mBACyoLa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gHXSErvIclwjZNgZ52x3O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LHjv.DneeYriB7qbM_2bS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RG5zhtljpKjEgIDAcqmiy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z1fUg1CLoHgZB3lAh2zI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WEql29LQbi_R_76.pN5vR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EuCO6ExtIdjvHhOf755je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JG_R6nFYRL8Sml7PyBFi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OLLU0.NFEDcOQINyVW3Df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odoK2coo1R1n1E4EDmrh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vdBSce2VwARdkMsdEIJVk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fNjKw1sLkhKpsGpRywWpI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_3BQEk9Epy4nLBO88tyS1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9LfGvGQNK2T2j19M3TDC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v0U41KcXCKgx0m8dnhre7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fajHH_R38Gt9JsScd_KW2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VDS93QUgGUlHU4JUDN57P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CzuROfslT_9WEO3JZlPBN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BtfS4bz72WTLwrj6RFh63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t.9DQdgeuHaI5h3AVING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WPrI80kheyPMMuYFgz.3K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dNOQCyIHPKIiI7AqPhwwh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uwwTaq9lha4Se_W2ABOH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6iSIcnzkiyzgV5dG4.40I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YAqyx1YJvtS0S3EPjgjby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e4urv_oxUmZlGDqHU6mUN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ThUMatAiOwvDMHyaouDy7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3aFKm50WgRgiB5CzXsp5_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eFMAKIIwl5t9HAYFCI1y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YcBrsU5n0zaLsshE_Wmx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16hdIGnqUznoyonsfta_S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zBRy7p_cKw_tDe9fFThhM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yJL5Xg6auIuXXLEOkR20G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jb1LaYvVazkYs8VrHzU3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ZsIEQ3ojc2EE16dvKsXUI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oFW2_RP1heSEMqWb_lShw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RZNExQysh762iT8StxYQy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lSTgStTSbk6e1A4EBKjT4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4E2AY0jB8ZrwjYjDhWMS5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2TvIt5h8EjCGTifgrl_Ns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Su4IRmx_QSPZl65zRCdKo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CSil8vfL.2seh1Ze.LbuQ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NBSdcy9PrNrLtIbO4.X2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L.2esGEnTqlbc189nL5W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_uXNWGTbDWRItaS408lS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p67uLcK4b2RHKTFAt8N3g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N2928DtxMenTU4Ex13yrA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ve5vubpspLuiQYmEjnaem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FTw.cT8iBRkI8RDrzDaKM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S6o3lnMQjTqJYDqysg1rB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nteUEvpYjIt5Cz.v2J67I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PUeQ_38Un7Qq1bu8dnI8L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R49.TsZBeD0J6wQvJ3cIG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_GODUoptDO_Q59etQyG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Om_we3suBSRDRF0Zp44S.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dUL4uP73Vw1lwJ6H.TZbF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NgWYP3LpDsNxjk8ghmLSc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rAxLCy0tmIRAwUTgWNqe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wUwhXvH79hMzA9IDwVghg"/>
</p:tagLst>
</file>

<file path=ppt/tags/tag725.xml><?xml version="1.0" encoding="utf-8"?>
<p:tagLst xmlns:a="http://schemas.openxmlformats.org/drawingml/2006/main" xmlns:r="http://schemas.openxmlformats.org/officeDocument/2006/relationships" xmlns:p="http://schemas.openxmlformats.org/presentationml/2006/main">
  <p:tag name="NAME" val="4. Footno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EesL2M.rzKpS.JZBUZBnf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QlXw8bB_V3fiBky5M8V0w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NWdMm66q364yX3esQm1dV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ijGDLELrjjOkf8CvPVZW4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nb_1ZYI0uqILu3VUMp2Rf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Du6klBfqm2fwyPXHt4O2n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NzKBOTO1eEPEB7634hOv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AVf5e_R1mpMGwKlf8tCFu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GYCnJJkSSpVi2w7U_kWcM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rFcopoh5MILKZhg0SMeOj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wyUBqDil2pbbVjM4T3e9.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gzWTwdyuUYmm3KbUoK3T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JBPAkqHfBX4JEyIKdA1Jj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GDIR2i.7BRJeJK8iaI4dA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8tEL.b22.Vxw.iYn_AJdC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Gp0uQg8S3CfMP7N.ryje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mxtkJ_Ky.sd1AOgEnajD2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irG7L8XU05dPA264qAtYu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L81WJmBTScaT.qN6.8Tyv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_qKBoCzUS.C7lfOqGtLG3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T8kZerXA2e9i2eLgnNL4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PhigclLUS_iLml.I2F4Dg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OkFMgb_dBJKl7EDInfaOd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kqzTeyOySgyoMFpXxi7WE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dfe6mq5s8XCQ5Db6IvJa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T8yxjmUIZ0AGtosXClugS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KB8Q2TmHt0o6cDX7JU6Gq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i7O0byuVRFCzp7z5zzx5_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ZewEgXSnKgGCXde0BFs2a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9WulcR4vACNa6LD3wNHRW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Upg9mc53V43aoteKWc1EP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URBYWnAv1wor7mqKcDaCL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7iurQnObUCQ6jM4qU.gW2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LiYIZl1ZV8quQ2wZo5SR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B.tsQCcKOcYoCjM3_4p9f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k1WiRqYJrk7M65Mg0dzGv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iR6X.I9TAe84634MZrEu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JduJ.u.Cw5lvQvjI.zcZQ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c.yYCyOYsjA76PPjSos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92hpEp2qaOFsR6stAoEq.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yg6HQVFCay7sWWYLcK9Uz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avPja.LWKueGfiHR0XCaj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M.Umx3B9QcyYqTVcxKD.4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JGaeL4y15zExZcO0i8qDI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GjsRT8BUTASGvJ8DS2rCf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eashNaL8_VHXcqoVSMl0.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9aFnRQy6ckk0cdBSJi5CO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DjGdpxFZvfUEMzJYWpOFe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LuLcsiCgNowt15ZUA2E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7.GYCKF8TRy_pOC9fHHJc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K64ZCfBKKwD_DLpfUSv9Z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0dPctRsemPEgs_IKJljnU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2F3SFM21zDvnFIu7OYJRn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GkXCLFLwtGT_m03DhG6R_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AUVTNSGPEN67mfFom0NUb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SwrNOM1zTn_P8eLVNR0g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5JQ63yvuQ13E1dfz2NyFT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rtii2VK6kRmk7xCXMGxt5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sPlTXBX1HkMbFnibMIhxv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tk707RASda4yEdla5Tp4r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yVQcaYA4y6EAyys2JpGF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Ssrw1ZBU9p00Hk3S7MGK5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wzTpRfvWFr9p9q9JFB_9s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d3R_JTHL62j84xeesWRWA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sVKz55_0dmQmjlGjM4e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cFKcsE4PPehLvBb1OQXd3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mPjUoqtfFivzAEGrf38ks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0x4JXEs3LEUx_6EwOHWp3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PPR0zSEZQ1jk.eBrNtEc_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kgPlcyWUQ25nrdXBjCnur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woqhfm6OArJnf0KGzZ8Sd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vhjxRx_Ni4.t4lDzcgqPJ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9nHs_U9tMRsTpuknXY3P6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DRBSKhi3pI8obd4fHD143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qzj2gcrYepjHGkzqaV_t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X1EzTiCrxIFS3WzHC7brX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OrdDrCNVivs1CueMcFXQo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F0r0aIF6QRU6VQ2NO278_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ljsNMcfWDjkGQlZ7ln6yH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iPA.R4nS7MJhZFwLCLX0a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YPzZVR8J1DoNNqCuX97UP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48w7VR8mJQruRGLSoYqB3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pIG9TO1sDWfKf2ZUt1K8Y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XOYUskaQR2jYMRkwF_VTW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vSDzWO5IFvdtHexdU0c3s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aZOJOSuPgaFhf3iwcKdjM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1qRnpxAPsBNGABj8sf0p3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j15BL8SfGjqkY5E8ptv2f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73anq06bIQhxAJzRzXlnr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2p_gnOfKgQ3g650T5bJik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ULcjH3hdyxs8j6dDWoOO3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0U0WQ7mjiZHOSgMczs9OA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7oomyeTVF690AxyEUjzRk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r8iAPRBZcuzFGl4MGDtHw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OdddcpdKAowtUGnL8G_b6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UvGILZXdsFRxaLAIGsosD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nfVxw_gEhSX5VZ_eEjE33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8abJX6DFxevG8RunhKyK8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RtZSy2EIKMfbLVsBLbZKB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m6_5X.nYeLglyoTs6ouVT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tjins4.UokTDq3uzIU1v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g0TJOauuNeGiMZVG3Vd5_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6_9sNk..ZQ1QsDzzVQ65b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nFntrymZv5Eh1Gxn5DOJ3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WbZ2Mulc6K3LZQAy4fFA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49UGBdND_EBSXDjK7UqnZ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s9YvbH7oek0muSd657NE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8EPT7IyExfpcfd7N0QS8j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DsaOpvMKGW9YBPh6Sj6Jo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oUBkrdTqiiuS20N.P8gXJ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sQQ5pzUGpoMqQwB5aB4dn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vPItStDwNqGJ.SOh2DxQW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SqN1bPkehFXhJcNG0gBmF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YrJJKOH9Qz7triyowBVP_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vF3fhLi0VNfdxjrJtVgBV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LitmSV8lBK819fGgPgZDC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TDoDiNIY.tID2eehDfiNP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t9XV.omXJUdhSkO6Wp54m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ZQAD9q8J75cpATqdrUQo5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4_vc8PwrYO3S4W_3qsHWB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5KEhnKVJIyyI7EqukRXeC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2iXUtEDnW57b_IdsnZ0s6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GqGVwtStZ3rpOnHXNwyxP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4RWA9rCBoygsXunqq9tT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Dhm_BcSqSG8jBMn5ECV4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DjehoN2aw.OYXp5sLcEi6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DMRH21pC8u.y2yii6a_c0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9A_ZeV.GyqY.WIJGWDT2s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HRtp7sXmp_kUSnXkLJekZ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UfN2NWLsWZsUls.LUIc6a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ljSYfT8dS463DE9gwTWYA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yHyFp624B3ptEJNy0lnuU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WbZ2Mulc6K3LZQAy4fFAj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yHyFp624B3ptEJNy0lnuU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kxDnaabYPfYnrK.yYbcv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wHuepPezROTuNZ3DbxkOV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cRuA0petLJ1PerQQqpXaw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dWKRIbbgPWZze4salVysc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Mq9XeTW9ywwB1.tYI_Pv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RGoyF7U21RkeWmfb7gYP3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SXDSisls.mc1UFS_tmvt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BeoIwKJJUpv.kI39GYp7Y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wI.MUP0lORVitsvpY7pLr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yW0eJvNSPkyv0BEzrfDCT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AWM3h_BdRjLrRj00gvjJJ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ziSK0_Qd288zo6C1TCWd9g"/>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e06KhM8K7qx6FYlMMIsZj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kNGqI5g3zgbq4j5MwVYJk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WBc.Buh5MPr0B.F8oW0li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lDOhR87cTmyZgIYPAnupg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gM.C2NX.C0v_ncvii0ngO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tfp.wVLyJyeqOz5gaq8fjg"/>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CdZmoJ497GFZHiZ1e28VP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CdZmoJ497GFZHiZ1e28VP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NAME" val="4. Footno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OzBkZoNMdxSTXmkQA0I_IQ"/>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_Zf51kj1RPYgFlkf9QGO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VMKEoBwjfvViqY6c7XZSg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0Zsc8PIe_NBpZPZxtEywFg"/>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D9o9NwOs9KXMbUJ.uY4h4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eUUYmn.O4SGMwiGWeX7.dQ"/>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XyTK9FGN.Y7C64cA8VZmd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65bE0Msl.setG9pjNu2ChQ"/>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1eOtboK8u.v9ZoI6IGN6K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uGVzY8kdMCeToWlGWuuNmw"/>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JuoCMBHv8kQ2h0Pq2wObr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mUVGVYobYIzWJW2eHKarT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dbKN8bDynelcHsy7XtBzZ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6097</Words>
  <Application>Microsoft Office PowerPoint</Application>
  <PresentationFormat>A4 210 x 297 mm</PresentationFormat>
  <Paragraphs>2400</Paragraphs>
  <Slides>74</Slides>
  <Notes>5</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74</vt:i4>
      </vt:variant>
    </vt:vector>
  </HeadingPairs>
  <TitlesOfParts>
    <vt:vector size="85" baseType="lpstr">
      <vt:lpstr>HGP創英角ｺﾞｼｯｸUB</vt:lpstr>
      <vt:lpstr>ＭＳ Ｐゴシック</vt:lpstr>
      <vt:lpstr>ＭＳ Ｐゴシック 本文</vt:lpstr>
      <vt:lpstr>ヒラギノ角ゴ Pro W3</vt:lpstr>
      <vt:lpstr>Arial</vt:lpstr>
      <vt:lpstr>Arial Black</vt:lpstr>
      <vt:lpstr>Georgia</vt:lpstr>
      <vt:lpstr>Segoe UI</vt:lpstr>
      <vt:lpstr>Wingdings</vt:lpstr>
      <vt:lpstr>NRI Template</vt:lpstr>
      <vt:lpstr>think-cell Slide</vt:lpstr>
      <vt:lpstr>PowerPoint プレゼンテーション</vt:lpstr>
      <vt:lpstr>PowerPoint プレゼンテーション</vt:lpstr>
      <vt:lpstr>PowerPoint プレゼンテーション</vt:lpstr>
      <vt:lpstr>一般概況</vt:lpstr>
      <vt:lpstr>南アフリカ／一般概況</vt:lpstr>
      <vt:lpstr>南アフリカ／一般概況／経済</vt:lpstr>
      <vt:lpstr>南アフリカ／一般概況／経済</vt:lpstr>
      <vt:lpstr>南アフリカ／一般概況／経済</vt:lpstr>
      <vt:lpstr>南アフリカ／一般概況／経済</vt:lpstr>
      <vt:lpstr>南アフリカ／一般概況／経済</vt:lpstr>
      <vt:lpstr>南アフリカ／一般概況／規制</vt:lpstr>
      <vt:lpstr>南アフリカ／一般概況／規制</vt:lpstr>
      <vt:lpstr>南アフリカ／一般概況／規制</vt:lpstr>
      <vt:lpstr>南アフリカ／一般概況／規制</vt:lpstr>
      <vt:lpstr>医療関連</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医療・公衆衛生</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制度</vt:lpstr>
      <vt:lpstr>南アフリカ／医療関連／医療サービス</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療機器</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医薬品</vt:lpstr>
      <vt:lpstr>南アフリカ／医療関連／介護</vt:lpstr>
      <vt:lpstr>南アフリカ／医療関連／歯科</vt:lpstr>
      <vt:lpstr>その他</vt:lpstr>
      <vt:lpstr>南アフリカ／医療関連／その他</vt:lpstr>
      <vt:lpstr>南アフリカ／医療関連／その他</vt:lpstr>
      <vt:lpstr>南アフリカ／医療関連／その他</vt:lpstr>
      <vt:lpstr>南アフリカ／医療関連／その他</vt:lpstr>
      <vt:lpstr>政策動向</vt:lpstr>
      <vt:lpstr>南アフリカ／政策動向</vt:lpstr>
      <vt:lpstr>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lpstr>南アフリ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4-03-22T04:1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01T01:26:5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ec68a060-fe53-451b-be1e-0d1ed2468b11</vt:lpwstr>
  </property>
  <property fmtid="{D5CDD505-2E9C-101B-9397-08002B2CF9AE}" pid="8" name="MSIP_Label_ea60d57e-af5b-4752-ac57-3e4f28ca11dc_ContentBits">
    <vt:lpwstr>0</vt:lpwstr>
  </property>
</Properties>
</file>